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1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1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8" r:id="rId4"/>
    <p:sldMasterId id="2147483788" r:id="rId5"/>
    <p:sldMasterId id="2147483803" r:id="rId6"/>
    <p:sldMasterId id="2147483813" r:id="rId7"/>
    <p:sldMasterId id="2147483823" r:id="rId8"/>
    <p:sldMasterId id="2147483850" r:id="rId9"/>
  </p:sldMasterIdLst>
  <p:notesMasterIdLst>
    <p:notesMasterId r:id="rId30"/>
  </p:notesMasterIdLst>
  <p:sldIdLst>
    <p:sldId id="256" r:id="rId10"/>
    <p:sldId id="2005313779" r:id="rId11"/>
    <p:sldId id="274" r:id="rId12"/>
    <p:sldId id="2134804971" r:id="rId13"/>
    <p:sldId id="2134804973" r:id="rId14"/>
    <p:sldId id="269" r:id="rId15"/>
    <p:sldId id="2134804972" r:id="rId16"/>
    <p:sldId id="2005313777" r:id="rId17"/>
    <p:sldId id="2076136515" r:id="rId18"/>
    <p:sldId id="2668" r:id="rId19"/>
    <p:sldId id="2795" r:id="rId20"/>
    <p:sldId id="2769" r:id="rId21"/>
    <p:sldId id="2771" r:id="rId22"/>
    <p:sldId id="2772" r:id="rId23"/>
    <p:sldId id="2773" r:id="rId24"/>
    <p:sldId id="8661" r:id="rId25"/>
    <p:sldId id="2774" r:id="rId26"/>
    <p:sldId id="2005313787" r:id="rId27"/>
    <p:sldId id="2005313793" r:id="rId28"/>
    <p:sldId id="260" r:id="rId29"/>
  </p:sldIdLst>
  <p:sldSz cx="9144000" cy="5143500" type="screen16x9"/>
  <p:notesSz cx="6858000" cy="9144000"/>
  <p:embeddedFontLst>
    <p:embeddedFont>
      <p:font typeface="Avenir Next" panose="020B0503020202020204" pitchFamily="34" charset="0"/>
      <p:regular r:id="rId31"/>
      <p:bold r:id="rId32"/>
      <p:italic r:id="rId33"/>
    </p:embeddedFon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Calibri Light" panose="020F0302020204030204" pitchFamily="34" charset="0"/>
      <p:regular r:id="rId38"/>
      <p:italic r:id="rId39"/>
    </p:embeddedFont>
  </p:embeddedFontLst>
  <p:custDataLst>
    <p:tags r:id="rId4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31" userDrawn="1">
          <p15:clr>
            <a:srgbClr val="A4A3A4"/>
          </p15:clr>
        </p15:guide>
        <p15:guide id="2" pos="5383" userDrawn="1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1C49"/>
    <a:srgbClr val="2AD1D1"/>
    <a:srgbClr val="881D80"/>
    <a:srgbClr val="36277F"/>
    <a:srgbClr val="1B7D7F"/>
    <a:srgbClr val="29C0C3"/>
    <a:srgbClr val="00925A"/>
    <a:srgbClr val="3834C6"/>
    <a:srgbClr val="CD9B06"/>
    <a:srgbClr val="4D59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46D708-F44E-4906-A2E7-9510FD09056E}" v="40" dt="2021-10-04T08:28:04.2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69330" autoAdjust="0"/>
  </p:normalViewPr>
  <p:slideViewPr>
    <p:cSldViewPr snapToGrid="0">
      <p:cViewPr varScale="1">
        <p:scale>
          <a:sx n="214" d="100"/>
          <a:sy n="214" d="100"/>
        </p:scale>
        <p:origin x="264" y="156"/>
      </p:cViewPr>
      <p:guideLst>
        <p:guide pos="331"/>
        <p:guide pos="5383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9.fntdata"/><Relationship Id="rId21" Type="http://schemas.openxmlformats.org/officeDocument/2006/relationships/slide" Target="slides/slide12.xml"/><Relationship Id="rId34" Type="http://schemas.openxmlformats.org/officeDocument/2006/relationships/font" Target="fonts/font4.fntdata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6.fntdata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font" Target="fonts/font1.fntdata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microsoft.com/office/2015/10/relationships/revisionInfo" Target="revisionInfo.xml"/><Relationship Id="rId20" Type="http://schemas.openxmlformats.org/officeDocument/2006/relationships/slide" Target="slides/slide11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Thorning" userId="a6c546cc-af41-4cf9-9336-8f73f44f4a45" providerId="ADAL" clId="{1C46D708-F44E-4906-A2E7-9510FD09056E}"/>
    <pc:docChg chg="custSel modSld">
      <pc:chgData name="Thomas Thorning" userId="a6c546cc-af41-4cf9-9336-8f73f44f4a45" providerId="ADAL" clId="{1C46D708-F44E-4906-A2E7-9510FD09056E}" dt="2021-10-04T08:28:13.716" v="283" actId="20577"/>
      <pc:docMkLst>
        <pc:docMk/>
      </pc:docMkLst>
      <pc:sldChg chg="addSp modSp mod modAnim modNotesTx">
        <pc:chgData name="Thomas Thorning" userId="a6c546cc-af41-4cf9-9336-8f73f44f4a45" providerId="ADAL" clId="{1C46D708-F44E-4906-A2E7-9510FD09056E}" dt="2021-10-04T08:28:13.716" v="283" actId="20577"/>
        <pc:sldMkLst>
          <pc:docMk/>
          <pc:sldMk cId="2447002939" sldId="256"/>
        </pc:sldMkLst>
        <pc:spChg chg="mod">
          <ac:chgData name="Thomas Thorning" userId="a6c546cc-af41-4cf9-9336-8f73f44f4a45" providerId="ADAL" clId="{1C46D708-F44E-4906-A2E7-9510FD09056E}" dt="2021-10-04T06:57:27.134" v="77" actId="1035"/>
          <ac:spMkLst>
            <pc:docMk/>
            <pc:sldMk cId="2447002939" sldId="256"/>
            <ac:spMk id="9" creationId="{D66536A2-07B5-47B5-BAF5-F19699F933E7}"/>
          </ac:spMkLst>
        </pc:spChg>
        <pc:spChg chg="mod">
          <ac:chgData name="Thomas Thorning" userId="a6c546cc-af41-4cf9-9336-8f73f44f4a45" providerId="ADAL" clId="{1C46D708-F44E-4906-A2E7-9510FD09056E}" dt="2021-10-04T06:58:26.445" v="150" actId="1036"/>
          <ac:spMkLst>
            <pc:docMk/>
            <pc:sldMk cId="2447002939" sldId="256"/>
            <ac:spMk id="12" creationId="{4BABF779-8925-4919-858F-B0735A7B9FBA}"/>
          </ac:spMkLst>
        </pc:spChg>
        <pc:spChg chg="add mod">
          <ac:chgData name="Thomas Thorning" userId="a6c546cc-af41-4cf9-9336-8f73f44f4a45" providerId="ADAL" clId="{1C46D708-F44E-4906-A2E7-9510FD09056E}" dt="2021-10-04T08:28:04.264" v="277" actId="20577"/>
          <ac:spMkLst>
            <pc:docMk/>
            <pc:sldMk cId="2447002939" sldId="256"/>
            <ac:spMk id="15" creationId="{DD734B51-1677-4F1E-AB5A-5E737561EFF9}"/>
          </ac:spMkLst>
        </pc:spChg>
        <pc:grpChg chg="mod">
          <ac:chgData name="Thomas Thorning" userId="a6c546cc-af41-4cf9-9336-8f73f44f4a45" providerId="ADAL" clId="{1C46D708-F44E-4906-A2E7-9510FD09056E}" dt="2021-10-04T06:58:26.445" v="150" actId="1036"/>
          <ac:grpSpMkLst>
            <pc:docMk/>
            <pc:sldMk cId="2447002939" sldId="256"/>
            <ac:grpSpMk id="4" creationId="{54EF9160-56E2-4AF5-BD77-3628A28E9620}"/>
          </ac:grpSpMkLst>
        </pc:grpChg>
        <pc:picChg chg="mod">
          <ac:chgData name="Thomas Thorning" userId="a6c546cc-af41-4cf9-9336-8f73f44f4a45" providerId="ADAL" clId="{1C46D708-F44E-4906-A2E7-9510FD09056E}" dt="2021-10-04T06:58:26.445" v="150" actId="1036"/>
          <ac:picMkLst>
            <pc:docMk/>
            <pc:sldMk cId="2447002939" sldId="256"/>
            <ac:picMk id="13" creationId="{61D27AEB-5250-470F-8272-44620706802B}"/>
          </ac:picMkLst>
        </pc:picChg>
        <pc:picChg chg="mod">
          <ac:chgData name="Thomas Thorning" userId="a6c546cc-af41-4cf9-9336-8f73f44f4a45" providerId="ADAL" clId="{1C46D708-F44E-4906-A2E7-9510FD09056E}" dt="2021-10-04T06:58:26.445" v="150" actId="1036"/>
          <ac:picMkLst>
            <pc:docMk/>
            <pc:sldMk cId="2447002939" sldId="256"/>
            <ac:picMk id="14" creationId="{300ABE7D-DD03-40DD-A62C-66C3BF1607E9}"/>
          </ac:picMkLst>
        </pc:picChg>
        <pc:cxnChg chg="mod">
          <ac:chgData name="Thomas Thorning" userId="a6c546cc-af41-4cf9-9336-8f73f44f4a45" providerId="ADAL" clId="{1C46D708-F44E-4906-A2E7-9510FD09056E}" dt="2021-10-04T06:58:31.633" v="165" actId="1036"/>
          <ac:cxnSpMkLst>
            <pc:docMk/>
            <pc:sldMk cId="2447002939" sldId="256"/>
            <ac:cxnSpMk id="11" creationId="{DDB57737-FC68-1B44-96A0-6CD9B8DCE349}"/>
          </ac:cxnSpMkLst>
        </pc:cxnChg>
        <pc:cxnChg chg="add mod">
          <ac:chgData name="Thomas Thorning" userId="a6c546cc-af41-4cf9-9336-8f73f44f4a45" providerId="ADAL" clId="{1C46D708-F44E-4906-A2E7-9510FD09056E}" dt="2021-10-04T08:27:31.469" v="271" actId="1036"/>
          <ac:cxnSpMkLst>
            <pc:docMk/>
            <pc:sldMk cId="2447002939" sldId="256"/>
            <ac:cxnSpMk id="17" creationId="{ACC5E20C-F57B-471B-9C1C-E6F84CEF26BA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0D33A-C901-CD44-B4E2-DA59A45A9BE4}" type="datetimeFigureOut">
              <a:rPr lang="en-US" smtClean="0"/>
              <a:t>10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F7D81-95AA-BC49-9130-35565C35CB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235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2748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1950" y="1254125"/>
            <a:ext cx="6011863" cy="33829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873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45270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6897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1555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5026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0823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8200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27050" y="1212850"/>
            <a:ext cx="5811838" cy="3270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5323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53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indent="-180975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17902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2516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82249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699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21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5145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F7D81-95AA-BC49-9130-35565C35CB5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9150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24628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BFC45F-0976-4341-BF21-5E51792B03B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896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0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as.com/" TargetMode="Externa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as.com/" TargetMode="Externa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://www.sas.com/" TargetMode="External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Relationship Id="rId4" Type="http://schemas.openxmlformats.org/officeDocument/2006/relationships/image" Target="../media/image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Relationship Id="rId4" Type="http://schemas.openxmlformats.org/officeDocument/2006/relationships/image" Target="../media/image11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8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Section Hea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900AF95-1FC8-274C-A784-F831F6B8647F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C8C0CE08-E9A8-3940-A81E-001DC88592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0203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2AD1D1"/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D5BF76BC-A168-D846-A33A-DDC741AB2C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0203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585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with Caption 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E60C6F-E980-EE42-AE99-4BF9E126C012}"/>
              </a:ext>
            </a:extLst>
          </p:cNvPr>
          <p:cNvSpPr/>
          <p:nvPr/>
        </p:nvSpPr>
        <p:spPr>
          <a:xfrm>
            <a:off x="0" y="0"/>
            <a:ext cx="3127248" cy="51435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90000"/>
                  <a:lumOff val="10000"/>
                </a:schemeClr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F2FC9C-401F-5C4C-88BC-0A45460C4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28887"/>
            <a:ext cx="3127248" cy="341632"/>
          </a:xfrm>
        </p:spPr>
        <p:txBody>
          <a:bodyPr lIns="91440" rIns="91440" anchor="t" anchorCtr="0">
            <a:spAutoFit/>
          </a:bodyPr>
          <a:lstStyle>
            <a:lvl1pPr algn="ctr" defTabSz="182880">
              <a:spcBef>
                <a:spcPts val="0"/>
              </a:spcBef>
              <a:defRPr sz="1800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ADB52DD-F50B-834D-99B3-5D1C55A9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996694"/>
            <a:ext cx="2304288" cy="615553"/>
          </a:xfrm>
        </p:spPr>
        <p:txBody>
          <a:bodyPr wrap="square" anchor="t" anchorCtr="0">
            <a:spAutoFit/>
          </a:bodyPr>
          <a:lstStyle>
            <a:lvl1pPr marL="0" indent="-182880" algn="l">
              <a:buFont typeface="Arial" pitchFamily="34" charset="0"/>
              <a:buNone/>
              <a:defRPr sz="2000" b="0" cap="none" baseline="0">
                <a:solidFill>
                  <a:schemeClr val="bg1">
                    <a:lumMod val="85000"/>
                  </a:schemeClr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Click to edit caption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C4D2804-3DAD-EE40-936A-43F13F80C8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27248" y="637660"/>
            <a:ext cx="6016752" cy="274320"/>
          </a:xfrm>
        </p:spPr>
        <p:txBody>
          <a:bodyPr wrap="square" lIns="182880" rIns="18288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 b="0" cap="none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A0DAF33-5110-D340-8044-FA8F4990F8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27248" y="920337"/>
            <a:ext cx="6016752" cy="4215653"/>
          </a:xfrm>
        </p:spPr>
        <p:txBody>
          <a:bodyPr wrap="square" lIns="365760" rIns="274320" bIns="91440" anchor="t" anchorCtr="0">
            <a:normAutofit/>
          </a:bodyPr>
          <a:lstStyle>
            <a:lvl1pPr>
              <a:buClr>
                <a:schemeClr val="bg2"/>
              </a:buClr>
              <a:defRPr sz="2000" baseline="0">
                <a:solidFill>
                  <a:schemeClr val="bg1"/>
                </a:solidFill>
              </a:defRPr>
            </a:lvl1pPr>
            <a:lvl2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2pPr>
            <a:lvl3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841ED34-FEB5-C146-83AC-389AC6CD97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7375" y="228887"/>
            <a:ext cx="6016625" cy="409575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23137D-5031-B540-810B-5B5014DDB875}"/>
              </a:ext>
            </a:extLst>
          </p:cNvPr>
          <p:cNvGrpSpPr/>
          <p:nvPr/>
        </p:nvGrpSpPr>
        <p:grpSpPr>
          <a:xfrm>
            <a:off x="100130" y="3903136"/>
            <a:ext cx="1843588" cy="1108928"/>
            <a:chOff x="92670" y="3892522"/>
            <a:chExt cx="1843588" cy="1108928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4F2A5B7-99AC-BD49-8594-6DAE464CF372}"/>
                </a:ext>
              </a:extLst>
            </p:cNvPr>
            <p:cNvSpPr/>
            <p:nvPr/>
          </p:nvSpPr>
          <p:spPr>
            <a:xfrm>
              <a:off x="1836799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E995F31-A398-C943-8027-FFECF81903AA}"/>
                </a:ext>
              </a:extLst>
            </p:cNvPr>
            <p:cNvSpPr/>
            <p:nvPr/>
          </p:nvSpPr>
          <p:spPr>
            <a:xfrm>
              <a:off x="1587637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60762E83-CF17-2247-AB0C-CDF3C02BC0D7}"/>
                </a:ext>
              </a:extLst>
            </p:cNvPr>
            <p:cNvSpPr/>
            <p:nvPr/>
          </p:nvSpPr>
          <p:spPr>
            <a:xfrm>
              <a:off x="1338476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67A16E5-88F6-E34C-ADB8-42534BE72FC5}"/>
                </a:ext>
              </a:extLst>
            </p:cNvPr>
            <p:cNvSpPr/>
            <p:nvPr/>
          </p:nvSpPr>
          <p:spPr>
            <a:xfrm>
              <a:off x="1089315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822DD3-7A44-584E-8FDE-044968D0AF24}"/>
                </a:ext>
              </a:extLst>
            </p:cNvPr>
            <p:cNvSpPr/>
            <p:nvPr/>
          </p:nvSpPr>
          <p:spPr>
            <a:xfrm>
              <a:off x="1089315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CC0BCCA-D6DE-DD4E-8026-E1C841BE8CA7}"/>
                </a:ext>
              </a:extLst>
            </p:cNvPr>
            <p:cNvSpPr/>
            <p:nvPr/>
          </p:nvSpPr>
          <p:spPr>
            <a:xfrm>
              <a:off x="840154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8AED6F9-E6A3-EB4A-A55C-0740537659D6}"/>
                </a:ext>
              </a:extLst>
            </p:cNvPr>
            <p:cNvSpPr/>
            <p:nvPr/>
          </p:nvSpPr>
          <p:spPr>
            <a:xfrm>
              <a:off x="1089315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3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4A5219-46D3-9D49-A8CC-36711F2BF6DB}"/>
                </a:ext>
              </a:extLst>
            </p:cNvPr>
            <p:cNvSpPr/>
            <p:nvPr/>
          </p:nvSpPr>
          <p:spPr>
            <a:xfrm>
              <a:off x="840154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4628D6A-430F-AD46-B90A-8331A948822D}"/>
                </a:ext>
              </a:extLst>
            </p:cNvPr>
            <p:cNvSpPr/>
            <p:nvPr/>
          </p:nvSpPr>
          <p:spPr>
            <a:xfrm>
              <a:off x="590992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0B47CCF-EFB3-B44B-9884-4494451C2D72}"/>
                </a:ext>
              </a:extLst>
            </p:cNvPr>
            <p:cNvSpPr/>
            <p:nvPr/>
          </p:nvSpPr>
          <p:spPr>
            <a:xfrm>
              <a:off x="341831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A0D0CC0-B494-924D-8C7F-13E6CFA6A115}"/>
                </a:ext>
              </a:extLst>
            </p:cNvPr>
            <p:cNvSpPr/>
            <p:nvPr/>
          </p:nvSpPr>
          <p:spPr>
            <a:xfrm>
              <a:off x="92670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A103DE1-86D1-CC40-BC8E-F37870113828}"/>
                </a:ext>
              </a:extLst>
            </p:cNvPr>
            <p:cNvSpPr/>
            <p:nvPr/>
          </p:nvSpPr>
          <p:spPr>
            <a:xfrm>
              <a:off x="341831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85B7FDA-2A3D-5148-882C-7F5FD28C86D6}"/>
                </a:ext>
              </a:extLst>
            </p:cNvPr>
            <p:cNvSpPr/>
            <p:nvPr/>
          </p:nvSpPr>
          <p:spPr>
            <a:xfrm>
              <a:off x="341831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319DB66-4056-974A-B568-9BE51C46D6DB}"/>
                </a:ext>
              </a:extLst>
            </p:cNvPr>
            <p:cNvSpPr/>
            <p:nvPr/>
          </p:nvSpPr>
          <p:spPr>
            <a:xfrm>
              <a:off x="92670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D9D4266-26E2-A649-B58A-BBD393D3909A}"/>
                </a:ext>
              </a:extLst>
            </p:cNvPr>
            <p:cNvSpPr/>
            <p:nvPr/>
          </p:nvSpPr>
          <p:spPr>
            <a:xfrm>
              <a:off x="341831" y="4141684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5792925-8473-D74D-AD5F-C84AAB25EA9D}"/>
                </a:ext>
              </a:extLst>
            </p:cNvPr>
            <p:cNvSpPr/>
            <p:nvPr/>
          </p:nvSpPr>
          <p:spPr>
            <a:xfrm>
              <a:off x="341831" y="3892522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FFE52ED-3497-1048-86AD-9D9A6F52BF03}"/>
                </a:ext>
              </a:extLst>
            </p:cNvPr>
            <p:cNvSpPr/>
            <p:nvPr/>
          </p:nvSpPr>
          <p:spPr>
            <a:xfrm>
              <a:off x="590992" y="4141684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9AE3BE6B-1DF9-664B-8C6A-831ED119861F}"/>
                </a:ext>
              </a:extLst>
            </p:cNvPr>
            <p:cNvSpPr/>
            <p:nvPr/>
          </p:nvSpPr>
          <p:spPr>
            <a:xfrm>
              <a:off x="827337" y="4876356"/>
              <a:ext cx="125093" cy="125094"/>
            </a:xfrm>
            <a:custGeom>
              <a:avLst/>
              <a:gdLst>
                <a:gd name="connsiteX0" fmla="*/ 125093 w 125093"/>
                <a:gd name="connsiteY0" fmla="*/ 62547 h 125094"/>
                <a:gd name="connsiteX1" fmla="*/ 62547 w 125093"/>
                <a:gd name="connsiteY1" fmla="*/ 125094 h 125094"/>
                <a:gd name="connsiteX2" fmla="*/ 0 w 125093"/>
                <a:gd name="connsiteY2" fmla="*/ 62547 h 125094"/>
                <a:gd name="connsiteX3" fmla="*/ 62547 w 125093"/>
                <a:gd name="connsiteY3" fmla="*/ 0 h 125094"/>
                <a:gd name="connsiteX4" fmla="*/ 125093 w 125093"/>
                <a:gd name="connsiteY4" fmla="*/ 62547 h 125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093" h="125094">
                  <a:moveTo>
                    <a:pt x="125093" y="62547"/>
                  </a:moveTo>
                  <a:cubicBezTo>
                    <a:pt x="125093" y="97091"/>
                    <a:pt x="97090" y="125094"/>
                    <a:pt x="62547" y="125094"/>
                  </a:cubicBezTo>
                  <a:cubicBezTo>
                    <a:pt x="28003" y="125094"/>
                    <a:pt x="0" y="97091"/>
                    <a:pt x="0" y="62547"/>
                  </a:cubicBezTo>
                  <a:cubicBezTo>
                    <a:pt x="0" y="28003"/>
                    <a:pt x="28003" y="0"/>
                    <a:pt x="62547" y="0"/>
                  </a:cubicBezTo>
                  <a:cubicBezTo>
                    <a:pt x="97090" y="0"/>
                    <a:pt x="125093" y="28003"/>
                    <a:pt x="125093" y="62547"/>
                  </a:cubicBezTo>
                  <a:close/>
                </a:path>
              </a:pathLst>
            </a:custGeom>
            <a:solidFill>
              <a:srgbClr val="5CB5FF">
                <a:alpha val="25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1322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-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6492C8-F2B6-994C-93E7-13EF75C493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4152" y="1751961"/>
            <a:ext cx="3357562" cy="1022310"/>
          </a:xfrm>
        </p:spPr>
        <p:txBody>
          <a:bodyPr/>
          <a:lstStyle>
            <a:lvl1pPr marL="0" indent="0">
              <a:buNone/>
              <a:defRPr/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28BF588-A539-E84D-BAE7-8D1EE1761D7B}"/>
              </a:ext>
            </a:extLst>
          </p:cNvPr>
          <p:cNvSpPr/>
          <p:nvPr/>
        </p:nvSpPr>
        <p:spPr>
          <a:xfrm>
            <a:off x="3125188" y="-1"/>
            <a:ext cx="3004957" cy="5143500"/>
          </a:xfrm>
          <a:custGeom>
            <a:avLst/>
            <a:gdLst>
              <a:gd name="connsiteX0" fmla="*/ 2952243 w 3004957"/>
              <a:gd name="connsiteY0" fmla="*/ 0 h 5143500"/>
              <a:gd name="connsiteX1" fmla="*/ 3004957 w 3004957"/>
              <a:gd name="connsiteY1" fmla="*/ 0 h 5143500"/>
              <a:gd name="connsiteX2" fmla="*/ 52714 w 3004957"/>
              <a:gd name="connsiteY2" fmla="*/ 5143500 h 5143500"/>
              <a:gd name="connsiteX3" fmla="*/ 0 w 3004957"/>
              <a:gd name="connsiteY3" fmla="*/ 5143500 h 5143500"/>
              <a:gd name="connsiteX4" fmla="*/ 2952243 w 3004957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4957" h="5143500">
                <a:moveTo>
                  <a:pt x="2952243" y="0"/>
                </a:moveTo>
                <a:lnTo>
                  <a:pt x="3004957" y="0"/>
                </a:lnTo>
                <a:lnTo>
                  <a:pt x="52714" y="5143500"/>
                </a:lnTo>
                <a:lnTo>
                  <a:pt x="0" y="5143500"/>
                </a:lnTo>
                <a:lnTo>
                  <a:pt x="2952243" y="0"/>
                </a:lnTo>
                <a:close/>
              </a:path>
            </a:pathLst>
          </a:custGeom>
          <a:gradFill flip="none" rotWithShape="1">
            <a:gsLst>
              <a:gs pos="30000">
                <a:srgbClr val="3D5AAE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2E8F94DC-1ACF-544C-BF1F-4C5126BC46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310B4187-0EBC-5A45-8561-21E3AF78A755}"/>
              </a:ext>
            </a:extLst>
          </p:cNvPr>
          <p:cNvSpPr txBox="1"/>
          <p:nvPr userDrawn="1"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90C0E4-ECBA-5946-9BAC-DC37C67289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7058" y="0"/>
            <a:ext cx="6081885" cy="5143500"/>
          </a:xfrm>
          <a:custGeom>
            <a:avLst/>
            <a:gdLst>
              <a:gd name="connsiteX0" fmla="*/ 0 w 3125788"/>
              <a:gd name="connsiteY0" fmla="*/ 5143500 h 5143500"/>
              <a:gd name="connsiteX1" fmla="*/ 781447 w 3125788"/>
              <a:gd name="connsiteY1" fmla="*/ 0 h 5143500"/>
              <a:gd name="connsiteX2" fmla="*/ 2344341 w 3125788"/>
              <a:gd name="connsiteY2" fmla="*/ 0 h 5143500"/>
              <a:gd name="connsiteX3" fmla="*/ 3125788 w 3125788"/>
              <a:gd name="connsiteY3" fmla="*/ 5143500 h 5143500"/>
              <a:gd name="connsiteX4" fmla="*/ 0 w 3125788"/>
              <a:gd name="connsiteY4" fmla="*/ 5143500 h 5143500"/>
              <a:gd name="connsiteX0" fmla="*/ 0 w 6074828"/>
              <a:gd name="connsiteY0" fmla="*/ 5143500 h 5143500"/>
              <a:gd name="connsiteX1" fmla="*/ 781447 w 6074828"/>
              <a:gd name="connsiteY1" fmla="*/ 0 h 5143500"/>
              <a:gd name="connsiteX2" fmla="*/ 6074828 w 6074828"/>
              <a:gd name="connsiteY2" fmla="*/ 0 h 5143500"/>
              <a:gd name="connsiteX3" fmla="*/ 3125788 w 6074828"/>
              <a:gd name="connsiteY3" fmla="*/ 5143500 h 5143500"/>
              <a:gd name="connsiteX4" fmla="*/ 0 w 6074828"/>
              <a:gd name="connsiteY4" fmla="*/ 5143500 h 5143500"/>
              <a:gd name="connsiteX0" fmla="*/ 7057 w 6081885"/>
              <a:gd name="connsiteY0" fmla="*/ 5143500 h 5143500"/>
              <a:gd name="connsiteX1" fmla="*/ 0 w 6081885"/>
              <a:gd name="connsiteY1" fmla="*/ 0 h 5143500"/>
              <a:gd name="connsiteX2" fmla="*/ 6081885 w 6081885"/>
              <a:gd name="connsiteY2" fmla="*/ 0 h 5143500"/>
              <a:gd name="connsiteX3" fmla="*/ 3132845 w 6081885"/>
              <a:gd name="connsiteY3" fmla="*/ 5143500 h 5143500"/>
              <a:gd name="connsiteX4" fmla="*/ 7057 w 6081885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1885" h="5143500">
                <a:moveTo>
                  <a:pt x="7057" y="5143500"/>
                </a:moveTo>
                <a:cubicBezTo>
                  <a:pt x="4705" y="3429000"/>
                  <a:pt x="2352" y="1714500"/>
                  <a:pt x="0" y="0"/>
                </a:cubicBezTo>
                <a:lnTo>
                  <a:pt x="6081885" y="0"/>
                </a:lnTo>
                <a:lnTo>
                  <a:pt x="3132845" y="5143500"/>
                </a:lnTo>
                <a:lnTo>
                  <a:pt x="7057" y="514350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901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74484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Imag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827EE352-7D2C-A441-A898-DDF88FC2D8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892" y="4758271"/>
            <a:ext cx="558779" cy="230961"/>
          </a:xfrm>
          <a:prstGeom prst="rect">
            <a:avLst/>
          </a:prstGeom>
        </p:spPr>
      </p:pic>
      <p:sp>
        <p:nvSpPr>
          <p:cNvPr id="5" name="TextBox 3">
            <a:extLst>
              <a:ext uri="{FF2B5EF4-FFF2-40B4-BE49-F238E27FC236}">
                <a16:creationId xmlns:a16="http://schemas.microsoft.com/office/drawing/2014/main" id="{6F03857C-1DB6-474F-8845-1ADD3BD921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279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12036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5DCED66-1892-224F-B3AD-DC1323E4C9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228850" cy="5143500"/>
          </a:xfrm>
          <a:prstGeom prst="rect">
            <a:avLst/>
          </a:prstGeom>
        </p:spPr>
      </p:pic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3872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4">
            <a:extLst>
              <a:ext uri="{FF2B5EF4-FFF2-40B4-BE49-F238E27FC236}">
                <a16:creationId xmlns:a16="http://schemas.microsoft.com/office/drawing/2014/main" id="{9B949CCB-8408-0B41-9681-4ECA35605A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3872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2F4D0-EB0E-3842-9785-6EF69081820E}"/>
              </a:ext>
            </a:extLst>
          </p:cNvPr>
          <p:cNvSpPr/>
          <p:nvPr/>
        </p:nvSpPr>
        <p:spPr>
          <a:xfrm>
            <a:off x="0" y="0"/>
            <a:ext cx="2405925" cy="5148072"/>
          </a:xfrm>
          <a:prstGeom prst="rect">
            <a:avLst/>
          </a:prstGeom>
          <a:gradFill flip="none" rotWithShape="1">
            <a:gsLst>
              <a:gs pos="2000">
                <a:schemeClr val="tx2">
                  <a:alpha val="0"/>
                </a:schemeClr>
              </a:gs>
              <a:gs pos="100000">
                <a:schemeClr val="tx2">
                  <a:alpha val="3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  <p:sp>
        <p:nvSpPr>
          <p:cNvPr id="12" name="TextBox 3">
            <a:extLst>
              <a:ext uri="{FF2B5EF4-FFF2-40B4-BE49-F238E27FC236}">
                <a16:creationId xmlns:a16="http://schemas.microsoft.com/office/drawing/2014/main" id="{236C16C5-D5EF-3441-8F91-D303F43956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997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1AFB0-E8BA-6E40-9F47-B58679E1698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CC8A4CC-C6DD-674E-9755-C2307DA101AD}"/>
              </a:ext>
            </a:extLst>
          </p:cNvPr>
          <p:cNvGrpSpPr/>
          <p:nvPr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2">
              <a:lumMod val="50000"/>
            </a:schemeClr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C0936E0-05D4-D944-94E4-FBA36E861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5ACFC61-8225-8F4F-A539-DCE60FEB0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029620-52DD-C540-9F66-FD8586A66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F2C8F16-8DA0-6A49-A6A6-F8C208B72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F51FBB3-DAAD-0546-AF4C-840293C90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D4644BB-791F-6241-8C89-AFA3C1325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DAE9313-7E29-324E-B411-25184A85F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Box 3">
            <a:extLst>
              <a:ext uri="{FF2B5EF4-FFF2-40B4-BE49-F238E27FC236}">
                <a16:creationId xmlns:a16="http://schemas.microsoft.com/office/drawing/2014/main" id="{ACAC6727-2088-4147-A38A-47850B89BAF6}"/>
              </a:ext>
            </a:extLst>
          </p:cNvPr>
          <p:cNvSpPr txBox="1">
            <a:spLocks noChangeAspect="1"/>
          </p:cNvSpPr>
          <p:nvPr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491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A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6653" y="1793688"/>
            <a:ext cx="6390694" cy="1556124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3DB4AB-A9DE-4660-939A-CBDF75AC178E}"/>
              </a:ext>
            </a:extLst>
          </p:cNvPr>
          <p:cNvSpPr txBox="1"/>
          <p:nvPr/>
        </p:nvSpPr>
        <p:spPr>
          <a:xfrm>
            <a:off x="4078010" y="4138459"/>
            <a:ext cx="10093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+mj-lt"/>
              </a:rPr>
              <a:t>sas.com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EBDB97C4-A9A5-5240-872E-02735FE065C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133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_dots">
    <p:bg>
      <p:bgPr>
        <a:gradFill>
          <a:gsLst>
            <a:gs pos="0">
              <a:srgbClr val="61BAE9"/>
            </a:gs>
            <a:gs pos="100000">
              <a:srgbClr val="006A9F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solidFill>
            <a:srgbClr val="1F3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0074BE"/>
              </a:solidFill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5D40C3BD-F93B-485B-BB33-A3B617AF1D7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11C955FD-C622-4957-B25D-B5DEDD3803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3" b="12812"/>
          <a:stretch/>
        </p:blipFill>
        <p:spPr>
          <a:xfrm>
            <a:off x="0" y="3237975"/>
            <a:ext cx="5292246" cy="1905522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E70C23E5-BD34-48ED-829C-23A90E2C85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71" r="24185"/>
          <a:stretch/>
        </p:blipFill>
        <p:spPr>
          <a:xfrm>
            <a:off x="4216077" y="-5"/>
            <a:ext cx="4927924" cy="15716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275140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5DCED66-1892-224F-B3AD-DC1323E4C9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228850" cy="5143500"/>
          </a:xfrm>
          <a:prstGeom prst="rect">
            <a:avLst/>
          </a:prstGeom>
        </p:spPr>
      </p:pic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3872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4">
            <a:extLst>
              <a:ext uri="{FF2B5EF4-FFF2-40B4-BE49-F238E27FC236}">
                <a16:creationId xmlns:a16="http://schemas.microsoft.com/office/drawing/2014/main" id="{9B949CCB-8408-0B41-9681-4ECA35605A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3872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2F4D0-EB0E-3842-9785-6EF69081820E}"/>
              </a:ext>
            </a:extLst>
          </p:cNvPr>
          <p:cNvSpPr/>
          <p:nvPr/>
        </p:nvSpPr>
        <p:spPr>
          <a:xfrm>
            <a:off x="0" y="0"/>
            <a:ext cx="2405925" cy="5148072"/>
          </a:xfrm>
          <a:prstGeom prst="rect">
            <a:avLst/>
          </a:prstGeom>
          <a:gradFill flip="none" rotWithShape="1">
            <a:gsLst>
              <a:gs pos="2000">
                <a:schemeClr val="tx2">
                  <a:alpha val="0"/>
                </a:schemeClr>
              </a:gs>
              <a:gs pos="100000">
                <a:schemeClr val="tx2">
                  <a:alpha val="3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A8B58C-CD7F-6F4B-B6E8-178EEF4B15D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429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Section Hea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900AF95-1FC8-274C-A784-F831F6B8647F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B0C6AF5C-E29A-9E49-801E-0A1C09DFDE5F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6BFF7639-E4DF-3741-90C7-2DFCD9D26A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pic>
        <p:nvPicPr>
          <p:cNvPr id="6" name="Picture 5" descr="A picture containing clock, light, drawing&#10;&#10;Description automatically generated">
            <a:extLst>
              <a:ext uri="{FF2B5EF4-FFF2-40B4-BE49-F238E27FC236}">
                <a16:creationId xmlns:a16="http://schemas.microsoft.com/office/drawing/2014/main" id="{43AE3E76-C4CC-8245-858F-A891F08C3E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61" r="33611" b="20040"/>
          <a:stretch/>
        </p:blipFill>
        <p:spPr>
          <a:xfrm>
            <a:off x="4561295" y="-6045"/>
            <a:ext cx="4582705" cy="5149545"/>
          </a:xfrm>
          <a:prstGeom prst="rect">
            <a:avLst/>
          </a:prstGeom>
        </p:spPr>
      </p:pic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C8C0CE08-E9A8-3940-A81E-001DC88592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0203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D5BF76BC-A168-D846-A33A-DDC741AB2C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0203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3952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rgbClr val="2AD1D1"/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739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4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580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280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90ADF-F9C8-471B-A694-7C0B48436B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827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with Caption 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E60C6F-E980-EE42-AE99-4BF9E126C012}"/>
              </a:ext>
            </a:extLst>
          </p:cNvPr>
          <p:cNvSpPr/>
          <p:nvPr/>
        </p:nvSpPr>
        <p:spPr>
          <a:xfrm>
            <a:off x="0" y="0"/>
            <a:ext cx="3127248" cy="51435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90000"/>
                  <a:lumOff val="10000"/>
                </a:schemeClr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F2FC9C-401F-5C4C-88BC-0A45460C4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28887"/>
            <a:ext cx="3127248" cy="341632"/>
          </a:xfrm>
        </p:spPr>
        <p:txBody>
          <a:bodyPr lIns="91440" rIns="91440" anchor="t" anchorCtr="0">
            <a:spAutoFit/>
          </a:bodyPr>
          <a:lstStyle>
            <a:lvl1pPr algn="ctr" defTabSz="182880">
              <a:spcBef>
                <a:spcPts val="0"/>
              </a:spcBef>
              <a:defRPr sz="1800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ADB52DD-F50B-834D-99B3-5D1C55A9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996694"/>
            <a:ext cx="2304288" cy="615553"/>
          </a:xfrm>
        </p:spPr>
        <p:txBody>
          <a:bodyPr wrap="square" anchor="t" anchorCtr="0">
            <a:spAutoFit/>
          </a:bodyPr>
          <a:lstStyle>
            <a:lvl1pPr marL="0" indent="-182880" algn="l">
              <a:buFont typeface="Arial" pitchFamily="34" charset="0"/>
              <a:buNone/>
              <a:defRPr sz="2000" b="0" cap="none" baseline="0">
                <a:solidFill>
                  <a:schemeClr val="bg1">
                    <a:lumMod val="85000"/>
                  </a:schemeClr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Click to edit caption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C4D2804-3DAD-EE40-936A-43F13F80C8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27248" y="637660"/>
            <a:ext cx="6016752" cy="274320"/>
          </a:xfrm>
        </p:spPr>
        <p:txBody>
          <a:bodyPr wrap="square" lIns="182880" rIns="18288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 b="0" cap="none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A0DAF33-5110-D340-8044-FA8F4990F8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27248" y="920337"/>
            <a:ext cx="6016752" cy="4215653"/>
          </a:xfrm>
        </p:spPr>
        <p:txBody>
          <a:bodyPr wrap="square" lIns="365760" rIns="274320" bIns="91440" anchor="t" anchorCtr="0">
            <a:normAutofit/>
          </a:bodyPr>
          <a:lstStyle>
            <a:lvl1pPr>
              <a:buClr>
                <a:schemeClr val="bg2"/>
              </a:buClr>
              <a:defRPr sz="2000" baseline="0">
                <a:solidFill>
                  <a:schemeClr val="bg1"/>
                </a:solidFill>
              </a:defRPr>
            </a:lvl1pPr>
            <a:lvl2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2pPr>
            <a:lvl3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841ED34-FEB5-C146-83AC-389AC6CD97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7375" y="228887"/>
            <a:ext cx="6016625" cy="409575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23137D-5031-B540-810B-5B5014DDB875}"/>
              </a:ext>
            </a:extLst>
          </p:cNvPr>
          <p:cNvGrpSpPr/>
          <p:nvPr/>
        </p:nvGrpSpPr>
        <p:grpSpPr>
          <a:xfrm>
            <a:off x="100130" y="3903136"/>
            <a:ext cx="1843588" cy="1108928"/>
            <a:chOff x="92670" y="3892522"/>
            <a:chExt cx="1843588" cy="1108928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4F2A5B7-99AC-BD49-8594-6DAE464CF372}"/>
                </a:ext>
              </a:extLst>
            </p:cNvPr>
            <p:cNvSpPr/>
            <p:nvPr/>
          </p:nvSpPr>
          <p:spPr>
            <a:xfrm>
              <a:off x="1836799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E995F31-A398-C943-8027-FFECF81903AA}"/>
                </a:ext>
              </a:extLst>
            </p:cNvPr>
            <p:cNvSpPr/>
            <p:nvPr/>
          </p:nvSpPr>
          <p:spPr>
            <a:xfrm>
              <a:off x="1587637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60762E83-CF17-2247-AB0C-CDF3C02BC0D7}"/>
                </a:ext>
              </a:extLst>
            </p:cNvPr>
            <p:cNvSpPr/>
            <p:nvPr/>
          </p:nvSpPr>
          <p:spPr>
            <a:xfrm>
              <a:off x="1338476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67A16E5-88F6-E34C-ADB8-42534BE72FC5}"/>
                </a:ext>
              </a:extLst>
            </p:cNvPr>
            <p:cNvSpPr/>
            <p:nvPr/>
          </p:nvSpPr>
          <p:spPr>
            <a:xfrm>
              <a:off x="1089315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822DD3-7A44-584E-8FDE-044968D0AF24}"/>
                </a:ext>
              </a:extLst>
            </p:cNvPr>
            <p:cNvSpPr/>
            <p:nvPr/>
          </p:nvSpPr>
          <p:spPr>
            <a:xfrm>
              <a:off x="1089315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CC0BCCA-D6DE-DD4E-8026-E1C841BE8CA7}"/>
                </a:ext>
              </a:extLst>
            </p:cNvPr>
            <p:cNvSpPr/>
            <p:nvPr/>
          </p:nvSpPr>
          <p:spPr>
            <a:xfrm>
              <a:off x="840154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8AED6F9-E6A3-EB4A-A55C-0740537659D6}"/>
                </a:ext>
              </a:extLst>
            </p:cNvPr>
            <p:cNvSpPr/>
            <p:nvPr/>
          </p:nvSpPr>
          <p:spPr>
            <a:xfrm>
              <a:off x="1089315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3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4A5219-46D3-9D49-A8CC-36711F2BF6DB}"/>
                </a:ext>
              </a:extLst>
            </p:cNvPr>
            <p:cNvSpPr/>
            <p:nvPr/>
          </p:nvSpPr>
          <p:spPr>
            <a:xfrm>
              <a:off x="840154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4628D6A-430F-AD46-B90A-8331A948822D}"/>
                </a:ext>
              </a:extLst>
            </p:cNvPr>
            <p:cNvSpPr/>
            <p:nvPr/>
          </p:nvSpPr>
          <p:spPr>
            <a:xfrm>
              <a:off x="590992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0B47CCF-EFB3-B44B-9884-4494451C2D72}"/>
                </a:ext>
              </a:extLst>
            </p:cNvPr>
            <p:cNvSpPr/>
            <p:nvPr/>
          </p:nvSpPr>
          <p:spPr>
            <a:xfrm>
              <a:off x="341831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A0D0CC0-B494-924D-8C7F-13E6CFA6A115}"/>
                </a:ext>
              </a:extLst>
            </p:cNvPr>
            <p:cNvSpPr/>
            <p:nvPr/>
          </p:nvSpPr>
          <p:spPr>
            <a:xfrm>
              <a:off x="92670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A103DE1-86D1-CC40-BC8E-F37870113828}"/>
                </a:ext>
              </a:extLst>
            </p:cNvPr>
            <p:cNvSpPr/>
            <p:nvPr/>
          </p:nvSpPr>
          <p:spPr>
            <a:xfrm>
              <a:off x="341831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85B7FDA-2A3D-5148-882C-7F5FD28C86D6}"/>
                </a:ext>
              </a:extLst>
            </p:cNvPr>
            <p:cNvSpPr/>
            <p:nvPr/>
          </p:nvSpPr>
          <p:spPr>
            <a:xfrm>
              <a:off x="341831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319DB66-4056-974A-B568-9BE51C46D6DB}"/>
                </a:ext>
              </a:extLst>
            </p:cNvPr>
            <p:cNvSpPr/>
            <p:nvPr/>
          </p:nvSpPr>
          <p:spPr>
            <a:xfrm>
              <a:off x="92670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D9D4266-26E2-A649-B58A-BBD393D3909A}"/>
                </a:ext>
              </a:extLst>
            </p:cNvPr>
            <p:cNvSpPr/>
            <p:nvPr/>
          </p:nvSpPr>
          <p:spPr>
            <a:xfrm>
              <a:off x="341831" y="4141684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5792925-8473-D74D-AD5F-C84AAB25EA9D}"/>
                </a:ext>
              </a:extLst>
            </p:cNvPr>
            <p:cNvSpPr/>
            <p:nvPr/>
          </p:nvSpPr>
          <p:spPr>
            <a:xfrm>
              <a:off x="341831" y="3892522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FFE52ED-3497-1048-86AD-9D9A6F52BF03}"/>
                </a:ext>
              </a:extLst>
            </p:cNvPr>
            <p:cNvSpPr/>
            <p:nvPr/>
          </p:nvSpPr>
          <p:spPr>
            <a:xfrm>
              <a:off x="590992" y="4141684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9AE3BE6B-1DF9-664B-8C6A-831ED119861F}"/>
                </a:ext>
              </a:extLst>
            </p:cNvPr>
            <p:cNvSpPr/>
            <p:nvPr/>
          </p:nvSpPr>
          <p:spPr>
            <a:xfrm>
              <a:off x="827337" y="4876356"/>
              <a:ext cx="125093" cy="125094"/>
            </a:xfrm>
            <a:custGeom>
              <a:avLst/>
              <a:gdLst>
                <a:gd name="connsiteX0" fmla="*/ 125093 w 125093"/>
                <a:gd name="connsiteY0" fmla="*/ 62547 h 125094"/>
                <a:gd name="connsiteX1" fmla="*/ 62547 w 125093"/>
                <a:gd name="connsiteY1" fmla="*/ 125094 h 125094"/>
                <a:gd name="connsiteX2" fmla="*/ 0 w 125093"/>
                <a:gd name="connsiteY2" fmla="*/ 62547 h 125094"/>
                <a:gd name="connsiteX3" fmla="*/ 62547 w 125093"/>
                <a:gd name="connsiteY3" fmla="*/ 0 h 125094"/>
                <a:gd name="connsiteX4" fmla="*/ 125093 w 125093"/>
                <a:gd name="connsiteY4" fmla="*/ 62547 h 125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093" h="125094">
                  <a:moveTo>
                    <a:pt x="125093" y="62547"/>
                  </a:moveTo>
                  <a:cubicBezTo>
                    <a:pt x="125093" y="97091"/>
                    <a:pt x="97090" y="125094"/>
                    <a:pt x="62547" y="125094"/>
                  </a:cubicBezTo>
                  <a:cubicBezTo>
                    <a:pt x="28003" y="125094"/>
                    <a:pt x="0" y="97091"/>
                    <a:pt x="0" y="62547"/>
                  </a:cubicBezTo>
                  <a:cubicBezTo>
                    <a:pt x="0" y="28003"/>
                    <a:pt x="28003" y="0"/>
                    <a:pt x="62547" y="0"/>
                  </a:cubicBezTo>
                  <a:cubicBezTo>
                    <a:pt x="97090" y="0"/>
                    <a:pt x="125093" y="28003"/>
                    <a:pt x="125093" y="62547"/>
                  </a:cubicBezTo>
                  <a:close/>
                </a:path>
              </a:pathLst>
            </a:custGeom>
            <a:solidFill>
              <a:srgbClr val="5CB5FF">
                <a:alpha val="25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496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-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6492C8-F2B6-994C-93E7-13EF75C493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4152" y="1751961"/>
            <a:ext cx="3357562" cy="1022310"/>
          </a:xfrm>
        </p:spPr>
        <p:txBody>
          <a:bodyPr/>
          <a:lstStyle>
            <a:lvl1pPr marL="0" indent="0">
              <a:buNone/>
              <a:defRPr/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28BF588-A539-E84D-BAE7-8D1EE1761D7B}"/>
              </a:ext>
            </a:extLst>
          </p:cNvPr>
          <p:cNvSpPr/>
          <p:nvPr/>
        </p:nvSpPr>
        <p:spPr>
          <a:xfrm>
            <a:off x="3125188" y="-1"/>
            <a:ext cx="3004957" cy="5143500"/>
          </a:xfrm>
          <a:custGeom>
            <a:avLst/>
            <a:gdLst>
              <a:gd name="connsiteX0" fmla="*/ 2952243 w 3004957"/>
              <a:gd name="connsiteY0" fmla="*/ 0 h 5143500"/>
              <a:gd name="connsiteX1" fmla="*/ 3004957 w 3004957"/>
              <a:gd name="connsiteY1" fmla="*/ 0 h 5143500"/>
              <a:gd name="connsiteX2" fmla="*/ 52714 w 3004957"/>
              <a:gd name="connsiteY2" fmla="*/ 5143500 h 5143500"/>
              <a:gd name="connsiteX3" fmla="*/ 0 w 3004957"/>
              <a:gd name="connsiteY3" fmla="*/ 5143500 h 5143500"/>
              <a:gd name="connsiteX4" fmla="*/ 2952243 w 3004957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4957" h="5143500">
                <a:moveTo>
                  <a:pt x="2952243" y="0"/>
                </a:moveTo>
                <a:lnTo>
                  <a:pt x="3004957" y="0"/>
                </a:lnTo>
                <a:lnTo>
                  <a:pt x="52714" y="5143500"/>
                </a:lnTo>
                <a:lnTo>
                  <a:pt x="0" y="5143500"/>
                </a:lnTo>
                <a:lnTo>
                  <a:pt x="2952243" y="0"/>
                </a:lnTo>
                <a:close/>
              </a:path>
            </a:pathLst>
          </a:custGeom>
          <a:gradFill flip="none" rotWithShape="1">
            <a:gsLst>
              <a:gs pos="30000">
                <a:srgbClr val="3D5AAE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2E8F94DC-1ACF-544C-BF1F-4C5126BC46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310B4187-0EBC-5A45-8561-21E3AF78A755}"/>
              </a:ext>
            </a:extLst>
          </p:cNvPr>
          <p:cNvSpPr txBox="1"/>
          <p:nvPr userDrawn="1"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90C0E4-ECBA-5946-9BAC-DC37C67289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7058" y="0"/>
            <a:ext cx="6081885" cy="5143500"/>
          </a:xfrm>
          <a:custGeom>
            <a:avLst/>
            <a:gdLst>
              <a:gd name="connsiteX0" fmla="*/ 0 w 3125788"/>
              <a:gd name="connsiteY0" fmla="*/ 5143500 h 5143500"/>
              <a:gd name="connsiteX1" fmla="*/ 781447 w 3125788"/>
              <a:gd name="connsiteY1" fmla="*/ 0 h 5143500"/>
              <a:gd name="connsiteX2" fmla="*/ 2344341 w 3125788"/>
              <a:gd name="connsiteY2" fmla="*/ 0 h 5143500"/>
              <a:gd name="connsiteX3" fmla="*/ 3125788 w 3125788"/>
              <a:gd name="connsiteY3" fmla="*/ 5143500 h 5143500"/>
              <a:gd name="connsiteX4" fmla="*/ 0 w 3125788"/>
              <a:gd name="connsiteY4" fmla="*/ 5143500 h 5143500"/>
              <a:gd name="connsiteX0" fmla="*/ 0 w 6074828"/>
              <a:gd name="connsiteY0" fmla="*/ 5143500 h 5143500"/>
              <a:gd name="connsiteX1" fmla="*/ 781447 w 6074828"/>
              <a:gd name="connsiteY1" fmla="*/ 0 h 5143500"/>
              <a:gd name="connsiteX2" fmla="*/ 6074828 w 6074828"/>
              <a:gd name="connsiteY2" fmla="*/ 0 h 5143500"/>
              <a:gd name="connsiteX3" fmla="*/ 3125788 w 6074828"/>
              <a:gd name="connsiteY3" fmla="*/ 5143500 h 5143500"/>
              <a:gd name="connsiteX4" fmla="*/ 0 w 6074828"/>
              <a:gd name="connsiteY4" fmla="*/ 5143500 h 5143500"/>
              <a:gd name="connsiteX0" fmla="*/ 7057 w 6081885"/>
              <a:gd name="connsiteY0" fmla="*/ 5143500 h 5143500"/>
              <a:gd name="connsiteX1" fmla="*/ 0 w 6081885"/>
              <a:gd name="connsiteY1" fmla="*/ 0 h 5143500"/>
              <a:gd name="connsiteX2" fmla="*/ 6081885 w 6081885"/>
              <a:gd name="connsiteY2" fmla="*/ 0 h 5143500"/>
              <a:gd name="connsiteX3" fmla="*/ 3132845 w 6081885"/>
              <a:gd name="connsiteY3" fmla="*/ 5143500 h 5143500"/>
              <a:gd name="connsiteX4" fmla="*/ 7057 w 6081885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1885" h="5143500">
                <a:moveTo>
                  <a:pt x="7057" y="5143500"/>
                </a:moveTo>
                <a:cubicBezTo>
                  <a:pt x="4705" y="3429000"/>
                  <a:pt x="2352" y="1714500"/>
                  <a:pt x="0" y="0"/>
                </a:cubicBezTo>
                <a:lnTo>
                  <a:pt x="6081885" y="0"/>
                </a:lnTo>
                <a:lnTo>
                  <a:pt x="3132845" y="5143500"/>
                </a:lnTo>
                <a:lnTo>
                  <a:pt x="7057" y="514350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59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37353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Image Only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827EE352-7D2C-A441-A898-DDF88FC2D8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892" y="4758271"/>
            <a:ext cx="558779" cy="230961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FC61EEC8-0C67-4E4B-96F0-B7FBDEF4618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83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1AFB0-E8BA-6E40-9F47-B58679E1698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CC8A4CC-C6DD-674E-9755-C2307DA101AD}"/>
              </a:ext>
            </a:extLst>
          </p:cNvPr>
          <p:cNvGrpSpPr/>
          <p:nvPr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2">
              <a:lumMod val="50000"/>
            </a:schemeClr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C0936E0-05D4-D944-94E4-FBA36E861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5ACFC61-8225-8F4F-A539-DCE60FEB0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029620-52DD-C540-9F66-FD8586A66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F2C8F16-8DA0-6A49-A6A6-F8C208B72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F51FBB3-DAAD-0546-AF4C-840293C90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D4644BB-791F-6241-8C89-AFA3C1325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DAE9313-7E29-324E-B411-25184A85F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Box 3">
            <a:extLst>
              <a:ext uri="{FF2B5EF4-FFF2-40B4-BE49-F238E27FC236}">
                <a16:creationId xmlns:a16="http://schemas.microsoft.com/office/drawing/2014/main" id="{ACAC6727-2088-4147-A38A-47850B89BAF6}"/>
              </a:ext>
            </a:extLst>
          </p:cNvPr>
          <p:cNvSpPr txBox="1">
            <a:spLocks noChangeAspect="1"/>
          </p:cNvSpPr>
          <p:nvPr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16452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A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5DCED66-1892-224F-B3AD-DC1323E4C9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228850" cy="5143500"/>
          </a:xfrm>
          <a:prstGeom prst="rect">
            <a:avLst/>
          </a:prstGeom>
        </p:spPr>
      </p:pic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6653" y="1793688"/>
            <a:ext cx="6390694" cy="1556124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2F4D0-EB0E-3842-9785-6EF69081820E}"/>
              </a:ext>
            </a:extLst>
          </p:cNvPr>
          <p:cNvSpPr/>
          <p:nvPr/>
        </p:nvSpPr>
        <p:spPr>
          <a:xfrm>
            <a:off x="0" y="0"/>
            <a:ext cx="2405925" cy="5148072"/>
          </a:xfrm>
          <a:prstGeom prst="rect">
            <a:avLst/>
          </a:prstGeom>
          <a:gradFill flip="none" rotWithShape="1">
            <a:gsLst>
              <a:gs pos="2000">
                <a:schemeClr val="tx2">
                  <a:alpha val="0"/>
                </a:schemeClr>
              </a:gs>
              <a:gs pos="100000">
                <a:schemeClr val="tx2">
                  <a:alpha val="3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A8B58C-CD7F-6F4B-B6E8-178EEF4B15D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3DB4AB-A9DE-4660-939A-CBDF75AC178E}"/>
              </a:ext>
            </a:extLst>
          </p:cNvPr>
          <p:cNvSpPr txBox="1"/>
          <p:nvPr/>
        </p:nvSpPr>
        <p:spPr>
          <a:xfrm>
            <a:off x="4078010" y="4138459"/>
            <a:ext cx="10093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+mj-lt"/>
              </a:rPr>
              <a:t>sas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098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8858D5-6441-2244-85F5-A793FF70DB1A}"/>
              </a:ext>
            </a:extLst>
          </p:cNvPr>
          <p:cNvSpPr/>
          <p:nvPr userDrawn="1"/>
        </p:nvSpPr>
        <p:spPr>
          <a:xfrm>
            <a:off x="0" y="13007"/>
            <a:ext cx="8878529" cy="5130493"/>
          </a:xfrm>
          <a:prstGeom prst="rect">
            <a:avLst/>
          </a:prstGeom>
          <a:gradFill>
            <a:gsLst>
              <a:gs pos="59000">
                <a:srgbClr val="1F1C49"/>
              </a:gs>
              <a:gs pos="100000">
                <a:schemeClr val="tx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7D83F1-29FC-C940-A610-59B086ACB8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17"/>
          <a:stretch/>
        </p:blipFill>
        <p:spPr>
          <a:xfrm>
            <a:off x="5329084" y="0"/>
            <a:ext cx="3814916" cy="51304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28" y="450825"/>
            <a:ext cx="7886700" cy="457200"/>
          </a:xfrm>
        </p:spPr>
        <p:txBody>
          <a:bodyPr lIns="0" tIns="0" rIns="0" bIns="0">
            <a:noAutofit/>
          </a:bodyPr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0328" y="997311"/>
            <a:ext cx="7886700" cy="457200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>
                <a:solidFill>
                  <a:srgbClr val="2AD1D1"/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FAD47D-1EF0-A646-8D83-55027A4A16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308" y="4685582"/>
            <a:ext cx="693363" cy="315166"/>
          </a:xfrm>
          <a:prstGeom prst="rect">
            <a:avLst/>
          </a:prstGeom>
        </p:spPr>
      </p:pic>
      <p:sp>
        <p:nvSpPr>
          <p:cNvPr id="10" name="TextBox 3">
            <a:extLst>
              <a:ext uri="{FF2B5EF4-FFF2-40B4-BE49-F238E27FC236}">
                <a16:creationId xmlns:a16="http://schemas.microsoft.com/office/drawing/2014/main" id="{C3728F79-8749-AF4D-84EA-254FD549C7D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290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_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54660356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CI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348C523F-DE6C-437B-99BA-6B19B2692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35"/>
          <a:stretch/>
        </p:blipFill>
        <p:spPr>
          <a:xfrm>
            <a:off x="0" y="-891"/>
            <a:ext cx="9143994" cy="514439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7" y="0"/>
            <a:ext cx="9143994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48609" y="1179803"/>
            <a:ext cx="6611112" cy="519373"/>
          </a:xfrm>
        </p:spPr>
        <p:txBody>
          <a:bodyPr anchor="t" anchorCtr="0">
            <a:spAutoFit/>
          </a:bodyPr>
          <a:lstStyle>
            <a:lvl1pPr algn="l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09" y="2835433"/>
            <a:ext cx="6611112" cy="32983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-182876" algn="l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1800" b="0" cap="none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B97F34-0D3B-48D8-8F46-585C451CE882}"/>
              </a:ext>
            </a:extLst>
          </p:cNvPr>
          <p:cNvCxnSpPr>
            <a:cxnSpLocks/>
          </p:cNvCxnSpPr>
          <p:nvPr userDrawn="1"/>
        </p:nvCxnSpPr>
        <p:spPr>
          <a:xfrm>
            <a:off x="537066" y="2571750"/>
            <a:ext cx="6622655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CA755E-5784-4AC4-945A-D080BC6103A4}"/>
              </a:ext>
            </a:extLst>
          </p:cNvPr>
          <p:cNvCxnSpPr>
            <a:cxnSpLocks/>
          </p:cNvCxnSpPr>
          <p:nvPr userDrawn="1"/>
        </p:nvCxnSpPr>
        <p:spPr>
          <a:xfrm>
            <a:off x="537066" y="843158"/>
            <a:ext cx="6622655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4">
            <a:extLst>
              <a:ext uri="{FF2B5EF4-FFF2-40B4-BE49-F238E27FC236}">
                <a16:creationId xmlns:a16="http://schemas.microsoft.com/office/drawing/2014/main" id="{64DF1F2F-4745-4EEF-97B8-81FC0D0B6954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55775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CB629-8ABD-490C-B710-C8B348AE0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364" y="219276"/>
            <a:ext cx="7886700" cy="4572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8AD149-096D-42C0-9DCC-0B710D0EE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52A81E-09C2-43AC-8A68-D1E9D0D32E4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6364" y="923192"/>
            <a:ext cx="788670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296684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751B5-9D0F-4463-AEC4-0B1BBCEE5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7E3EA7-28FF-4B53-91A0-74EC19EB3C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93255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ECDE2-780D-423B-A2CF-38A1A520F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77FE7-B436-4CF4-B6B3-F8760160E6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F73003-7272-4D3D-B532-0B6525CA98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6269" y="923189"/>
            <a:ext cx="390906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12678D1-83C7-44B9-B37D-5361FB1F7D1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604004" y="923189"/>
            <a:ext cx="390906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438857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FBC44C5-5BC5-4DBA-A1E5-963B76715848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EC9ED1-EA3B-49A1-89D9-C3203F9E4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D8EBA38-CC33-4A18-B7EB-BA25BC059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23C97E1-A212-43DD-8426-FAD5C9332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EF0314-9402-411E-8735-B1B761ECA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8B8D75E-75F8-4B42-BCC0-83EF03ADA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5F29E2A-3D6D-4FD2-93A4-F96F23B6FE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B69EB4E-5068-4AF3-BC9D-401508E0A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04158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Black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FBC44C5-5BC5-4DBA-A1E5-963B76715848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tx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EC9ED1-EA3B-49A1-89D9-C3203F9E4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D8EBA38-CC33-4A18-B7EB-BA25BC059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23C97E1-A212-43DD-8426-FAD5C9332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EF0314-9402-411E-8735-B1B761ECA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8B8D75E-75F8-4B42-BCC0-83EF03ADA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5F29E2A-3D6D-4FD2-93A4-F96F23B6FE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B69EB4E-5068-4AF3-BC9D-401508E0A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9B9E66FE-6E0D-42CB-B347-954087B7D810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bg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73601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CI - 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48608" y="1979147"/>
            <a:ext cx="7992860" cy="519373"/>
          </a:xfrm>
        </p:spPr>
        <p:txBody>
          <a:bodyPr wrap="square" anchor="t" anchorCtr="0">
            <a:spAutoFit/>
          </a:bodyPr>
          <a:lstStyle>
            <a:lvl1pPr algn="l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08" y="2835433"/>
            <a:ext cx="7992860" cy="2902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-182876" algn="l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1500" b="0" cap="none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B97F34-0D3B-48D8-8F46-585C451CE882}"/>
              </a:ext>
            </a:extLst>
          </p:cNvPr>
          <p:cNvCxnSpPr>
            <a:cxnSpLocks/>
          </p:cNvCxnSpPr>
          <p:nvPr userDrawn="1"/>
        </p:nvCxnSpPr>
        <p:spPr>
          <a:xfrm>
            <a:off x="537066" y="2571750"/>
            <a:ext cx="8006816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CA755E-5784-4AC4-945A-D080BC6103A4}"/>
              </a:ext>
            </a:extLst>
          </p:cNvPr>
          <p:cNvCxnSpPr>
            <a:cxnSpLocks/>
          </p:cNvCxnSpPr>
          <p:nvPr userDrawn="1"/>
        </p:nvCxnSpPr>
        <p:spPr>
          <a:xfrm>
            <a:off x="537066" y="1874129"/>
            <a:ext cx="8006816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4">
            <a:extLst>
              <a:ext uri="{FF2B5EF4-FFF2-40B4-BE49-F238E27FC236}">
                <a16:creationId xmlns:a16="http://schemas.microsoft.com/office/drawing/2014/main" id="{F698FAE4-C6FA-4F52-8141-FA48FFB3F682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6784977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E2EE53C-FC71-498B-B001-DE7F0467E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E9A7A0D-0A91-4B62-8D93-51DF9729359A}"/>
              </a:ext>
            </a:extLst>
          </p:cNvPr>
          <p:cNvSpPr/>
          <p:nvPr userDrawn="1"/>
        </p:nvSpPr>
        <p:spPr>
          <a:xfrm>
            <a:off x="0" y="-2"/>
            <a:ext cx="9144000" cy="5143502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45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endParaRPr lang="en-US" sz="1800">
              <a:solidFill>
                <a:srgbClr val="FFFFFF"/>
              </a:solidFill>
              <a:latin typeface="Calibri Ligh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BC44C5-5BC5-4DBA-A1E5-963B76715848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tx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EC9ED1-EA3B-49A1-89D9-C3203F9E4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D8EBA38-CC33-4A18-B7EB-BA25BC059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23C97E1-A212-43DD-8426-FAD5C9332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EF0314-9402-411E-8735-B1B761ECA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8B8D75E-75F8-4B42-BCC0-83EF03ADA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5F29E2A-3D6D-4FD2-93A4-F96F23B6FE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B69EB4E-5068-4AF3-BC9D-401508E0A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559CE50-11D8-4108-894A-E7E166B0A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08" y="1979147"/>
            <a:ext cx="7992860" cy="519373"/>
          </a:xfrm>
        </p:spPr>
        <p:txBody>
          <a:bodyPr wrap="square" anchor="t" anchorCtr="0">
            <a:spAutoFit/>
          </a:bodyPr>
          <a:lstStyle>
            <a:lvl1pPr algn="l">
              <a:defRPr sz="2775" b="1" i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DA752D87-C755-4B7A-B15C-202CF731D46C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12246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Closing Slide">
    <p:bg>
      <p:bgPr>
        <a:gradFill flip="none" rotWithShape="1">
          <a:gsLst>
            <a:gs pos="0">
              <a:srgbClr val="003074"/>
            </a:gs>
            <a:gs pos="71000">
              <a:srgbClr val="011F68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348C523F-DE6C-437B-99BA-6B19B2692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t="454" r="-50" b="38643"/>
          <a:stretch/>
        </p:blipFill>
        <p:spPr>
          <a:xfrm flipH="1">
            <a:off x="0" y="1371600"/>
            <a:ext cx="9143994" cy="37719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-9147" y="0"/>
            <a:ext cx="9134858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145421" y="3811035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572" y="1723085"/>
            <a:ext cx="9134858" cy="519373"/>
          </a:xfrm>
        </p:spPr>
        <p:txBody>
          <a:bodyPr wrap="square" anchor="t" anchorCtr="0">
            <a:spAutoFit/>
          </a:bodyPr>
          <a:lstStyle>
            <a:lvl1pPr algn="ctr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6" name="TextBox 4">
            <a:extLst>
              <a:ext uri="{FF2B5EF4-FFF2-40B4-BE49-F238E27FC236}">
                <a16:creationId xmlns:a16="http://schemas.microsoft.com/office/drawing/2014/main" id="{64DF1F2F-4745-4EEF-97B8-81FC0D0B6954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34" name="TextBox 33">
            <a:hlinkClick r:id="rId3"/>
            <a:extLst>
              <a:ext uri="{FF2B5EF4-FFF2-40B4-BE49-F238E27FC236}">
                <a16:creationId xmlns:a16="http://schemas.microsoft.com/office/drawing/2014/main" id="{CF5EAF1B-BF81-40FD-8891-0A55B7634930}"/>
              </a:ext>
            </a:extLst>
          </p:cNvPr>
          <p:cNvSpPr txBox="1"/>
          <p:nvPr userDrawn="1"/>
        </p:nvSpPr>
        <p:spPr>
          <a:xfrm>
            <a:off x="-4574" y="4243915"/>
            <a:ext cx="9144003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 defTabSz="182876"/>
            <a:r>
              <a:rPr lang="en-US" sz="1800" baseline="0">
                <a:solidFill>
                  <a:schemeClr val="bg1"/>
                </a:solidFill>
              </a:rPr>
              <a:t>sas.com</a:t>
            </a:r>
          </a:p>
        </p:txBody>
      </p:sp>
    </p:spTree>
    <p:extLst>
      <p:ext uri="{BB962C8B-B14F-4D97-AF65-F5344CB8AC3E}">
        <p14:creationId xmlns:p14="http://schemas.microsoft.com/office/powerpoint/2010/main" val="135738261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8858D5-6441-2244-85F5-A793FF70DB1A}"/>
              </a:ext>
            </a:extLst>
          </p:cNvPr>
          <p:cNvSpPr/>
          <p:nvPr userDrawn="1"/>
        </p:nvSpPr>
        <p:spPr>
          <a:xfrm>
            <a:off x="-68827" y="-19664"/>
            <a:ext cx="9212827" cy="5230761"/>
          </a:xfrm>
          <a:prstGeom prst="rect">
            <a:avLst/>
          </a:prstGeom>
          <a:solidFill>
            <a:srgbClr val="1211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7D83F1-29FC-C940-A610-59B086ACB8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626" t="33180" r="46262" b="-26467"/>
          <a:stretch/>
        </p:blipFill>
        <p:spPr>
          <a:xfrm>
            <a:off x="6390968" y="-19664"/>
            <a:ext cx="2753032" cy="44749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28" y="450825"/>
            <a:ext cx="7886700" cy="457200"/>
          </a:xfrm>
        </p:spPr>
        <p:txBody>
          <a:bodyPr lIns="0" tIns="0" rIns="0" bIns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0328" y="997311"/>
            <a:ext cx="7886700" cy="457200"/>
          </a:xfrm>
        </p:spPr>
        <p:txBody>
          <a:bodyPr lIns="0" tIns="0" rIns="0" bIns="0" anchor="t"/>
          <a:lstStyle>
            <a:lvl1pPr marL="0" indent="0" algn="l">
              <a:buNone/>
              <a:defRPr>
                <a:solidFill>
                  <a:srgbClr val="2AD1D1"/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FAD47D-1EF0-A646-8D83-55027A4A16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308" y="4685582"/>
            <a:ext cx="693363" cy="315166"/>
          </a:xfrm>
          <a:prstGeom prst="rect">
            <a:avLst/>
          </a:prstGeom>
        </p:spPr>
      </p:pic>
      <p:sp>
        <p:nvSpPr>
          <p:cNvPr id="8" name="TextBox 3">
            <a:extLst>
              <a:ext uri="{FF2B5EF4-FFF2-40B4-BE49-F238E27FC236}">
                <a16:creationId xmlns:a16="http://schemas.microsoft.com/office/drawing/2014/main" id="{08E4FB4D-D515-2740-92D6-2468A99D6D5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479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CI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348C523F-DE6C-437B-99BA-6B19B2692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35"/>
          <a:stretch/>
        </p:blipFill>
        <p:spPr>
          <a:xfrm>
            <a:off x="0" y="-891"/>
            <a:ext cx="9143994" cy="514439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7" y="0"/>
            <a:ext cx="9143994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48609" y="1179803"/>
            <a:ext cx="6611112" cy="519373"/>
          </a:xfrm>
        </p:spPr>
        <p:txBody>
          <a:bodyPr anchor="t" anchorCtr="0">
            <a:spAutoFit/>
          </a:bodyPr>
          <a:lstStyle>
            <a:lvl1pPr algn="l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09" y="2835433"/>
            <a:ext cx="6611112" cy="32983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-182876" algn="l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1800" b="0" cap="none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B97F34-0D3B-48D8-8F46-585C451CE882}"/>
              </a:ext>
            </a:extLst>
          </p:cNvPr>
          <p:cNvCxnSpPr>
            <a:cxnSpLocks/>
          </p:cNvCxnSpPr>
          <p:nvPr userDrawn="1"/>
        </p:nvCxnSpPr>
        <p:spPr>
          <a:xfrm>
            <a:off x="537066" y="2571750"/>
            <a:ext cx="6622655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CA755E-5784-4AC4-945A-D080BC6103A4}"/>
              </a:ext>
            </a:extLst>
          </p:cNvPr>
          <p:cNvCxnSpPr>
            <a:cxnSpLocks/>
          </p:cNvCxnSpPr>
          <p:nvPr userDrawn="1"/>
        </p:nvCxnSpPr>
        <p:spPr>
          <a:xfrm>
            <a:off x="537066" y="843158"/>
            <a:ext cx="6622655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4">
            <a:extLst>
              <a:ext uri="{FF2B5EF4-FFF2-40B4-BE49-F238E27FC236}">
                <a16:creationId xmlns:a16="http://schemas.microsoft.com/office/drawing/2014/main" id="{64DF1F2F-4745-4EEF-97B8-81FC0D0B6954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6689962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CB629-8ABD-490C-B710-C8B348AE06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364" y="219276"/>
            <a:ext cx="7886700" cy="4572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8AD149-096D-42C0-9DCC-0B710D0EE7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52A81E-09C2-43AC-8A68-D1E9D0D32E4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6364" y="923192"/>
            <a:ext cx="788670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774264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751B5-9D0F-4463-AEC4-0B1BBCEE5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7E3EA7-28FF-4B53-91A0-74EC19EB3C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7538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CI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ECDE2-780D-423B-A2CF-38A1A520F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477FE7-B436-4CF4-B6B3-F8760160E6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F73003-7272-4D3D-B532-0B6525CA98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6269" y="923189"/>
            <a:ext cx="390906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12678D1-83C7-44B9-B37D-5361FB1F7D1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604004" y="923189"/>
            <a:ext cx="3909060" cy="37033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191401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88625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Black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FBC44C5-5BC5-4DBA-A1E5-963B76715848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tx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EC9ED1-EA3B-49A1-89D9-C3203F9E4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D8EBA38-CC33-4A18-B7EB-BA25BC059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23C97E1-A212-43DD-8426-FAD5C9332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EF0314-9402-411E-8735-B1B761ECA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8B8D75E-75F8-4B42-BCC0-83EF03ADA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5F29E2A-3D6D-4FD2-93A4-F96F23B6FE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B69EB4E-5068-4AF3-BC9D-401508E0A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9B9E66FE-6E0D-42CB-B347-954087B7D810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bg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65444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CI - 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0" y="0"/>
            <a:ext cx="9144001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48608" y="1979147"/>
            <a:ext cx="7992860" cy="519373"/>
          </a:xfrm>
        </p:spPr>
        <p:txBody>
          <a:bodyPr wrap="square" anchor="t" anchorCtr="0">
            <a:spAutoFit/>
          </a:bodyPr>
          <a:lstStyle>
            <a:lvl1pPr algn="l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548608" y="2835433"/>
            <a:ext cx="7992860" cy="2902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-182876" algn="l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1500" b="0" cap="none" spc="3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B97F34-0D3B-48D8-8F46-585C451CE882}"/>
              </a:ext>
            </a:extLst>
          </p:cNvPr>
          <p:cNvCxnSpPr>
            <a:cxnSpLocks/>
          </p:cNvCxnSpPr>
          <p:nvPr userDrawn="1"/>
        </p:nvCxnSpPr>
        <p:spPr>
          <a:xfrm>
            <a:off x="537066" y="2571750"/>
            <a:ext cx="8006816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CA755E-5784-4AC4-945A-D080BC6103A4}"/>
              </a:ext>
            </a:extLst>
          </p:cNvPr>
          <p:cNvCxnSpPr>
            <a:cxnSpLocks/>
          </p:cNvCxnSpPr>
          <p:nvPr userDrawn="1"/>
        </p:nvCxnSpPr>
        <p:spPr>
          <a:xfrm>
            <a:off x="537066" y="1874129"/>
            <a:ext cx="8006816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/>
                </a:gs>
                <a:gs pos="99000">
                  <a:srgbClr val="6555A2"/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4">
            <a:extLst>
              <a:ext uri="{FF2B5EF4-FFF2-40B4-BE49-F238E27FC236}">
                <a16:creationId xmlns:a16="http://schemas.microsoft.com/office/drawing/2014/main" id="{F698FAE4-C6FA-4F52-8141-FA48FFB3F682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0406869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Section Hea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E2EE53C-FC71-498B-B001-DE7F0467E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E9A7A0D-0A91-4B62-8D93-51DF9729359A}"/>
              </a:ext>
            </a:extLst>
          </p:cNvPr>
          <p:cNvSpPr/>
          <p:nvPr userDrawn="1"/>
        </p:nvSpPr>
        <p:spPr>
          <a:xfrm>
            <a:off x="0" y="-2"/>
            <a:ext cx="9144000" cy="5143502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45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defRPr/>
            </a:pPr>
            <a:endParaRPr lang="en-US" sz="1800">
              <a:solidFill>
                <a:srgbClr val="FFFFFF"/>
              </a:solidFill>
              <a:latin typeface="Calibri Ligh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BC44C5-5BC5-4DBA-A1E5-963B76715848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tx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F2EC9ED1-EA3B-49A1-89D9-C3203F9E4E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D8EBA38-CC33-4A18-B7EB-BA25BC059B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623C97E1-A212-43DD-8426-FAD5C93321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0BEF0314-9402-411E-8735-B1B761ECA8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8B8D75E-75F8-4B42-BCC0-83EF03ADAC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75F29E2A-3D6D-4FD2-93A4-F96F23B6FE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8B69EB4E-5068-4AF3-BC9D-401508E0A4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27108207-C57F-40FD-A6E2-334122263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559CE50-11D8-4108-894A-E7E166B0A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08" y="1979147"/>
            <a:ext cx="7992860" cy="519373"/>
          </a:xfrm>
        </p:spPr>
        <p:txBody>
          <a:bodyPr wrap="square" anchor="t" anchorCtr="0">
            <a:spAutoFit/>
          </a:bodyPr>
          <a:lstStyle>
            <a:lvl1pPr algn="l">
              <a:defRPr sz="2775" b="1" i="0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DA752D87-C755-4B7A-B15C-202CF731D46C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85276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CI - Closing Slide">
    <p:bg>
      <p:bgPr>
        <a:gradFill flip="none" rotWithShape="1">
          <a:gsLst>
            <a:gs pos="0">
              <a:srgbClr val="003074"/>
            </a:gs>
            <a:gs pos="71000">
              <a:srgbClr val="011F68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348C523F-DE6C-437B-99BA-6B19B2692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 t="454" r="-50" b="38643"/>
          <a:stretch/>
        </p:blipFill>
        <p:spPr>
          <a:xfrm flipH="1">
            <a:off x="0" y="1371600"/>
            <a:ext cx="9143994" cy="37719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A20D6EE7-E033-4F73-96DB-637E6E7583E9}"/>
              </a:ext>
            </a:extLst>
          </p:cNvPr>
          <p:cNvSpPr/>
          <p:nvPr userDrawn="1"/>
        </p:nvSpPr>
        <p:spPr>
          <a:xfrm>
            <a:off x="-9147" y="0"/>
            <a:ext cx="9134858" cy="5143500"/>
          </a:xfrm>
          <a:prstGeom prst="rect">
            <a:avLst/>
          </a:prstGeom>
          <a:gradFill flip="none" rotWithShape="1">
            <a:gsLst>
              <a:gs pos="0">
                <a:srgbClr val="001D33">
                  <a:alpha val="67000"/>
                </a:srgbClr>
              </a:gs>
              <a:gs pos="99000">
                <a:srgbClr val="820053">
                  <a:alpha val="82000"/>
                </a:srgb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145421" y="3811035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572" y="1723085"/>
            <a:ext cx="9134858" cy="519373"/>
          </a:xfrm>
        </p:spPr>
        <p:txBody>
          <a:bodyPr wrap="square" anchor="t" anchorCtr="0">
            <a:spAutoFit/>
          </a:bodyPr>
          <a:lstStyle>
            <a:lvl1pPr algn="ctr">
              <a:defRPr sz="2775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6" name="TextBox 4">
            <a:extLst>
              <a:ext uri="{FF2B5EF4-FFF2-40B4-BE49-F238E27FC236}">
                <a16:creationId xmlns:a16="http://schemas.microsoft.com/office/drawing/2014/main" id="{64DF1F2F-4745-4EEF-97B8-81FC0D0B6954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34" name="TextBox 33">
            <a:hlinkClick r:id="rId3"/>
            <a:extLst>
              <a:ext uri="{FF2B5EF4-FFF2-40B4-BE49-F238E27FC236}">
                <a16:creationId xmlns:a16="http://schemas.microsoft.com/office/drawing/2014/main" id="{CF5EAF1B-BF81-40FD-8891-0A55B7634930}"/>
              </a:ext>
            </a:extLst>
          </p:cNvPr>
          <p:cNvSpPr txBox="1"/>
          <p:nvPr userDrawn="1"/>
        </p:nvSpPr>
        <p:spPr>
          <a:xfrm>
            <a:off x="-4574" y="4243915"/>
            <a:ext cx="9144003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 defTabSz="182876"/>
            <a:r>
              <a:rPr lang="en-US" sz="1800" baseline="0">
                <a:solidFill>
                  <a:schemeClr val="bg1"/>
                </a:solidFill>
              </a:rPr>
              <a:t>sas.com</a:t>
            </a:r>
          </a:p>
        </p:txBody>
      </p:sp>
    </p:spTree>
    <p:extLst>
      <p:ext uri="{BB962C8B-B14F-4D97-AF65-F5344CB8AC3E}">
        <p14:creationId xmlns:p14="http://schemas.microsoft.com/office/powerpoint/2010/main" val="17756902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152144" y="1799049"/>
            <a:ext cx="6611112" cy="584775"/>
          </a:xfrm>
        </p:spPr>
        <p:txBody>
          <a:bodyPr anchor="b" anchorCtr="0">
            <a:spAutoFit/>
          </a:bodyPr>
          <a:lstStyle>
            <a:lvl1pPr algn="l"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1152144" y="2383824"/>
            <a:ext cx="6611112" cy="353943"/>
          </a:xfrm>
        </p:spPr>
        <p:txBody>
          <a:bodyPr wrap="square" anchor="t">
            <a:spAutoFit/>
          </a:bodyPr>
          <a:lstStyle>
            <a:lvl1pPr marL="0" indent="-182880" algn="l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10" name="TextBox 3"/>
          <p:cNvSpPr txBox="1">
            <a:spLocks noChangeAspect="1"/>
          </p:cNvSpPr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20804" cy="180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3382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8858D5-6441-2244-85F5-A793FF70DB1A}"/>
              </a:ext>
            </a:extLst>
          </p:cNvPr>
          <p:cNvSpPr/>
          <p:nvPr userDrawn="1"/>
        </p:nvSpPr>
        <p:spPr>
          <a:xfrm>
            <a:off x="-68827" y="-19664"/>
            <a:ext cx="9212827" cy="5230761"/>
          </a:xfrm>
          <a:prstGeom prst="rect">
            <a:avLst/>
          </a:prstGeom>
          <a:solidFill>
            <a:srgbClr val="1211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7D83F1-29FC-C940-A610-59B086ACB8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35" t="43577" r="19279" b="303"/>
          <a:stretch/>
        </p:blipFill>
        <p:spPr>
          <a:xfrm>
            <a:off x="6572103" y="-24397"/>
            <a:ext cx="2571897" cy="180403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28" y="450825"/>
            <a:ext cx="7886700" cy="457200"/>
          </a:xfrm>
        </p:spPr>
        <p:txBody>
          <a:bodyPr lIns="0" tIns="0" rIns="0" bIns="0" anchor="t" anchorCtr="0">
            <a:noAutofit/>
          </a:bodyPr>
          <a:lstStyle>
            <a:lvl1pPr algn="l">
              <a:defRPr>
                <a:solidFill>
                  <a:srgbClr val="2AD1D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FAD47D-1EF0-A646-8D83-55027A4A16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308" y="4685582"/>
            <a:ext cx="693363" cy="315166"/>
          </a:xfrm>
          <a:prstGeom prst="rect">
            <a:avLst/>
          </a:prstGeom>
        </p:spPr>
      </p:pic>
      <p:sp>
        <p:nvSpPr>
          <p:cNvPr id="8" name="TextBox 3">
            <a:extLst>
              <a:ext uri="{FF2B5EF4-FFF2-40B4-BE49-F238E27FC236}">
                <a16:creationId xmlns:a16="http://schemas.microsoft.com/office/drawing/2014/main" id="{08E4FB4D-D515-2740-92D6-2468A99D6D5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888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6364" y="1016459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19942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59379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670635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Comparis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627641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7641" y="1014984"/>
            <a:ext cx="3886200" cy="3639312"/>
          </a:xfrm>
        </p:spPr>
        <p:txBody>
          <a:bodyPr wrap="square" anchor="t" anchorCtr="0">
            <a:normAutofit/>
          </a:bodyPr>
          <a:lstStyle>
            <a:lvl1pPr>
              <a:defRPr sz="2000" baseline="0">
                <a:solidFill>
                  <a:schemeClr val="tx2"/>
                </a:solidFill>
                <a:latin typeface="+mn-lt"/>
              </a:defRPr>
            </a:lvl1pPr>
            <a:lvl2pPr>
              <a:defRPr sz="1800" baseline="0">
                <a:latin typeface="+mn-lt"/>
              </a:defRPr>
            </a:lvl2pPr>
            <a:lvl3pPr>
              <a:defRPr sz="1400" baseline="0">
                <a:latin typeface="+mn-lt"/>
              </a:defRPr>
            </a:lvl3pPr>
            <a:lvl4pPr>
              <a:defRPr sz="1200" baseline="0">
                <a:latin typeface="+mj-lt"/>
              </a:defRPr>
            </a:lvl4pPr>
            <a:lvl5pPr>
              <a:defRPr sz="1000" baseline="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4634121" y="1014984"/>
            <a:ext cx="3886200" cy="3639312"/>
          </a:xfrm>
        </p:spPr>
        <p:txBody>
          <a:bodyPr wrap="square">
            <a:normAutofit/>
          </a:bodyPr>
          <a:lstStyle>
            <a:lvl1pPr>
              <a:defRPr sz="2000" baseline="0">
                <a:solidFill>
                  <a:schemeClr val="tx2"/>
                </a:solidFill>
                <a:latin typeface="+mn-lt"/>
              </a:defRPr>
            </a:lvl1pPr>
            <a:lvl2pPr>
              <a:defRPr baseline="0">
                <a:latin typeface="+mn-lt"/>
              </a:defRPr>
            </a:lvl2pPr>
            <a:lvl3pPr>
              <a:defRPr baseline="0">
                <a:latin typeface="+mn-lt"/>
              </a:defRPr>
            </a:lvl3pPr>
            <a:lvl4pPr>
              <a:defRPr baseline="0">
                <a:latin typeface="+mj-lt"/>
              </a:defRPr>
            </a:lvl4pPr>
            <a:lvl5pPr>
              <a:defRPr baseline="0">
                <a:latin typeface="+mj-lt"/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09784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Two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>
            <a:noAutofit/>
          </a:bodyPr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" hasCustomPrompt="1"/>
          </p:nvPr>
        </p:nvSpPr>
        <p:spPr>
          <a:xfrm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7641" y="1014984"/>
            <a:ext cx="3886200" cy="3639312"/>
          </a:xfrm>
        </p:spPr>
        <p:txBody>
          <a:bodyPr wrap="square" anchor="t" anchorCtr="0">
            <a:normAutofit/>
          </a:bodyPr>
          <a:lstStyle>
            <a:lvl1pPr>
              <a:buClr>
                <a:schemeClr val="bg1"/>
              </a:buClr>
              <a:buSzPct val="80000"/>
              <a:defRPr sz="2000" baseline="0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buSzPct val="80000"/>
              <a:defRPr sz="1800" baseline="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buSzPct val="100000"/>
              <a:defRPr sz="1400" baseline="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buSzPct val="100000"/>
              <a:defRPr sz="1200" baseline="0">
                <a:solidFill>
                  <a:schemeClr val="bg1"/>
                </a:solidFill>
                <a:latin typeface="+mj-lt"/>
              </a:defRPr>
            </a:lvl4pPr>
            <a:lvl5pPr marL="914400" indent="-182880">
              <a:buClr>
                <a:schemeClr val="bg1"/>
              </a:buClr>
              <a:buSzPct val="100000"/>
              <a:defRPr sz="1000" baseline="0">
                <a:solidFill>
                  <a:schemeClr val="bg1"/>
                </a:solidFill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4634121" y="1014984"/>
            <a:ext cx="3886200" cy="3639312"/>
          </a:xfrm>
        </p:spPr>
        <p:txBody>
          <a:bodyPr vert="horz" wrap="square" lIns="91440" tIns="45720" rIns="91440" bIns="45720" rtlCol="0" anchor="t" anchorCtr="0">
            <a:normAutofit/>
          </a:bodyPr>
          <a:lstStyle>
            <a:lvl1pPr>
              <a:buClr>
                <a:schemeClr val="bg1"/>
              </a:buClr>
              <a:defRPr lang="en-US" dirty="0" smtClean="0">
                <a:solidFill>
                  <a:schemeClr val="bg1"/>
                </a:solidFill>
              </a:defRPr>
            </a:lvl1pPr>
            <a:lvl2pPr marL="182880" indent="-182880" defTabSz="365760">
              <a:lnSpc>
                <a:spcPct val="85000"/>
              </a:lnSpc>
              <a:spcBef>
                <a:spcPts val="8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lang="en-US" sz="2000" dirty="0" smtClean="0">
                <a:solidFill>
                  <a:schemeClr val="bg1"/>
                </a:solidFill>
                <a:latin typeface="+mn-lt"/>
              </a:defRPr>
            </a:lvl2pPr>
            <a:lvl3pPr marL="365760" indent="-182880" defTabSz="365760">
              <a:lnSpc>
                <a:spcPct val="85000"/>
              </a:lnSpc>
              <a:spcBef>
                <a:spcPts val="800"/>
              </a:spcBef>
              <a:buClr>
                <a:schemeClr val="bg1"/>
              </a:buClr>
              <a:buSzPct val="80000"/>
              <a:buFont typeface="Arial" panose="020B0604020202020204" pitchFamily="34" charset="0"/>
              <a:buChar char="•"/>
              <a:defRPr lang="en-US" sz="1800" dirty="0" smtClean="0">
                <a:solidFill>
                  <a:schemeClr val="bg1"/>
                </a:solidFill>
                <a:latin typeface="+mn-lt"/>
              </a:defRPr>
            </a:lvl3pPr>
            <a:lvl4pPr marL="548640" defTabSz="365760">
              <a:lnSpc>
                <a:spcPct val="85000"/>
              </a:lnSpc>
              <a:spcBef>
                <a:spcPts val="800"/>
              </a:spcBef>
              <a:buClr>
                <a:schemeClr val="bg1"/>
              </a:buClr>
              <a:defRPr lang="en-US" sz="1400" dirty="0" smtClean="0">
                <a:solidFill>
                  <a:schemeClr val="bg1"/>
                </a:solidFill>
                <a:latin typeface="+mn-lt"/>
              </a:defRPr>
            </a:lvl4pPr>
            <a:lvl5pPr marL="731520" indent="-182880" defTabSz="365760">
              <a:buClr>
                <a:schemeClr val="bg1"/>
              </a:buClr>
              <a:defRPr lang="en-US" sz="1200" dirty="0">
                <a:solidFill>
                  <a:schemeClr val="bg1"/>
                </a:solidFill>
                <a:latin typeface="+mj-lt"/>
              </a:defRPr>
            </a:lvl5pPr>
            <a:lvl6pPr marL="914400" indent="-182880" defTabSz="365760">
              <a:buClr>
                <a:schemeClr val="bg1"/>
              </a:buClr>
              <a:buSzPct val="100000"/>
              <a:buFont typeface="Calibri" panose="020F0502020204030204" pitchFamily="34" charset="0"/>
              <a:buChar char="-"/>
              <a:defRPr>
                <a:solidFill>
                  <a:schemeClr val="bg1"/>
                </a:solidFill>
                <a:latin typeface="+mj-lt"/>
              </a:defRPr>
            </a:lvl6pPr>
          </a:lstStyle>
          <a:p>
            <a:pPr lvl="1"/>
            <a:r>
              <a:rPr lang="en-US"/>
              <a:t>Click to add text or click an icon to add other content types.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659105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Content with Cap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28887"/>
            <a:ext cx="3127248" cy="369332"/>
          </a:xfrm>
        </p:spPr>
        <p:txBody>
          <a:bodyPr lIns="91440" rIns="91440" anchor="t" anchorCtr="0">
            <a:spAutoFit/>
          </a:bodyPr>
          <a:lstStyle>
            <a:lvl1pPr algn="ctr" defTabSz="182880">
              <a:spcBef>
                <a:spcPts val="0"/>
              </a:spcBef>
              <a:defRPr sz="180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127248" y="192024"/>
            <a:ext cx="6016752" cy="430887"/>
          </a:xfrm>
        </p:spPr>
        <p:txBody>
          <a:bodyPr wrap="square" lIns="274320" rIns="274320" anchor="ctr" anchorCtr="0">
            <a:noAutofit/>
          </a:bodyPr>
          <a:lstStyle>
            <a:lvl1pPr marL="0" indent="0" algn="l" defTabSz="18288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i="0" cap="none" baseline="0">
                <a:solidFill>
                  <a:schemeClr val="tx2"/>
                </a:solidFill>
                <a:effectLst/>
                <a:latin typeface="+mj-lt"/>
              </a:defRPr>
            </a:lvl1pPr>
            <a:lvl2pPr marL="0" indent="0" algn="r">
              <a:buFontTx/>
              <a:buNone/>
              <a:defRPr sz="1400" b="1">
                <a:solidFill>
                  <a:schemeClr val="bg1"/>
                </a:solidFill>
              </a:defRPr>
            </a:lvl2pPr>
            <a:lvl3pPr marL="182880" indent="0" algn="r">
              <a:buFontTx/>
              <a:buNone/>
              <a:defRPr sz="1400" b="1">
                <a:solidFill>
                  <a:schemeClr val="bg1"/>
                </a:solidFill>
              </a:defRPr>
            </a:lvl3pPr>
            <a:lvl4pPr marL="365760" indent="0" algn="r">
              <a:buFontTx/>
              <a:buNone/>
              <a:defRPr sz="1400" b="1">
                <a:solidFill>
                  <a:schemeClr val="bg1"/>
                </a:solidFill>
              </a:defRPr>
            </a:lvl4pPr>
            <a:lvl5pPr marL="548640" indent="0" algn="r">
              <a:buFontTx/>
              <a:buNone/>
              <a:defRPr sz="1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3127248" y="636359"/>
            <a:ext cx="6016752" cy="4507141"/>
          </a:xfrm>
        </p:spPr>
        <p:txBody>
          <a:bodyPr vert="horz" wrap="square" lIns="274320" tIns="45720" rIns="457200" bIns="91440" rtlCol="0" anchor="t" anchorCtr="0">
            <a:normAutofit/>
          </a:bodyPr>
          <a:lstStyle>
            <a:lvl1pPr>
              <a:defRPr lang="en-US" dirty="0" smtClean="0">
                <a:latin typeface="+mn-lt"/>
              </a:defRPr>
            </a:lvl1pPr>
            <a:lvl2pPr>
              <a:defRPr lang="en-US" dirty="0" smtClean="0">
                <a:latin typeface="+mn-lt"/>
              </a:defRPr>
            </a:lvl2pPr>
            <a:lvl3pPr>
              <a:defRPr lang="en-US" dirty="0" smtClean="0">
                <a:latin typeface="+mn-lt"/>
              </a:defRPr>
            </a:lvl3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996694"/>
            <a:ext cx="2304288" cy="615553"/>
          </a:xfrm>
        </p:spPr>
        <p:txBody>
          <a:bodyPr wrap="square" anchor="t" anchorCtr="0">
            <a:spAutoFit/>
          </a:bodyPr>
          <a:lstStyle>
            <a:lvl1pPr marL="0" indent="-182880" algn="l">
              <a:buFont typeface="Arial" pitchFamily="34" charset="0"/>
              <a:buNone/>
              <a:defRPr sz="2000" b="0" cap="none" baseline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Click to edit caption text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03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6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- Main Customer Succes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92024"/>
            <a:ext cx="6510269" cy="429768"/>
          </a:xfrm>
        </p:spPr>
        <p:txBody>
          <a:bodyPr lIns="182880" rIns="182880"/>
          <a:lstStyle>
            <a:lvl1pPr algn="ctr">
              <a:defRPr sz="2200" baseline="0">
                <a:latin typeface="+mj-lt"/>
              </a:defRPr>
            </a:lvl1pPr>
          </a:lstStyle>
          <a:p>
            <a:r>
              <a:rPr lang="en-US"/>
              <a:t>Customer Success - Click to Edit 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510270" y="226814"/>
            <a:ext cx="2633730" cy="369332"/>
          </a:xfrm>
        </p:spPr>
        <p:txBody>
          <a:bodyPr wrap="square" anchor="ctr">
            <a:spAutoFit/>
          </a:bodyPr>
          <a:lstStyle>
            <a:lvl1pPr marL="0" indent="0" algn="ctr" defTabSz="18288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 b="0" cap="none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Click to Edit Industry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0" y="643514"/>
            <a:ext cx="6510270" cy="4085003"/>
          </a:xfrm>
        </p:spPr>
        <p:txBody>
          <a:bodyPr wrap="square" lIns="365760" rIns="274320" anchor="t">
            <a:normAutofit/>
          </a:bodyPr>
          <a:lstStyle>
            <a:lvl1pPr>
              <a:defRPr sz="2000" baseline="0">
                <a:latin typeface="+mn-lt"/>
              </a:defRPr>
            </a:lvl1pPr>
            <a:lvl2pPr>
              <a:defRPr sz="1800" baseline="0">
                <a:latin typeface="+mn-lt"/>
              </a:defRPr>
            </a:lvl2pPr>
            <a:lvl3pPr>
              <a:defRPr sz="1600" baseline="0">
                <a:latin typeface="+mn-lt"/>
              </a:defRPr>
            </a:lvl3pPr>
            <a:lvl4pPr>
              <a:defRPr baseline="0">
                <a:latin typeface="+mj-lt"/>
              </a:defRPr>
            </a:lvl4pPr>
            <a:lvl5pPr>
              <a:defRPr baseline="0">
                <a:latin typeface="+mj-lt"/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602878" y="776288"/>
            <a:ext cx="2448000" cy="2867308"/>
          </a:xfrm>
        </p:spPr>
        <p:txBody>
          <a:bodyPr wrap="square" anchor="t">
            <a:normAutofit/>
          </a:bodyPr>
          <a:lstStyle>
            <a:lvl1pPr marL="0" indent="-182880">
              <a:lnSpc>
                <a:spcPct val="85000"/>
              </a:lnSpc>
              <a:buFont typeface="Arial" pitchFamily="34" charset="0"/>
              <a:buNone/>
              <a:defRPr sz="1600" b="0" cap="none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/>
            </a:lvl2pPr>
            <a:lvl3pPr marL="182880" indent="0">
              <a:buFontTx/>
              <a:buNone/>
              <a:defRPr/>
            </a:lvl3pPr>
            <a:lvl4pPr marL="365760" indent="0">
              <a:buFontTx/>
              <a:buNone/>
              <a:defRPr/>
            </a:lvl4pPr>
            <a:lvl5pPr marL="548640" indent="0">
              <a:buFontTx/>
              <a:buNone/>
              <a:defRPr/>
            </a:lvl5pPr>
          </a:lstStyle>
          <a:p>
            <a:pPr lvl="0"/>
            <a:r>
              <a:rPr lang="en-US"/>
              <a:t>“Add a customer win quote here regarding “Expected Results” and/or how the organization has been using SAS in the past.</a:t>
            </a:r>
          </a:p>
          <a:p>
            <a:pPr lvl="0"/>
            <a:r>
              <a:rPr lang="en-US"/>
              <a:t>If the name and title are unavailable, add the company name only.”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6598393" y="3649609"/>
            <a:ext cx="2450592" cy="286232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85000"/>
              </a:lnSpc>
              <a:buNone/>
              <a:defRPr sz="1400" b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Spokesperson’s Nam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98393" y="3941854"/>
            <a:ext cx="2450592" cy="502920"/>
          </a:xfrm>
        </p:spPr>
        <p:txBody>
          <a:bodyPr wrap="square" anchor="t">
            <a:normAutofit/>
          </a:bodyPr>
          <a:lstStyle>
            <a:lvl1pPr marL="182880" indent="0" algn="l">
              <a:lnSpc>
                <a:spcPct val="85000"/>
              </a:lnSpc>
              <a:buNone/>
              <a:defRPr sz="1200">
                <a:solidFill>
                  <a:schemeClr val="bg1">
                    <a:lumMod val="85000"/>
                  </a:schemeClr>
                </a:solidFill>
                <a:effectLst/>
              </a:defRPr>
            </a:lvl1pPr>
          </a:lstStyle>
          <a:p>
            <a:pPr lvl="0"/>
            <a:r>
              <a:rPr lang="en-US"/>
              <a:t>Spokesperson’s Job Title</a:t>
            </a:r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0" y="4912668"/>
            <a:ext cx="914400" cy="230832"/>
          </a:xfrm>
        </p:spPr>
        <p:txBody>
          <a:bodyPr/>
          <a:lstStyle>
            <a:lvl1pPr algn="l">
              <a:defRPr/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507280" y="4735984"/>
            <a:ext cx="1484986" cy="2921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artner Nam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1" y="4728518"/>
            <a:ext cx="6510268" cy="184150"/>
          </a:xfrm>
        </p:spPr>
        <p:txBody>
          <a:bodyPr>
            <a:noAutofit/>
          </a:bodyPr>
          <a:lstStyle>
            <a:lvl1pPr marL="0" indent="0" algn="ctr">
              <a:buNone/>
              <a:defRPr sz="1200" baseline="0"/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548640" indent="0">
              <a:buNone/>
              <a:defRPr/>
            </a:lvl4pPr>
            <a:lvl5pPr marL="731520" indent="0">
              <a:buNone/>
              <a:defRPr/>
            </a:lvl5pPr>
          </a:lstStyle>
          <a:p>
            <a:pPr lvl="0"/>
            <a:r>
              <a:rPr lang="en-US"/>
              <a:t>Click to add URL to online story</a:t>
            </a:r>
          </a:p>
        </p:txBody>
      </p:sp>
    </p:spTree>
    <p:extLst>
      <p:ext uri="{BB962C8B-B14F-4D97-AF65-F5344CB8AC3E}">
        <p14:creationId xmlns:p14="http://schemas.microsoft.com/office/powerpoint/2010/main" val="7992905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10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- Customer Valida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92024"/>
            <a:ext cx="6510269" cy="429768"/>
          </a:xfrm>
        </p:spPr>
        <p:txBody>
          <a:bodyPr lIns="182880" rIns="182880"/>
          <a:lstStyle>
            <a:lvl1pPr algn="ctr">
              <a:defRPr sz="2200" baseline="0">
                <a:latin typeface="+mj-lt"/>
              </a:defRPr>
            </a:lvl1pPr>
          </a:lstStyle>
          <a:p>
            <a:r>
              <a:rPr lang="en-US"/>
              <a:t>Customer Validation - Click to Edit Tit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510270" y="226814"/>
            <a:ext cx="2633730" cy="369332"/>
          </a:xfrm>
        </p:spPr>
        <p:txBody>
          <a:bodyPr wrap="square" anchor="ctr">
            <a:spAutoFit/>
          </a:bodyPr>
          <a:lstStyle>
            <a:lvl1pPr marL="0" indent="0" algn="ctr" defTabSz="182880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 b="0" cap="none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Click to Edit Industry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0" y="643514"/>
            <a:ext cx="6510270" cy="4092469"/>
          </a:xfrm>
        </p:spPr>
        <p:txBody>
          <a:bodyPr wrap="square" lIns="365760" rIns="274320" anchor="t">
            <a:normAutofit/>
          </a:bodyPr>
          <a:lstStyle>
            <a:lvl1pPr>
              <a:defRPr sz="2000" baseline="0">
                <a:latin typeface="+mn-lt"/>
              </a:defRPr>
            </a:lvl1pPr>
            <a:lvl2pPr>
              <a:defRPr sz="1800" baseline="0">
                <a:latin typeface="+mn-lt"/>
              </a:defRPr>
            </a:lvl2pPr>
            <a:lvl3pPr>
              <a:defRPr sz="1600" baseline="0">
                <a:latin typeface="+mn-lt"/>
              </a:defRPr>
            </a:lvl3pPr>
            <a:lvl4pPr>
              <a:defRPr baseline="0">
                <a:latin typeface="+mj-lt"/>
              </a:defRPr>
            </a:lvl4pPr>
            <a:lvl5pPr>
              <a:defRPr baseline="0">
                <a:latin typeface="+mj-lt"/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602878" y="776288"/>
            <a:ext cx="2448000" cy="2867308"/>
          </a:xfrm>
        </p:spPr>
        <p:txBody>
          <a:bodyPr wrap="square" anchor="t">
            <a:normAutofit/>
          </a:bodyPr>
          <a:lstStyle>
            <a:lvl1pPr marL="0" indent="-182880">
              <a:lnSpc>
                <a:spcPct val="85000"/>
              </a:lnSpc>
              <a:buFont typeface="Arial" pitchFamily="34" charset="0"/>
              <a:buNone/>
              <a:defRPr sz="1600" b="0" cap="none" baseline="0">
                <a:solidFill>
                  <a:schemeClr val="bg1"/>
                </a:solidFill>
              </a:defRPr>
            </a:lvl1pPr>
            <a:lvl2pPr marL="0" indent="0">
              <a:buFontTx/>
              <a:buNone/>
              <a:defRPr/>
            </a:lvl2pPr>
            <a:lvl3pPr marL="182880" indent="0">
              <a:buFontTx/>
              <a:buNone/>
              <a:defRPr/>
            </a:lvl3pPr>
            <a:lvl4pPr marL="365760" indent="0">
              <a:buFontTx/>
              <a:buNone/>
              <a:defRPr/>
            </a:lvl4pPr>
            <a:lvl5pPr marL="548640" indent="0">
              <a:buFontTx/>
              <a:buNone/>
              <a:defRPr/>
            </a:lvl5pPr>
          </a:lstStyle>
          <a:p>
            <a:pPr lvl="0"/>
            <a:r>
              <a:rPr lang="en-US"/>
              <a:t>“Add a customer win quote here regarding “Expected Results” and/or how the organization has been using SAS in the past.</a:t>
            </a:r>
          </a:p>
          <a:p>
            <a:pPr lvl="0"/>
            <a:r>
              <a:rPr lang="en-US"/>
              <a:t>If the name and title are unavailable, add the company name only.”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6598393" y="3649609"/>
            <a:ext cx="2450592" cy="286232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85000"/>
              </a:lnSpc>
              <a:buNone/>
              <a:defRPr sz="1400" b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Spokesperson’s Nam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598393" y="3941853"/>
            <a:ext cx="2450592" cy="501885"/>
          </a:xfrm>
        </p:spPr>
        <p:txBody>
          <a:bodyPr wrap="square" anchor="t">
            <a:normAutofit/>
          </a:bodyPr>
          <a:lstStyle>
            <a:lvl1pPr marL="182880" indent="0" algn="l">
              <a:lnSpc>
                <a:spcPct val="85000"/>
              </a:lnSpc>
              <a:buNone/>
              <a:defRPr sz="1200">
                <a:solidFill>
                  <a:schemeClr val="bg1">
                    <a:lumMod val="85000"/>
                  </a:schemeClr>
                </a:solidFill>
                <a:effectLst/>
              </a:defRPr>
            </a:lvl1pPr>
          </a:lstStyle>
          <a:p>
            <a:pPr lvl="0"/>
            <a:r>
              <a:rPr lang="en-US"/>
              <a:t>Spokesperson’s Job Title</a:t>
            </a:r>
          </a:p>
        </p:txBody>
      </p:sp>
      <p:sp>
        <p:nvSpPr>
          <p:cNvPr id="3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0" y="4912668"/>
            <a:ext cx="914400" cy="230832"/>
          </a:xfrm>
        </p:spPr>
        <p:txBody>
          <a:bodyPr/>
          <a:lstStyle>
            <a:lvl1pPr algn="l">
              <a:defRPr/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6507280" y="4735984"/>
            <a:ext cx="1484986" cy="29210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artner Nam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440649" y="4782265"/>
            <a:ext cx="2276795" cy="230832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accent1"/>
                </a:solidFill>
              </a:rPr>
              <a:t>For One-to-One Customer Use Only</a:t>
            </a:r>
          </a:p>
        </p:txBody>
      </p:sp>
    </p:spTree>
    <p:extLst>
      <p:ext uri="{BB962C8B-B14F-4D97-AF65-F5344CB8AC3E}">
        <p14:creationId xmlns:p14="http://schemas.microsoft.com/office/powerpoint/2010/main" val="396768904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Dark Blu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02998"/>
            <a:ext cx="9144000" cy="584775"/>
          </a:xfrm>
        </p:spPr>
        <p:txBody>
          <a:bodyPr anchor="b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83824"/>
            <a:ext cx="9144000" cy="353943"/>
          </a:xfrm>
        </p:spPr>
        <p:txBody>
          <a:bodyPr anchor="t">
            <a:spAutoFit/>
          </a:bodyPr>
          <a:lstStyle>
            <a:lvl1pPr marL="0" indent="-182880" algn="ctr">
              <a:lnSpc>
                <a:spcPct val="85000"/>
              </a:lnSpc>
              <a:spcBef>
                <a:spcPts val="800"/>
              </a:spcBef>
              <a:buFont typeface="Arial" pitchFamily="34" charset="0"/>
              <a:buNone/>
              <a:defRPr sz="2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352" y="0"/>
            <a:ext cx="2111297" cy="110168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9236572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Green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00894"/>
            <a:ext cx="9144000" cy="584775"/>
          </a:xfrm>
        </p:spPr>
        <p:txBody>
          <a:bodyPr anchor="b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83824"/>
            <a:ext cx="9144000" cy="353943"/>
          </a:xfrm>
        </p:spPr>
        <p:txBody>
          <a:bodyPr anchor="t">
            <a:spAutoFit/>
          </a:bodyPr>
          <a:lstStyle>
            <a:lvl1pPr marL="0" indent="-182880" algn="ctr">
              <a:lnSpc>
                <a:spcPct val="85000"/>
              </a:lnSpc>
              <a:buFont typeface="Arial" pitchFamily="34" charset="0"/>
              <a:buNone/>
              <a:defRPr sz="2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9EC62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352" y="0"/>
            <a:ext cx="2111297" cy="110168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9243134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27D83F1-29FC-C940-A610-59B086ACB8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" t="907" r="4243" b="3876"/>
          <a:stretch/>
        </p:blipFill>
        <p:spPr>
          <a:xfrm flipH="1" flipV="1">
            <a:off x="-87803" y="-19667"/>
            <a:ext cx="3333443" cy="523076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2652D6A-FE84-444A-9B0C-9E9D643D9B3E}"/>
              </a:ext>
            </a:extLst>
          </p:cNvPr>
          <p:cNvSpPr/>
          <p:nvPr userDrawn="1"/>
        </p:nvSpPr>
        <p:spPr>
          <a:xfrm rot="10800000">
            <a:off x="173328" y="-19665"/>
            <a:ext cx="9108323" cy="5230761"/>
          </a:xfrm>
          <a:prstGeom prst="rect">
            <a:avLst/>
          </a:prstGeom>
          <a:gradFill>
            <a:gsLst>
              <a:gs pos="59000">
                <a:srgbClr val="1F1C49"/>
              </a:gs>
              <a:gs pos="100000">
                <a:schemeClr val="tx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28" y="450825"/>
            <a:ext cx="7886700" cy="457200"/>
          </a:xfrm>
        </p:spPr>
        <p:txBody>
          <a:bodyPr lIns="0" tIns="0" rIns="0" bIns="0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0328" y="997311"/>
            <a:ext cx="7886700" cy="457200"/>
          </a:xfrm>
        </p:spPr>
        <p:txBody>
          <a:bodyPr lIns="0" tIns="0" rIns="0" bIns="0" anchor="t"/>
          <a:lstStyle>
            <a:lvl1pPr marL="0" indent="0" algn="l">
              <a:buNone/>
              <a:defRPr>
                <a:solidFill>
                  <a:srgbClr val="2AD1D1"/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FAD47D-1EF0-A646-8D83-55027A4A16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308" y="4685582"/>
            <a:ext cx="693363" cy="315166"/>
          </a:xfrm>
          <a:prstGeom prst="rect">
            <a:avLst/>
          </a:prstGeom>
        </p:spPr>
      </p:pic>
      <p:sp>
        <p:nvSpPr>
          <p:cNvPr id="8" name="TextBox 3">
            <a:extLst>
              <a:ext uri="{FF2B5EF4-FFF2-40B4-BE49-F238E27FC236}">
                <a16:creationId xmlns:a16="http://schemas.microsoft.com/office/drawing/2014/main" id="{08E4FB4D-D515-2740-92D6-2468A99D6D5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028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Aquamarin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00894"/>
            <a:ext cx="9144000" cy="584775"/>
          </a:xfrm>
        </p:spPr>
        <p:txBody>
          <a:bodyPr anchor="b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83824"/>
            <a:ext cx="9144000" cy="353943"/>
          </a:xfrm>
        </p:spPr>
        <p:txBody>
          <a:bodyPr anchor="t">
            <a:spAutoFit/>
          </a:bodyPr>
          <a:lstStyle>
            <a:lvl1pPr marL="0" indent="-182880" algn="ctr">
              <a:lnSpc>
                <a:spcPct val="85000"/>
              </a:lnSpc>
              <a:buFont typeface="Arial" pitchFamily="34" charset="0"/>
              <a:buNone/>
              <a:defRPr sz="2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0CCA5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352" y="0"/>
            <a:ext cx="2111297" cy="110168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42134310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Light Blu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00894"/>
            <a:ext cx="9144000" cy="584775"/>
          </a:xfrm>
        </p:spPr>
        <p:txBody>
          <a:bodyPr anchor="b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83824"/>
            <a:ext cx="9144000" cy="353943"/>
          </a:xfrm>
        </p:spPr>
        <p:txBody>
          <a:bodyPr anchor="t">
            <a:spAutoFit/>
          </a:bodyPr>
          <a:lstStyle>
            <a:lvl1pPr marL="0" indent="-182880" algn="ctr">
              <a:lnSpc>
                <a:spcPct val="85000"/>
              </a:lnSpc>
              <a:buFont typeface="Arial" pitchFamily="34" charset="0"/>
              <a:buNone/>
              <a:defRPr sz="2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53C6FF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352" y="0"/>
            <a:ext cx="2111297" cy="110168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5494503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Violet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800894"/>
            <a:ext cx="9144000" cy="584775"/>
          </a:xfrm>
        </p:spPr>
        <p:txBody>
          <a:bodyPr anchor="b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383824"/>
            <a:ext cx="9144000" cy="353943"/>
          </a:xfrm>
        </p:spPr>
        <p:txBody>
          <a:bodyPr anchor="t">
            <a:spAutoFit/>
          </a:bodyPr>
          <a:lstStyle>
            <a:lvl1pPr marL="0" indent="-182880" algn="ctr">
              <a:lnSpc>
                <a:spcPct val="85000"/>
              </a:lnSpc>
              <a:buFont typeface="Arial" pitchFamily="34" charset="0"/>
              <a:buNone/>
              <a:defRPr sz="2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 userDrawn="1"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727DC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1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352" y="0"/>
            <a:ext cx="2111297" cy="1101684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3392792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0" y="2120427"/>
            <a:ext cx="9144000" cy="584775"/>
          </a:xfrm>
        </p:spPr>
        <p:txBody>
          <a:bodyPr anchor="ctr" anchorCtr="0">
            <a:spAutoFit/>
          </a:bodyPr>
          <a:lstStyle>
            <a:lvl1pPr algn="ctr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Box 2">
            <a:hlinkClick r:id="rId2"/>
          </p:cNvPr>
          <p:cNvSpPr txBox="1"/>
          <p:nvPr/>
        </p:nvSpPr>
        <p:spPr>
          <a:xfrm>
            <a:off x="-4574" y="3943877"/>
            <a:ext cx="9144003" cy="369332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 defTabSz="182880"/>
            <a:r>
              <a:rPr lang="en-US" sz="1800" baseline="0">
                <a:solidFill>
                  <a:schemeClr val="bg1"/>
                </a:solidFill>
              </a:rPr>
              <a:t>sas.com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4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20804" cy="1806509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8017883" y="4527567"/>
            <a:ext cx="844014" cy="449260"/>
            <a:chOff x="7048500" y="4889500"/>
            <a:chExt cx="1622426" cy="863600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7089775" y="5645150"/>
              <a:ext cx="87313" cy="100013"/>
            </a:xfrm>
            <a:custGeom>
              <a:avLst/>
              <a:gdLst>
                <a:gd name="T0" fmla="*/ 0 w 218"/>
                <a:gd name="T1" fmla="*/ 0 h 249"/>
                <a:gd name="T2" fmla="*/ 218 w 218"/>
                <a:gd name="T3" fmla="*/ 0 h 249"/>
                <a:gd name="T4" fmla="*/ 218 w 218"/>
                <a:gd name="T5" fmla="*/ 63 h 249"/>
                <a:gd name="T6" fmla="*/ 147 w 218"/>
                <a:gd name="T7" fmla="*/ 63 h 249"/>
                <a:gd name="T8" fmla="*/ 147 w 218"/>
                <a:gd name="T9" fmla="*/ 249 h 249"/>
                <a:gd name="T10" fmla="*/ 71 w 218"/>
                <a:gd name="T11" fmla="*/ 249 h 249"/>
                <a:gd name="T12" fmla="*/ 71 w 218"/>
                <a:gd name="T13" fmla="*/ 63 h 249"/>
                <a:gd name="T14" fmla="*/ 0 w 218"/>
                <a:gd name="T15" fmla="*/ 63 h 249"/>
                <a:gd name="T16" fmla="*/ 0 w 218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49">
                  <a:moveTo>
                    <a:pt x="0" y="0"/>
                  </a:moveTo>
                  <a:lnTo>
                    <a:pt x="218" y="0"/>
                  </a:lnTo>
                  <a:lnTo>
                    <a:pt x="218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1" y="249"/>
                  </a:lnTo>
                  <a:lnTo>
                    <a:pt x="71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7185025" y="5645150"/>
              <a:ext cx="88900" cy="100013"/>
            </a:xfrm>
            <a:custGeom>
              <a:avLst/>
              <a:gdLst>
                <a:gd name="T0" fmla="*/ 0 w 227"/>
                <a:gd name="T1" fmla="*/ 0 h 249"/>
                <a:gd name="T2" fmla="*/ 77 w 227"/>
                <a:gd name="T3" fmla="*/ 0 h 249"/>
                <a:gd name="T4" fmla="*/ 77 w 227"/>
                <a:gd name="T5" fmla="*/ 86 h 249"/>
                <a:gd name="T6" fmla="*/ 149 w 227"/>
                <a:gd name="T7" fmla="*/ 86 h 249"/>
                <a:gd name="T8" fmla="*/ 149 w 227"/>
                <a:gd name="T9" fmla="*/ 0 h 249"/>
                <a:gd name="T10" fmla="*/ 227 w 227"/>
                <a:gd name="T11" fmla="*/ 0 h 249"/>
                <a:gd name="T12" fmla="*/ 227 w 227"/>
                <a:gd name="T13" fmla="*/ 249 h 249"/>
                <a:gd name="T14" fmla="*/ 149 w 227"/>
                <a:gd name="T15" fmla="*/ 249 h 249"/>
                <a:gd name="T16" fmla="*/ 149 w 227"/>
                <a:gd name="T17" fmla="*/ 150 h 249"/>
                <a:gd name="T18" fmla="*/ 77 w 227"/>
                <a:gd name="T19" fmla="*/ 150 h 249"/>
                <a:gd name="T20" fmla="*/ 77 w 227"/>
                <a:gd name="T21" fmla="*/ 249 h 249"/>
                <a:gd name="T22" fmla="*/ 0 w 227"/>
                <a:gd name="T23" fmla="*/ 249 h 249"/>
                <a:gd name="T24" fmla="*/ 0 w 227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7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149" y="86"/>
                  </a:lnTo>
                  <a:lnTo>
                    <a:pt x="149" y="0"/>
                  </a:lnTo>
                  <a:lnTo>
                    <a:pt x="227" y="0"/>
                  </a:lnTo>
                  <a:lnTo>
                    <a:pt x="227" y="249"/>
                  </a:lnTo>
                  <a:lnTo>
                    <a:pt x="149" y="249"/>
                  </a:lnTo>
                  <a:lnTo>
                    <a:pt x="149" y="150"/>
                  </a:lnTo>
                  <a:lnTo>
                    <a:pt x="77" y="150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7285038" y="5645150"/>
              <a:ext cx="82550" cy="100013"/>
            </a:xfrm>
            <a:custGeom>
              <a:avLst/>
              <a:gdLst>
                <a:gd name="T0" fmla="*/ 0 w 212"/>
                <a:gd name="T1" fmla="*/ 0 h 249"/>
                <a:gd name="T2" fmla="*/ 208 w 212"/>
                <a:gd name="T3" fmla="*/ 0 h 249"/>
                <a:gd name="T4" fmla="*/ 208 w 212"/>
                <a:gd name="T5" fmla="*/ 63 h 249"/>
                <a:gd name="T6" fmla="*/ 78 w 212"/>
                <a:gd name="T7" fmla="*/ 63 h 249"/>
                <a:gd name="T8" fmla="*/ 78 w 212"/>
                <a:gd name="T9" fmla="*/ 94 h 249"/>
                <a:gd name="T10" fmla="*/ 196 w 212"/>
                <a:gd name="T11" fmla="*/ 94 h 249"/>
                <a:gd name="T12" fmla="*/ 196 w 212"/>
                <a:gd name="T13" fmla="*/ 154 h 249"/>
                <a:gd name="T14" fmla="*/ 78 w 212"/>
                <a:gd name="T15" fmla="*/ 154 h 249"/>
                <a:gd name="T16" fmla="*/ 78 w 212"/>
                <a:gd name="T17" fmla="*/ 185 h 249"/>
                <a:gd name="T18" fmla="*/ 212 w 212"/>
                <a:gd name="T19" fmla="*/ 185 h 249"/>
                <a:gd name="T20" fmla="*/ 212 w 212"/>
                <a:gd name="T21" fmla="*/ 249 h 249"/>
                <a:gd name="T22" fmla="*/ 0 w 212"/>
                <a:gd name="T23" fmla="*/ 249 h 249"/>
                <a:gd name="T24" fmla="*/ 0 w 212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9">
                  <a:moveTo>
                    <a:pt x="0" y="0"/>
                  </a:moveTo>
                  <a:lnTo>
                    <a:pt x="208" y="0"/>
                  </a:lnTo>
                  <a:lnTo>
                    <a:pt x="208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2" y="185"/>
                  </a:lnTo>
                  <a:lnTo>
                    <a:pt x="212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7426325" y="5645150"/>
              <a:ext cx="87313" cy="100013"/>
            </a:xfrm>
            <a:custGeom>
              <a:avLst/>
              <a:gdLst>
                <a:gd name="T0" fmla="*/ 77 w 221"/>
                <a:gd name="T1" fmla="*/ 63 h 249"/>
                <a:gd name="T2" fmla="*/ 77 w 221"/>
                <a:gd name="T3" fmla="*/ 114 h 249"/>
                <a:gd name="T4" fmla="*/ 107 w 221"/>
                <a:gd name="T5" fmla="*/ 114 h 249"/>
                <a:gd name="T6" fmla="*/ 117 w 221"/>
                <a:gd name="T7" fmla="*/ 114 h 249"/>
                <a:gd name="T8" fmla="*/ 126 w 221"/>
                <a:gd name="T9" fmla="*/ 113 h 249"/>
                <a:gd name="T10" fmla="*/ 135 w 221"/>
                <a:gd name="T11" fmla="*/ 111 h 249"/>
                <a:gd name="T12" fmla="*/ 142 w 221"/>
                <a:gd name="T13" fmla="*/ 106 h 249"/>
                <a:gd name="T14" fmla="*/ 146 w 221"/>
                <a:gd name="T15" fmla="*/ 98 h 249"/>
                <a:gd name="T16" fmla="*/ 148 w 221"/>
                <a:gd name="T17" fmla="*/ 87 h 249"/>
                <a:gd name="T18" fmla="*/ 146 w 221"/>
                <a:gd name="T19" fmla="*/ 76 h 249"/>
                <a:gd name="T20" fmla="*/ 141 w 221"/>
                <a:gd name="T21" fmla="*/ 69 h 249"/>
                <a:gd name="T22" fmla="*/ 132 w 221"/>
                <a:gd name="T23" fmla="*/ 66 h 249"/>
                <a:gd name="T24" fmla="*/ 122 w 221"/>
                <a:gd name="T25" fmla="*/ 63 h 249"/>
                <a:gd name="T26" fmla="*/ 111 w 221"/>
                <a:gd name="T27" fmla="*/ 63 h 249"/>
                <a:gd name="T28" fmla="*/ 77 w 221"/>
                <a:gd name="T29" fmla="*/ 63 h 249"/>
                <a:gd name="T30" fmla="*/ 0 w 221"/>
                <a:gd name="T31" fmla="*/ 0 h 249"/>
                <a:gd name="T32" fmla="*/ 128 w 221"/>
                <a:gd name="T33" fmla="*/ 0 h 249"/>
                <a:gd name="T34" fmla="*/ 152 w 221"/>
                <a:gd name="T35" fmla="*/ 1 h 249"/>
                <a:gd name="T36" fmla="*/ 172 w 221"/>
                <a:gd name="T37" fmla="*/ 7 h 249"/>
                <a:gd name="T38" fmla="*/ 188 w 221"/>
                <a:gd name="T39" fmla="*/ 17 h 249"/>
                <a:gd name="T40" fmla="*/ 201 w 221"/>
                <a:gd name="T41" fmla="*/ 28 h 249"/>
                <a:gd name="T42" fmla="*/ 209 w 221"/>
                <a:gd name="T43" fmla="*/ 42 h 249"/>
                <a:gd name="T44" fmla="*/ 216 w 221"/>
                <a:gd name="T45" fmla="*/ 56 h 249"/>
                <a:gd name="T46" fmla="*/ 219 w 221"/>
                <a:gd name="T47" fmla="*/ 71 h 249"/>
                <a:gd name="T48" fmla="*/ 221 w 221"/>
                <a:gd name="T49" fmla="*/ 84 h 249"/>
                <a:gd name="T50" fmla="*/ 218 w 221"/>
                <a:gd name="T51" fmla="*/ 108 h 249"/>
                <a:gd name="T52" fmla="*/ 212 w 221"/>
                <a:gd name="T53" fmla="*/ 129 h 249"/>
                <a:gd name="T54" fmla="*/ 201 w 221"/>
                <a:gd name="T55" fmla="*/ 145 h 249"/>
                <a:gd name="T56" fmla="*/ 186 w 221"/>
                <a:gd name="T57" fmla="*/ 158 h 249"/>
                <a:gd name="T58" fmla="*/ 167 w 221"/>
                <a:gd name="T59" fmla="*/ 167 h 249"/>
                <a:gd name="T60" fmla="*/ 146 w 221"/>
                <a:gd name="T61" fmla="*/ 172 h 249"/>
                <a:gd name="T62" fmla="*/ 122 w 221"/>
                <a:gd name="T63" fmla="*/ 174 h 249"/>
                <a:gd name="T64" fmla="*/ 77 w 221"/>
                <a:gd name="T65" fmla="*/ 174 h 249"/>
                <a:gd name="T66" fmla="*/ 77 w 221"/>
                <a:gd name="T67" fmla="*/ 249 h 249"/>
                <a:gd name="T68" fmla="*/ 0 w 221"/>
                <a:gd name="T69" fmla="*/ 249 h 249"/>
                <a:gd name="T70" fmla="*/ 0 w 221"/>
                <a:gd name="T71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1" h="249">
                  <a:moveTo>
                    <a:pt x="77" y="63"/>
                  </a:moveTo>
                  <a:lnTo>
                    <a:pt x="77" y="114"/>
                  </a:lnTo>
                  <a:lnTo>
                    <a:pt x="107" y="114"/>
                  </a:lnTo>
                  <a:lnTo>
                    <a:pt x="117" y="114"/>
                  </a:lnTo>
                  <a:lnTo>
                    <a:pt x="126" y="113"/>
                  </a:lnTo>
                  <a:lnTo>
                    <a:pt x="135" y="111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48" y="87"/>
                  </a:lnTo>
                  <a:lnTo>
                    <a:pt x="146" y="76"/>
                  </a:lnTo>
                  <a:lnTo>
                    <a:pt x="141" y="69"/>
                  </a:lnTo>
                  <a:lnTo>
                    <a:pt x="132" y="66"/>
                  </a:lnTo>
                  <a:lnTo>
                    <a:pt x="122" y="63"/>
                  </a:lnTo>
                  <a:lnTo>
                    <a:pt x="111" y="63"/>
                  </a:lnTo>
                  <a:lnTo>
                    <a:pt x="77" y="63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52" y="1"/>
                  </a:lnTo>
                  <a:lnTo>
                    <a:pt x="172" y="7"/>
                  </a:lnTo>
                  <a:lnTo>
                    <a:pt x="188" y="17"/>
                  </a:lnTo>
                  <a:lnTo>
                    <a:pt x="201" y="28"/>
                  </a:lnTo>
                  <a:lnTo>
                    <a:pt x="209" y="42"/>
                  </a:lnTo>
                  <a:lnTo>
                    <a:pt x="216" y="56"/>
                  </a:lnTo>
                  <a:lnTo>
                    <a:pt x="219" y="71"/>
                  </a:lnTo>
                  <a:lnTo>
                    <a:pt x="221" y="84"/>
                  </a:lnTo>
                  <a:lnTo>
                    <a:pt x="218" y="108"/>
                  </a:lnTo>
                  <a:lnTo>
                    <a:pt x="212" y="129"/>
                  </a:lnTo>
                  <a:lnTo>
                    <a:pt x="201" y="145"/>
                  </a:lnTo>
                  <a:lnTo>
                    <a:pt x="186" y="158"/>
                  </a:lnTo>
                  <a:lnTo>
                    <a:pt x="167" y="167"/>
                  </a:lnTo>
                  <a:lnTo>
                    <a:pt x="146" y="172"/>
                  </a:lnTo>
                  <a:lnTo>
                    <a:pt x="122" y="174"/>
                  </a:lnTo>
                  <a:lnTo>
                    <a:pt x="77" y="174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7516813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7 w 253"/>
                <a:gd name="T3" fmla="*/ 64 h 262"/>
                <a:gd name="T4" fmla="*/ 108 w 253"/>
                <a:gd name="T5" fmla="*/ 66 h 262"/>
                <a:gd name="T6" fmla="*/ 98 w 253"/>
                <a:gd name="T7" fmla="*/ 71 h 262"/>
                <a:gd name="T8" fmla="*/ 90 w 253"/>
                <a:gd name="T9" fmla="*/ 80 h 262"/>
                <a:gd name="T10" fmla="*/ 84 w 253"/>
                <a:gd name="T11" fmla="*/ 93 h 262"/>
                <a:gd name="T12" fmla="*/ 79 w 253"/>
                <a:gd name="T13" fmla="*/ 110 h 262"/>
                <a:gd name="T14" fmla="*/ 76 w 253"/>
                <a:gd name="T15" fmla="*/ 131 h 262"/>
                <a:gd name="T16" fmla="*/ 79 w 253"/>
                <a:gd name="T17" fmla="*/ 152 h 262"/>
                <a:gd name="T18" fmla="*/ 84 w 253"/>
                <a:gd name="T19" fmla="*/ 169 h 262"/>
                <a:gd name="T20" fmla="*/ 90 w 253"/>
                <a:gd name="T21" fmla="*/ 181 h 262"/>
                <a:gd name="T22" fmla="*/ 98 w 253"/>
                <a:gd name="T23" fmla="*/ 191 h 262"/>
                <a:gd name="T24" fmla="*/ 108 w 253"/>
                <a:gd name="T25" fmla="*/ 196 h 262"/>
                <a:gd name="T26" fmla="*/ 117 w 253"/>
                <a:gd name="T27" fmla="*/ 199 h 262"/>
                <a:gd name="T28" fmla="*/ 126 w 253"/>
                <a:gd name="T29" fmla="*/ 200 h 262"/>
                <a:gd name="T30" fmla="*/ 136 w 253"/>
                <a:gd name="T31" fmla="*/ 199 h 262"/>
                <a:gd name="T32" fmla="*/ 144 w 253"/>
                <a:gd name="T33" fmla="*/ 196 h 262"/>
                <a:gd name="T34" fmla="*/ 154 w 253"/>
                <a:gd name="T35" fmla="*/ 191 h 262"/>
                <a:gd name="T36" fmla="*/ 163 w 253"/>
                <a:gd name="T37" fmla="*/ 181 h 262"/>
                <a:gd name="T38" fmla="*/ 169 w 253"/>
                <a:gd name="T39" fmla="*/ 169 h 262"/>
                <a:gd name="T40" fmla="*/ 174 w 253"/>
                <a:gd name="T41" fmla="*/ 152 h 262"/>
                <a:gd name="T42" fmla="*/ 176 w 253"/>
                <a:gd name="T43" fmla="*/ 131 h 262"/>
                <a:gd name="T44" fmla="*/ 174 w 253"/>
                <a:gd name="T45" fmla="*/ 110 h 262"/>
                <a:gd name="T46" fmla="*/ 169 w 253"/>
                <a:gd name="T47" fmla="*/ 93 h 262"/>
                <a:gd name="T48" fmla="*/ 163 w 253"/>
                <a:gd name="T49" fmla="*/ 80 h 262"/>
                <a:gd name="T50" fmla="*/ 154 w 253"/>
                <a:gd name="T51" fmla="*/ 71 h 262"/>
                <a:gd name="T52" fmla="*/ 144 w 253"/>
                <a:gd name="T53" fmla="*/ 66 h 262"/>
                <a:gd name="T54" fmla="*/ 136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4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0 w 253"/>
                <a:gd name="T71" fmla="*/ 100 h 262"/>
                <a:gd name="T72" fmla="*/ 253 w 253"/>
                <a:gd name="T73" fmla="*/ 131 h 262"/>
                <a:gd name="T74" fmla="*/ 250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4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6 w 253"/>
                <a:gd name="T89" fmla="*/ 260 h 262"/>
                <a:gd name="T90" fmla="*/ 69 w 253"/>
                <a:gd name="T91" fmla="*/ 250 h 262"/>
                <a:gd name="T92" fmla="*/ 45 w 253"/>
                <a:gd name="T93" fmla="*/ 235 h 262"/>
                <a:gd name="T94" fmla="*/ 25 w 253"/>
                <a:gd name="T95" fmla="*/ 215 h 262"/>
                <a:gd name="T96" fmla="*/ 11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1 w 253"/>
                <a:gd name="T105" fmla="*/ 71 h 262"/>
                <a:gd name="T106" fmla="*/ 25 w 253"/>
                <a:gd name="T107" fmla="*/ 48 h 262"/>
                <a:gd name="T108" fmla="*/ 45 w 253"/>
                <a:gd name="T109" fmla="*/ 28 h 262"/>
                <a:gd name="T110" fmla="*/ 69 w 253"/>
                <a:gd name="T111" fmla="*/ 13 h 262"/>
                <a:gd name="T112" fmla="*/ 96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7" y="64"/>
                  </a:lnTo>
                  <a:lnTo>
                    <a:pt x="108" y="66"/>
                  </a:lnTo>
                  <a:lnTo>
                    <a:pt x="98" y="71"/>
                  </a:lnTo>
                  <a:lnTo>
                    <a:pt x="90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6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0" y="181"/>
                  </a:lnTo>
                  <a:lnTo>
                    <a:pt x="98" y="191"/>
                  </a:lnTo>
                  <a:lnTo>
                    <a:pt x="108" y="196"/>
                  </a:lnTo>
                  <a:lnTo>
                    <a:pt x="117" y="199"/>
                  </a:lnTo>
                  <a:lnTo>
                    <a:pt x="126" y="200"/>
                  </a:lnTo>
                  <a:lnTo>
                    <a:pt x="136" y="199"/>
                  </a:lnTo>
                  <a:lnTo>
                    <a:pt x="144" y="196"/>
                  </a:lnTo>
                  <a:lnTo>
                    <a:pt x="154" y="191"/>
                  </a:lnTo>
                  <a:lnTo>
                    <a:pt x="163" y="181"/>
                  </a:lnTo>
                  <a:lnTo>
                    <a:pt x="169" y="169"/>
                  </a:lnTo>
                  <a:lnTo>
                    <a:pt x="174" y="152"/>
                  </a:lnTo>
                  <a:lnTo>
                    <a:pt x="176" y="131"/>
                  </a:lnTo>
                  <a:lnTo>
                    <a:pt x="174" y="110"/>
                  </a:lnTo>
                  <a:lnTo>
                    <a:pt x="169" y="93"/>
                  </a:lnTo>
                  <a:lnTo>
                    <a:pt x="163" y="80"/>
                  </a:lnTo>
                  <a:lnTo>
                    <a:pt x="154" y="71"/>
                  </a:lnTo>
                  <a:lnTo>
                    <a:pt x="144" y="66"/>
                  </a:lnTo>
                  <a:lnTo>
                    <a:pt x="136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4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0" y="100"/>
                  </a:lnTo>
                  <a:lnTo>
                    <a:pt x="253" y="131"/>
                  </a:lnTo>
                  <a:lnTo>
                    <a:pt x="250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4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5" y="215"/>
                  </a:lnTo>
                  <a:lnTo>
                    <a:pt x="11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1" y="71"/>
                  </a:lnTo>
                  <a:lnTo>
                    <a:pt x="25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7612063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7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5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3 w 342"/>
                <a:gd name="T21" fmla="*/ 249 h 249"/>
                <a:gd name="T22" fmla="*/ 198 w 342"/>
                <a:gd name="T23" fmla="*/ 249 h 249"/>
                <a:gd name="T24" fmla="*/ 171 w 342"/>
                <a:gd name="T25" fmla="*/ 97 h 249"/>
                <a:gd name="T26" fmla="*/ 171 w 342"/>
                <a:gd name="T27" fmla="*/ 97 h 249"/>
                <a:gd name="T28" fmla="*/ 144 w 342"/>
                <a:gd name="T29" fmla="*/ 249 h 249"/>
                <a:gd name="T30" fmla="*/ 69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5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3" y="249"/>
                  </a:lnTo>
                  <a:lnTo>
                    <a:pt x="198" y="249"/>
                  </a:lnTo>
                  <a:lnTo>
                    <a:pt x="171" y="97"/>
                  </a:lnTo>
                  <a:lnTo>
                    <a:pt x="171" y="97"/>
                  </a:lnTo>
                  <a:lnTo>
                    <a:pt x="144" y="249"/>
                  </a:lnTo>
                  <a:lnTo>
                    <a:pt x="69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7751763" y="5645150"/>
              <a:ext cx="84138" cy="100013"/>
            </a:xfrm>
            <a:custGeom>
              <a:avLst/>
              <a:gdLst>
                <a:gd name="T0" fmla="*/ 0 w 211"/>
                <a:gd name="T1" fmla="*/ 0 h 249"/>
                <a:gd name="T2" fmla="*/ 207 w 211"/>
                <a:gd name="T3" fmla="*/ 0 h 249"/>
                <a:gd name="T4" fmla="*/ 207 w 211"/>
                <a:gd name="T5" fmla="*/ 63 h 249"/>
                <a:gd name="T6" fmla="*/ 78 w 211"/>
                <a:gd name="T7" fmla="*/ 63 h 249"/>
                <a:gd name="T8" fmla="*/ 78 w 211"/>
                <a:gd name="T9" fmla="*/ 94 h 249"/>
                <a:gd name="T10" fmla="*/ 196 w 211"/>
                <a:gd name="T11" fmla="*/ 94 h 249"/>
                <a:gd name="T12" fmla="*/ 196 w 211"/>
                <a:gd name="T13" fmla="*/ 154 h 249"/>
                <a:gd name="T14" fmla="*/ 78 w 211"/>
                <a:gd name="T15" fmla="*/ 154 h 249"/>
                <a:gd name="T16" fmla="*/ 78 w 211"/>
                <a:gd name="T17" fmla="*/ 185 h 249"/>
                <a:gd name="T18" fmla="*/ 211 w 211"/>
                <a:gd name="T19" fmla="*/ 185 h 249"/>
                <a:gd name="T20" fmla="*/ 211 w 211"/>
                <a:gd name="T21" fmla="*/ 249 h 249"/>
                <a:gd name="T22" fmla="*/ 0 w 211"/>
                <a:gd name="T23" fmla="*/ 249 h 249"/>
                <a:gd name="T24" fmla="*/ 0 w 211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1" h="249">
                  <a:moveTo>
                    <a:pt x="0" y="0"/>
                  </a:moveTo>
                  <a:lnTo>
                    <a:pt x="207" y="0"/>
                  </a:lnTo>
                  <a:lnTo>
                    <a:pt x="207" y="63"/>
                  </a:lnTo>
                  <a:lnTo>
                    <a:pt x="78" y="63"/>
                  </a:lnTo>
                  <a:lnTo>
                    <a:pt x="78" y="94"/>
                  </a:lnTo>
                  <a:lnTo>
                    <a:pt x="196" y="94"/>
                  </a:lnTo>
                  <a:lnTo>
                    <a:pt x="196" y="154"/>
                  </a:lnTo>
                  <a:lnTo>
                    <a:pt x="78" y="154"/>
                  </a:lnTo>
                  <a:lnTo>
                    <a:pt x="78" y="185"/>
                  </a:lnTo>
                  <a:lnTo>
                    <a:pt x="211" y="185"/>
                  </a:lnTo>
                  <a:lnTo>
                    <a:pt x="211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7843838" y="5645150"/>
              <a:ext cx="93663" cy="100013"/>
            </a:xfrm>
            <a:custGeom>
              <a:avLst/>
              <a:gdLst>
                <a:gd name="T0" fmla="*/ 77 w 235"/>
                <a:gd name="T1" fmla="*/ 58 h 249"/>
                <a:gd name="T2" fmla="*/ 77 w 235"/>
                <a:gd name="T3" fmla="*/ 108 h 249"/>
                <a:gd name="T4" fmla="*/ 117 w 235"/>
                <a:gd name="T5" fmla="*/ 108 h 249"/>
                <a:gd name="T6" fmla="*/ 126 w 235"/>
                <a:gd name="T7" fmla="*/ 108 h 249"/>
                <a:gd name="T8" fmla="*/ 136 w 235"/>
                <a:gd name="T9" fmla="*/ 106 h 249"/>
                <a:gd name="T10" fmla="*/ 143 w 235"/>
                <a:gd name="T11" fmla="*/ 102 h 249"/>
                <a:gd name="T12" fmla="*/ 149 w 235"/>
                <a:gd name="T13" fmla="*/ 94 h 249"/>
                <a:gd name="T14" fmla="*/ 150 w 235"/>
                <a:gd name="T15" fmla="*/ 83 h 249"/>
                <a:gd name="T16" fmla="*/ 149 w 235"/>
                <a:gd name="T17" fmla="*/ 74 h 249"/>
                <a:gd name="T18" fmla="*/ 145 w 235"/>
                <a:gd name="T19" fmla="*/ 68 h 249"/>
                <a:gd name="T20" fmla="*/ 139 w 235"/>
                <a:gd name="T21" fmla="*/ 63 h 249"/>
                <a:gd name="T22" fmla="*/ 128 w 235"/>
                <a:gd name="T23" fmla="*/ 59 h 249"/>
                <a:gd name="T24" fmla="*/ 113 w 235"/>
                <a:gd name="T25" fmla="*/ 58 h 249"/>
                <a:gd name="T26" fmla="*/ 77 w 235"/>
                <a:gd name="T27" fmla="*/ 58 h 249"/>
                <a:gd name="T28" fmla="*/ 0 w 235"/>
                <a:gd name="T29" fmla="*/ 0 h 249"/>
                <a:gd name="T30" fmla="*/ 147 w 235"/>
                <a:gd name="T31" fmla="*/ 0 h 249"/>
                <a:gd name="T32" fmla="*/ 164 w 235"/>
                <a:gd name="T33" fmla="*/ 1 h 249"/>
                <a:gd name="T34" fmla="*/ 182 w 235"/>
                <a:gd name="T35" fmla="*/ 5 h 249"/>
                <a:gd name="T36" fmla="*/ 196 w 235"/>
                <a:gd name="T37" fmla="*/ 12 h 249"/>
                <a:gd name="T38" fmla="*/ 209 w 235"/>
                <a:gd name="T39" fmla="*/ 22 h 249"/>
                <a:gd name="T40" fmla="*/ 219 w 235"/>
                <a:gd name="T41" fmla="*/ 36 h 249"/>
                <a:gd name="T42" fmla="*/ 225 w 235"/>
                <a:gd name="T43" fmla="*/ 52 h 249"/>
                <a:gd name="T44" fmla="*/ 228 w 235"/>
                <a:gd name="T45" fmla="*/ 71 h 249"/>
                <a:gd name="T46" fmla="*/ 226 w 235"/>
                <a:gd name="T47" fmla="*/ 86 h 249"/>
                <a:gd name="T48" fmla="*/ 223 w 235"/>
                <a:gd name="T49" fmla="*/ 101 h 249"/>
                <a:gd name="T50" fmla="*/ 215 w 235"/>
                <a:gd name="T51" fmla="*/ 114 h 249"/>
                <a:gd name="T52" fmla="*/ 204 w 235"/>
                <a:gd name="T53" fmla="*/ 125 h 249"/>
                <a:gd name="T54" fmla="*/ 190 w 235"/>
                <a:gd name="T55" fmla="*/ 133 h 249"/>
                <a:gd name="T56" fmla="*/ 205 w 235"/>
                <a:gd name="T57" fmla="*/ 142 h 249"/>
                <a:gd name="T58" fmla="*/ 215 w 235"/>
                <a:gd name="T59" fmla="*/ 155 h 249"/>
                <a:gd name="T60" fmla="*/ 223 w 235"/>
                <a:gd name="T61" fmla="*/ 174 h 249"/>
                <a:gd name="T62" fmla="*/ 228 w 235"/>
                <a:gd name="T63" fmla="*/ 195 h 249"/>
                <a:gd name="T64" fmla="*/ 228 w 235"/>
                <a:gd name="T65" fmla="*/ 208 h 249"/>
                <a:gd name="T66" fmla="*/ 229 w 235"/>
                <a:gd name="T67" fmla="*/ 223 h 249"/>
                <a:gd name="T68" fmla="*/ 231 w 235"/>
                <a:gd name="T69" fmla="*/ 238 h 249"/>
                <a:gd name="T70" fmla="*/ 235 w 235"/>
                <a:gd name="T71" fmla="*/ 249 h 249"/>
                <a:gd name="T72" fmla="*/ 158 w 235"/>
                <a:gd name="T73" fmla="*/ 249 h 249"/>
                <a:gd name="T74" fmla="*/ 154 w 235"/>
                <a:gd name="T75" fmla="*/ 230 h 249"/>
                <a:gd name="T76" fmla="*/ 152 w 235"/>
                <a:gd name="T77" fmla="*/ 210 h 249"/>
                <a:gd name="T78" fmla="*/ 150 w 235"/>
                <a:gd name="T79" fmla="*/ 199 h 249"/>
                <a:gd name="T80" fmla="*/ 149 w 235"/>
                <a:gd name="T81" fmla="*/ 188 h 249"/>
                <a:gd name="T82" fmla="*/ 145 w 235"/>
                <a:gd name="T83" fmla="*/ 178 h 249"/>
                <a:gd name="T84" fmla="*/ 139 w 235"/>
                <a:gd name="T85" fmla="*/ 169 h 249"/>
                <a:gd name="T86" fmla="*/ 131 w 235"/>
                <a:gd name="T87" fmla="*/ 164 h 249"/>
                <a:gd name="T88" fmla="*/ 118 w 235"/>
                <a:gd name="T89" fmla="*/ 162 h 249"/>
                <a:gd name="T90" fmla="*/ 77 w 235"/>
                <a:gd name="T91" fmla="*/ 162 h 249"/>
                <a:gd name="T92" fmla="*/ 77 w 235"/>
                <a:gd name="T93" fmla="*/ 249 h 249"/>
                <a:gd name="T94" fmla="*/ 0 w 235"/>
                <a:gd name="T95" fmla="*/ 249 h 249"/>
                <a:gd name="T96" fmla="*/ 0 w 235"/>
                <a:gd name="T9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5" h="249">
                  <a:moveTo>
                    <a:pt x="77" y="58"/>
                  </a:moveTo>
                  <a:lnTo>
                    <a:pt x="77" y="108"/>
                  </a:lnTo>
                  <a:lnTo>
                    <a:pt x="117" y="108"/>
                  </a:lnTo>
                  <a:lnTo>
                    <a:pt x="126" y="108"/>
                  </a:lnTo>
                  <a:lnTo>
                    <a:pt x="136" y="106"/>
                  </a:lnTo>
                  <a:lnTo>
                    <a:pt x="143" y="102"/>
                  </a:lnTo>
                  <a:lnTo>
                    <a:pt x="149" y="94"/>
                  </a:lnTo>
                  <a:lnTo>
                    <a:pt x="150" y="83"/>
                  </a:lnTo>
                  <a:lnTo>
                    <a:pt x="149" y="74"/>
                  </a:lnTo>
                  <a:lnTo>
                    <a:pt x="145" y="68"/>
                  </a:lnTo>
                  <a:lnTo>
                    <a:pt x="139" y="63"/>
                  </a:lnTo>
                  <a:lnTo>
                    <a:pt x="128" y="59"/>
                  </a:lnTo>
                  <a:lnTo>
                    <a:pt x="113" y="58"/>
                  </a:lnTo>
                  <a:lnTo>
                    <a:pt x="77" y="58"/>
                  </a:lnTo>
                  <a:close/>
                  <a:moveTo>
                    <a:pt x="0" y="0"/>
                  </a:moveTo>
                  <a:lnTo>
                    <a:pt x="147" y="0"/>
                  </a:lnTo>
                  <a:lnTo>
                    <a:pt x="164" y="1"/>
                  </a:lnTo>
                  <a:lnTo>
                    <a:pt x="182" y="5"/>
                  </a:lnTo>
                  <a:lnTo>
                    <a:pt x="196" y="12"/>
                  </a:lnTo>
                  <a:lnTo>
                    <a:pt x="209" y="22"/>
                  </a:lnTo>
                  <a:lnTo>
                    <a:pt x="219" y="36"/>
                  </a:lnTo>
                  <a:lnTo>
                    <a:pt x="225" y="52"/>
                  </a:lnTo>
                  <a:lnTo>
                    <a:pt x="228" y="71"/>
                  </a:lnTo>
                  <a:lnTo>
                    <a:pt x="226" y="86"/>
                  </a:lnTo>
                  <a:lnTo>
                    <a:pt x="223" y="101"/>
                  </a:lnTo>
                  <a:lnTo>
                    <a:pt x="215" y="114"/>
                  </a:lnTo>
                  <a:lnTo>
                    <a:pt x="204" y="125"/>
                  </a:lnTo>
                  <a:lnTo>
                    <a:pt x="190" y="133"/>
                  </a:lnTo>
                  <a:lnTo>
                    <a:pt x="205" y="142"/>
                  </a:lnTo>
                  <a:lnTo>
                    <a:pt x="215" y="155"/>
                  </a:lnTo>
                  <a:lnTo>
                    <a:pt x="223" y="174"/>
                  </a:lnTo>
                  <a:lnTo>
                    <a:pt x="228" y="195"/>
                  </a:lnTo>
                  <a:lnTo>
                    <a:pt x="228" y="208"/>
                  </a:lnTo>
                  <a:lnTo>
                    <a:pt x="229" y="223"/>
                  </a:lnTo>
                  <a:lnTo>
                    <a:pt x="231" y="238"/>
                  </a:lnTo>
                  <a:lnTo>
                    <a:pt x="235" y="249"/>
                  </a:lnTo>
                  <a:lnTo>
                    <a:pt x="158" y="249"/>
                  </a:lnTo>
                  <a:lnTo>
                    <a:pt x="154" y="230"/>
                  </a:lnTo>
                  <a:lnTo>
                    <a:pt x="152" y="210"/>
                  </a:lnTo>
                  <a:lnTo>
                    <a:pt x="150" y="199"/>
                  </a:lnTo>
                  <a:lnTo>
                    <a:pt x="149" y="188"/>
                  </a:lnTo>
                  <a:lnTo>
                    <a:pt x="145" y="178"/>
                  </a:lnTo>
                  <a:lnTo>
                    <a:pt x="139" y="169"/>
                  </a:lnTo>
                  <a:lnTo>
                    <a:pt x="131" y="164"/>
                  </a:lnTo>
                  <a:lnTo>
                    <a:pt x="118" y="162"/>
                  </a:lnTo>
                  <a:lnTo>
                    <a:pt x="77" y="162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7969250" y="5645150"/>
              <a:ext cx="87313" cy="100013"/>
            </a:xfrm>
            <a:custGeom>
              <a:avLst/>
              <a:gdLst>
                <a:gd name="T0" fmla="*/ 0 w 216"/>
                <a:gd name="T1" fmla="*/ 0 h 249"/>
                <a:gd name="T2" fmla="*/ 216 w 216"/>
                <a:gd name="T3" fmla="*/ 0 h 249"/>
                <a:gd name="T4" fmla="*/ 216 w 216"/>
                <a:gd name="T5" fmla="*/ 63 h 249"/>
                <a:gd name="T6" fmla="*/ 147 w 216"/>
                <a:gd name="T7" fmla="*/ 63 h 249"/>
                <a:gd name="T8" fmla="*/ 147 w 216"/>
                <a:gd name="T9" fmla="*/ 249 h 249"/>
                <a:gd name="T10" fmla="*/ 70 w 216"/>
                <a:gd name="T11" fmla="*/ 249 h 249"/>
                <a:gd name="T12" fmla="*/ 70 w 216"/>
                <a:gd name="T13" fmla="*/ 63 h 249"/>
                <a:gd name="T14" fmla="*/ 0 w 216"/>
                <a:gd name="T15" fmla="*/ 63 h 249"/>
                <a:gd name="T16" fmla="*/ 0 w 216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216" y="0"/>
                  </a:lnTo>
                  <a:lnTo>
                    <a:pt x="216" y="63"/>
                  </a:lnTo>
                  <a:lnTo>
                    <a:pt x="147" y="63"/>
                  </a:lnTo>
                  <a:lnTo>
                    <a:pt x="147" y="249"/>
                  </a:lnTo>
                  <a:lnTo>
                    <a:pt x="70" y="249"/>
                  </a:lnTo>
                  <a:lnTo>
                    <a:pt x="70" y="63"/>
                  </a:lnTo>
                  <a:lnTo>
                    <a:pt x="0" y="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8054975" y="5643563"/>
              <a:ext cx="100013" cy="103188"/>
            </a:xfrm>
            <a:custGeom>
              <a:avLst/>
              <a:gdLst>
                <a:gd name="T0" fmla="*/ 126 w 253"/>
                <a:gd name="T1" fmla="*/ 63 h 262"/>
                <a:gd name="T2" fmla="*/ 118 w 253"/>
                <a:gd name="T3" fmla="*/ 64 h 262"/>
                <a:gd name="T4" fmla="*/ 108 w 253"/>
                <a:gd name="T5" fmla="*/ 66 h 262"/>
                <a:gd name="T6" fmla="*/ 99 w 253"/>
                <a:gd name="T7" fmla="*/ 71 h 262"/>
                <a:gd name="T8" fmla="*/ 90 w 253"/>
                <a:gd name="T9" fmla="*/ 80 h 262"/>
                <a:gd name="T10" fmla="*/ 83 w 253"/>
                <a:gd name="T11" fmla="*/ 93 h 262"/>
                <a:gd name="T12" fmla="*/ 79 w 253"/>
                <a:gd name="T13" fmla="*/ 110 h 262"/>
                <a:gd name="T14" fmla="*/ 77 w 253"/>
                <a:gd name="T15" fmla="*/ 131 h 262"/>
                <a:gd name="T16" fmla="*/ 79 w 253"/>
                <a:gd name="T17" fmla="*/ 152 h 262"/>
                <a:gd name="T18" fmla="*/ 83 w 253"/>
                <a:gd name="T19" fmla="*/ 169 h 262"/>
                <a:gd name="T20" fmla="*/ 90 w 253"/>
                <a:gd name="T21" fmla="*/ 181 h 262"/>
                <a:gd name="T22" fmla="*/ 99 w 253"/>
                <a:gd name="T23" fmla="*/ 191 h 262"/>
                <a:gd name="T24" fmla="*/ 108 w 253"/>
                <a:gd name="T25" fmla="*/ 196 h 262"/>
                <a:gd name="T26" fmla="*/ 118 w 253"/>
                <a:gd name="T27" fmla="*/ 199 h 262"/>
                <a:gd name="T28" fmla="*/ 126 w 253"/>
                <a:gd name="T29" fmla="*/ 200 h 262"/>
                <a:gd name="T30" fmla="*/ 135 w 253"/>
                <a:gd name="T31" fmla="*/ 199 h 262"/>
                <a:gd name="T32" fmla="*/ 145 w 253"/>
                <a:gd name="T33" fmla="*/ 196 h 262"/>
                <a:gd name="T34" fmla="*/ 154 w 253"/>
                <a:gd name="T35" fmla="*/ 191 h 262"/>
                <a:gd name="T36" fmla="*/ 162 w 253"/>
                <a:gd name="T37" fmla="*/ 181 h 262"/>
                <a:gd name="T38" fmla="*/ 170 w 253"/>
                <a:gd name="T39" fmla="*/ 169 h 262"/>
                <a:gd name="T40" fmla="*/ 175 w 253"/>
                <a:gd name="T41" fmla="*/ 152 h 262"/>
                <a:gd name="T42" fmla="*/ 176 w 253"/>
                <a:gd name="T43" fmla="*/ 131 h 262"/>
                <a:gd name="T44" fmla="*/ 175 w 253"/>
                <a:gd name="T45" fmla="*/ 110 h 262"/>
                <a:gd name="T46" fmla="*/ 170 w 253"/>
                <a:gd name="T47" fmla="*/ 93 h 262"/>
                <a:gd name="T48" fmla="*/ 162 w 253"/>
                <a:gd name="T49" fmla="*/ 80 h 262"/>
                <a:gd name="T50" fmla="*/ 154 w 253"/>
                <a:gd name="T51" fmla="*/ 71 h 262"/>
                <a:gd name="T52" fmla="*/ 145 w 253"/>
                <a:gd name="T53" fmla="*/ 66 h 262"/>
                <a:gd name="T54" fmla="*/ 135 w 253"/>
                <a:gd name="T55" fmla="*/ 64 h 262"/>
                <a:gd name="T56" fmla="*/ 126 w 253"/>
                <a:gd name="T57" fmla="*/ 63 h 262"/>
                <a:gd name="T58" fmla="*/ 126 w 253"/>
                <a:gd name="T59" fmla="*/ 0 h 262"/>
                <a:gd name="T60" fmla="*/ 157 w 253"/>
                <a:gd name="T61" fmla="*/ 3 h 262"/>
                <a:gd name="T62" fmla="*/ 185 w 253"/>
                <a:gd name="T63" fmla="*/ 13 h 262"/>
                <a:gd name="T64" fmla="*/ 208 w 253"/>
                <a:gd name="T65" fmla="*/ 28 h 262"/>
                <a:gd name="T66" fmla="*/ 227 w 253"/>
                <a:gd name="T67" fmla="*/ 48 h 262"/>
                <a:gd name="T68" fmla="*/ 241 w 253"/>
                <a:gd name="T69" fmla="*/ 71 h 262"/>
                <a:gd name="T70" fmla="*/ 251 w 253"/>
                <a:gd name="T71" fmla="*/ 100 h 262"/>
                <a:gd name="T72" fmla="*/ 253 w 253"/>
                <a:gd name="T73" fmla="*/ 131 h 262"/>
                <a:gd name="T74" fmla="*/ 251 w 253"/>
                <a:gd name="T75" fmla="*/ 162 h 262"/>
                <a:gd name="T76" fmla="*/ 241 w 253"/>
                <a:gd name="T77" fmla="*/ 191 h 262"/>
                <a:gd name="T78" fmla="*/ 227 w 253"/>
                <a:gd name="T79" fmla="*/ 215 h 262"/>
                <a:gd name="T80" fmla="*/ 208 w 253"/>
                <a:gd name="T81" fmla="*/ 235 h 262"/>
                <a:gd name="T82" fmla="*/ 185 w 253"/>
                <a:gd name="T83" fmla="*/ 250 h 262"/>
                <a:gd name="T84" fmla="*/ 157 w 253"/>
                <a:gd name="T85" fmla="*/ 260 h 262"/>
                <a:gd name="T86" fmla="*/ 126 w 253"/>
                <a:gd name="T87" fmla="*/ 262 h 262"/>
                <a:gd name="T88" fmla="*/ 95 w 253"/>
                <a:gd name="T89" fmla="*/ 260 h 262"/>
                <a:gd name="T90" fmla="*/ 68 w 253"/>
                <a:gd name="T91" fmla="*/ 250 h 262"/>
                <a:gd name="T92" fmla="*/ 44 w 253"/>
                <a:gd name="T93" fmla="*/ 235 h 262"/>
                <a:gd name="T94" fmla="*/ 26 w 253"/>
                <a:gd name="T95" fmla="*/ 215 h 262"/>
                <a:gd name="T96" fmla="*/ 12 w 253"/>
                <a:gd name="T97" fmla="*/ 191 h 262"/>
                <a:gd name="T98" fmla="*/ 3 w 253"/>
                <a:gd name="T99" fmla="*/ 162 h 262"/>
                <a:gd name="T100" fmla="*/ 0 w 253"/>
                <a:gd name="T101" fmla="*/ 131 h 262"/>
                <a:gd name="T102" fmla="*/ 3 w 253"/>
                <a:gd name="T103" fmla="*/ 100 h 262"/>
                <a:gd name="T104" fmla="*/ 12 w 253"/>
                <a:gd name="T105" fmla="*/ 71 h 262"/>
                <a:gd name="T106" fmla="*/ 26 w 253"/>
                <a:gd name="T107" fmla="*/ 48 h 262"/>
                <a:gd name="T108" fmla="*/ 44 w 253"/>
                <a:gd name="T109" fmla="*/ 28 h 262"/>
                <a:gd name="T110" fmla="*/ 68 w 253"/>
                <a:gd name="T111" fmla="*/ 13 h 262"/>
                <a:gd name="T112" fmla="*/ 95 w 253"/>
                <a:gd name="T113" fmla="*/ 3 h 262"/>
                <a:gd name="T114" fmla="*/ 126 w 253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3" h="262">
                  <a:moveTo>
                    <a:pt x="126" y="63"/>
                  </a:moveTo>
                  <a:lnTo>
                    <a:pt x="118" y="64"/>
                  </a:lnTo>
                  <a:lnTo>
                    <a:pt x="108" y="66"/>
                  </a:lnTo>
                  <a:lnTo>
                    <a:pt x="99" y="71"/>
                  </a:lnTo>
                  <a:lnTo>
                    <a:pt x="90" y="80"/>
                  </a:lnTo>
                  <a:lnTo>
                    <a:pt x="83" y="93"/>
                  </a:lnTo>
                  <a:lnTo>
                    <a:pt x="79" y="110"/>
                  </a:lnTo>
                  <a:lnTo>
                    <a:pt x="77" y="131"/>
                  </a:lnTo>
                  <a:lnTo>
                    <a:pt x="79" y="152"/>
                  </a:lnTo>
                  <a:lnTo>
                    <a:pt x="83" y="169"/>
                  </a:lnTo>
                  <a:lnTo>
                    <a:pt x="90" y="181"/>
                  </a:lnTo>
                  <a:lnTo>
                    <a:pt x="99" y="191"/>
                  </a:lnTo>
                  <a:lnTo>
                    <a:pt x="108" y="196"/>
                  </a:lnTo>
                  <a:lnTo>
                    <a:pt x="118" y="199"/>
                  </a:lnTo>
                  <a:lnTo>
                    <a:pt x="126" y="200"/>
                  </a:lnTo>
                  <a:lnTo>
                    <a:pt x="135" y="199"/>
                  </a:lnTo>
                  <a:lnTo>
                    <a:pt x="145" y="196"/>
                  </a:lnTo>
                  <a:lnTo>
                    <a:pt x="154" y="191"/>
                  </a:lnTo>
                  <a:lnTo>
                    <a:pt x="162" y="181"/>
                  </a:lnTo>
                  <a:lnTo>
                    <a:pt x="170" y="169"/>
                  </a:lnTo>
                  <a:lnTo>
                    <a:pt x="175" y="152"/>
                  </a:lnTo>
                  <a:lnTo>
                    <a:pt x="176" y="131"/>
                  </a:lnTo>
                  <a:lnTo>
                    <a:pt x="175" y="110"/>
                  </a:lnTo>
                  <a:lnTo>
                    <a:pt x="170" y="93"/>
                  </a:lnTo>
                  <a:lnTo>
                    <a:pt x="162" y="80"/>
                  </a:lnTo>
                  <a:lnTo>
                    <a:pt x="154" y="71"/>
                  </a:lnTo>
                  <a:lnTo>
                    <a:pt x="145" y="66"/>
                  </a:lnTo>
                  <a:lnTo>
                    <a:pt x="135" y="64"/>
                  </a:lnTo>
                  <a:lnTo>
                    <a:pt x="126" y="63"/>
                  </a:lnTo>
                  <a:close/>
                  <a:moveTo>
                    <a:pt x="126" y="0"/>
                  </a:moveTo>
                  <a:lnTo>
                    <a:pt x="157" y="3"/>
                  </a:lnTo>
                  <a:lnTo>
                    <a:pt x="185" y="13"/>
                  </a:lnTo>
                  <a:lnTo>
                    <a:pt x="208" y="28"/>
                  </a:lnTo>
                  <a:lnTo>
                    <a:pt x="227" y="48"/>
                  </a:lnTo>
                  <a:lnTo>
                    <a:pt x="241" y="71"/>
                  </a:lnTo>
                  <a:lnTo>
                    <a:pt x="251" y="100"/>
                  </a:lnTo>
                  <a:lnTo>
                    <a:pt x="253" y="131"/>
                  </a:lnTo>
                  <a:lnTo>
                    <a:pt x="251" y="162"/>
                  </a:lnTo>
                  <a:lnTo>
                    <a:pt x="241" y="191"/>
                  </a:lnTo>
                  <a:lnTo>
                    <a:pt x="227" y="215"/>
                  </a:lnTo>
                  <a:lnTo>
                    <a:pt x="208" y="235"/>
                  </a:lnTo>
                  <a:lnTo>
                    <a:pt x="185" y="250"/>
                  </a:lnTo>
                  <a:lnTo>
                    <a:pt x="157" y="260"/>
                  </a:lnTo>
                  <a:lnTo>
                    <a:pt x="126" y="262"/>
                  </a:lnTo>
                  <a:lnTo>
                    <a:pt x="95" y="260"/>
                  </a:lnTo>
                  <a:lnTo>
                    <a:pt x="68" y="250"/>
                  </a:lnTo>
                  <a:lnTo>
                    <a:pt x="44" y="235"/>
                  </a:lnTo>
                  <a:lnTo>
                    <a:pt x="26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6" y="48"/>
                  </a:lnTo>
                  <a:lnTo>
                    <a:pt x="44" y="28"/>
                  </a:lnTo>
                  <a:lnTo>
                    <a:pt x="68" y="13"/>
                  </a:lnTo>
                  <a:lnTo>
                    <a:pt x="95" y="3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8196263" y="5645150"/>
              <a:ext cx="101600" cy="100013"/>
            </a:xfrm>
            <a:custGeom>
              <a:avLst/>
              <a:gdLst>
                <a:gd name="T0" fmla="*/ 0 w 256"/>
                <a:gd name="T1" fmla="*/ 0 h 249"/>
                <a:gd name="T2" fmla="*/ 77 w 256"/>
                <a:gd name="T3" fmla="*/ 0 h 249"/>
                <a:gd name="T4" fmla="*/ 77 w 256"/>
                <a:gd name="T5" fmla="*/ 86 h 249"/>
                <a:gd name="T6" fmla="*/ 79 w 256"/>
                <a:gd name="T7" fmla="*/ 86 h 249"/>
                <a:gd name="T8" fmla="*/ 147 w 256"/>
                <a:gd name="T9" fmla="*/ 0 h 249"/>
                <a:gd name="T10" fmla="*/ 241 w 256"/>
                <a:gd name="T11" fmla="*/ 0 h 249"/>
                <a:gd name="T12" fmla="*/ 151 w 256"/>
                <a:gd name="T13" fmla="*/ 97 h 249"/>
                <a:gd name="T14" fmla="*/ 256 w 256"/>
                <a:gd name="T15" fmla="*/ 249 h 249"/>
                <a:gd name="T16" fmla="*/ 161 w 256"/>
                <a:gd name="T17" fmla="*/ 249 h 249"/>
                <a:gd name="T18" fmla="*/ 100 w 256"/>
                <a:gd name="T19" fmla="*/ 152 h 249"/>
                <a:gd name="T20" fmla="*/ 77 w 256"/>
                <a:gd name="T21" fmla="*/ 175 h 249"/>
                <a:gd name="T22" fmla="*/ 77 w 256"/>
                <a:gd name="T23" fmla="*/ 249 h 249"/>
                <a:gd name="T24" fmla="*/ 0 w 256"/>
                <a:gd name="T25" fmla="*/ 249 h 249"/>
                <a:gd name="T26" fmla="*/ 0 w 256"/>
                <a:gd name="T2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6" h="249">
                  <a:moveTo>
                    <a:pt x="0" y="0"/>
                  </a:moveTo>
                  <a:lnTo>
                    <a:pt x="77" y="0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147" y="0"/>
                  </a:lnTo>
                  <a:lnTo>
                    <a:pt x="241" y="0"/>
                  </a:lnTo>
                  <a:lnTo>
                    <a:pt x="151" y="97"/>
                  </a:lnTo>
                  <a:lnTo>
                    <a:pt x="256" y="249"/>
                  </a:lnTo>
                  <a:lnTo>
                    <a:pt x="161" y="249"/>
                  </a:lnTo>
                  <a:lnTo>
                    <a:pt x="100" y="152"/>
                  </a:lnTo>
                  <a:lnTo>
                    <a:pt x="77" y="175"/>
                  </a:lnTo>
                  <a:lnTo>
                    <a:pt x="77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299450" y="5645150"/>
              <a:ext cx="90488" cy="100013"/>
            </a:xfrm>
            <a:custGeom>
              <a:avLst/>
              <a:gdLst>
                <a:gd name="T0" fmla="*/ 0 w 225"/>
                <a:gd name="T1" fmla="*/ 0 h 249"/>
                <a:gd name="T2" fmla="*/ 79 w 225"/>
                <a:gd name="T3" fmla="*/ 0 h 249"/>
                <a:gd name="T4" fmla="*/ 152 w 225"/>
                <a:gd name="T5" fmla="*/ 133 h 249"/>
                <a:gd name="T6" fmla="*/ 153 w 225"/>
                <a:gd name="T7" fmla="*/ 133 h 249"/>
                <a:gd name="T8" fmla="*/ 153 w 225"/>
                <a:gd name="T9" fmla="*/ 0 h 249"/>
                <a:gd name="T10" fmla="*/ 225 w 225"/>
                <a:gd name="T11" fmla="*/ 0 h 249"/>
                <a:gd name="T12" fmla="*/ 225 w 225"/>
                <a:gd name="T13" fmla="*/ 249 h 249"/>
                <a:gd name="T14" fmla="*/ 150 w 225"/>
                <a:gd name="T15" fmla="*/ 249 h 249"/>
                <a:gd name="T16" fmla="*/ 73 w 225"/>
                <a:gd name="T17" fmla="*/ 113 h 249"/>
                <a:gd name="T18" fmla="*/ 73 w 225"/>
                <a:gd name="T19" fmla="*/ 113 h 249"/>
                <a:gd name="T20" fmla="*/ 73 w 225"/>
                <a:gd name="T21" fmla="*/ 249 h 249"/>
                <a:gd name="T22" fmla="*/ 0 w 225"/>
                <a:gd name="T23" fmla="*/ 249 h 249"/>
                <a:gd name="T24" fmla="*/ 0 w 225"/>
                <a:gd name="T25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5" h="249">
                  <a:moveTo>
                    <a:pt x="0" y="0"/>
                  </a:moveTo>
                  <a:lnTo>
                    <a:pt x="79" y="0"/>
                  </a:lnTo>
                  <a:lnTo>
                    <a:pt x="152" y="133"/>
                  </a:lnTo>
                  <a:lnTo>
                    <a:pt x="153" y="133"/>
                  </a:lnTo>
                  <a:lnTo>
                    <a:pt x="153" y="0"/>
                  </a:lnTo>
                  <a:lnTo>
                    <a:pt x="225" y="0"/>
                  </a:lnTo>
                  <a:lnTo>
                    <a:pt x="225" y="249"/>
                  </a:lnTo>
                  <a:lnTo>
                    <a:pt x="150" y="249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3" y="249"/>
                  </a:lnTo>
                  <a:lnTo>
                    <a:pt x="0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/>
            <p:cNvSpPr>
              <a:spLocks noEditPoints="1"/>
            </p:cNvSpPr>
            <p:nvPr userDrawn="1"/>
          </p:nvSpPr>
          <p:spPr bwMode="auto">
            <a:xfrm>
              <a:off x="8394700" y="5643563"/>
              <a:ext cx="100013" cy="103188"/>
            </a:xfrm>
            <a:custGeom>
              <a:avLst/>
              <a:gdLst>
                <a:gd name="T0" fmla="*/ 127 w 254"/>
                <a:gd name="T1" fmla="*/ 63 h 262"/>
                <a:gd name="T2" fmla="*/ 119 w 254"/>
                <a:gd name="T3" fmla="*/ 64 h 262"/>
                <a:gd name="T4" fmla="*/ 109 w 254"/>
                <a:gd name="T5" fmla="*/ 66 h 262"/>
                <a:gd name="T6" fmla="*/ 99 w 254"/>
                <a:gd name="T7" fmla="*/ 71 h 262"/>
                <a:gd name="T8" fmla="*/ 91 w 254"/>
                <a:gd name="T9" fmla="*/ 80 h 262"/>
                <a:gd name="T10" fmla="*/ 84 w 254"/>
                <a:gd name="T11" fmla="*/ 93 h 262"/>
                <a:gd name="T12" fmla="*/ 79 w 254"/>
                <a:gd name="T13" fmla="*/ 110 h 262"/>
                <a:gd name="T14" fmla="*/ 78 w 254"/>
                <a:gd name="T15" fmla="*/ 131 h 262"/>
                <a:gd name="T16" fmla="*/ 79 w 254"/>
                <a:gd name="T17" fmla="*/ 152 h 262"/>
                <a:gd name="T18" fmla="*/ 84 w 254"/>
                <a:gd name="T19" fmla="*/ 169 h 262"/>
                <a:gd name="T20" fmla="*/ 91 w 254"/>
                <a:gd name="T21" fmla="*/ 181 h 262"/>
                <a:gd name="T22" fmla="*/ 99 w 254"/>
                <a:gd name="T23" fmla="*/ 191 h 262"/>
                <a:gd name="T24" fmla="*/ 109 w 254"/>
                <a:gd name="T25" fmla="*/ 196 h 262"/>
                <a:gd name="T26" fmla="*/ 119 w 254"/>
                <a:gd name="T27" fmla="*/ 199 h 262"/>
                <a:gd name="T28" fmla="*/ 127 w 254"/>
                <a:gd name="T29" fmla="*/ 200 h 262"/>
                <a:gd name="T30" fmla="*/ 136 w 254"/>
                <a:gd name="T31" fmla="*/ 199 h 262"/>
                <a:gd name="T32" fmla="*/ 146 w 254"/>
                <a:gd name="T33" fmla="*/ 196 h 262"/>
                <a:gd name="T34" fmla="*/ 155 w 254"/>
                <a:gd name="T35" fmla="*/ 191 h 262"/>
                <a:gd name="T36" fmla="*/ 163 w 254"/>
                <a:gd name="T37" fmla="*/ 181 h 262"/>
                <a:gd name="T38" fmla="*/ 171 w 254"/>
                <a:gd name="T39" fmla="*/ 169 h 262"/>
                <a:gd name="T40" fmla="*/ 175 w 254"/>
                <a:gd name="T41" fmla="*/ 152 h 262"/>
                <a:gd name="T42" fmla="*/ 177 w 254"/>
                <a:gd name="T43" fmla="*/ 131 h 262"/>
                <a:gd name="T44" fmla="*/ 175 w 254"/>
                <a:gd name="T45" fmla="*/ 110 h 262"/>
                <a:gd name="T46" fmla="*/ 171 w 254"/>
                <a:gd name="T47" fmla="*/ 93 h 262"/>
                <a:gd name="T48" fmla="*/ 163 w 254"/>
                <a:gd name="T49" fmla="*/ 80 h 262"/>
                <a:gd name="T50" fmla="*/ 155 w 254"/>
                <a:gd name="T51" fmla="*/ 71 h 262"/>
                <a:gd name="T52" fmla="*/ 146 w 254"/>
                <a:gd name="T53" fmla="*/ 66 h 262"/>
                <a:gd name="T54" fmla="*/ 136 w 254"/>
                <a:gd name="T55" fmla="*/ 64 h 262"/>
                <a:gd name="T56" fmla="*/ 127 w 254"/>
                <a:gd name="T57" fmla="*/ 63 h 262"/>
                <a:gd name="T58" fmla="*/ 127 w 254"/>
                <a:gd name="T59" fmla="*/ 0 h 262"/>
                <a:gd name="T60" fmla="*/ 158 w 254"/>
                <a:gd name="T61" fmla="*/ 3 h 262"/>
                <a:gd name="T62" fmla="*/ 186 w 254"/>
                <a:gd name="T63" fmla="*/ 13 h 262"/>
                <a:gd name="T64" fmla="*/ 208 w 254"/>
                <a:gd name="T65" fmla="*/ 28 h 262"/>
                <a:gd name="T66" fmla="*/ 228 w 254"/>
                <a:gd name="T67" fmla="*/ 48 h 262"/>
                <a:gd name="T68" fmla="*/ 242 w 254"/>
                <a:gd name="T69" fmla="*/ 71 h 262"/>
                <a:gd name="T70" fmla="*/ 250 w 254"/>
                <a:gd name="T71" fmla="*/ 100 h 262"/>
                <a:gd name="T72" fmla="*/ 254 w 254"/>
                <a:gd name="T73" fmla="*/ 131 h 262"/>
                <a:gd name="T74" fmla="*/ 250 w 254"/>
                <a:gd name="T75" fmla="*/ 162 h 262"/>
                <a:gd name="T76" fmla="*/ 242 w 254"/>
                <a:gd name="T77" fmla="*/ 191 h 262"/>
                <a:gd name="T78" fmla="*/ 228 w 254"/>
                <a:gd name="T79" fmla="*/ 215 h 262"/>
                <a:gd name="T80" fmla="*/ 208 w 254"/>
                <a:gd name="T81" fmla="*/ 235 h 262"/>
                <a:gd name="T82" fmla="*/ 186 w 254"/>
                <a:gd name="T83" fmla="*/ 250 h 262"/>
                <a:gd name="T84" fmla="*/ 158 w 254"/>
                <a:gd name="T85" fmla="*/ 260 h 262"/>
                <a:gd name="T86" fmla="*/ 127 w 254"/>
                <a:gd name="T87" fmla="*/ 262 h 262"/>
                <a:gd name="T88" fmla="*/ 96 w 254"/>
                <a:gd name="T89" fmla="*/ 260 h 262"/>
                <a:gd name="T90" fmla="*/ 69 w 254"/>
                <a:gd name="T91" fmla="*/ 250 h 262"/>
                <a:gd name="T92" fmla="*/ 45 w 254"/>
                <a:gd name="T93" fmla="*/ 235 h 262"/>
                <a:gd name="T94" fmla="*/ 27 w 254"/>
                <a:gd name="T95" fmla="*/ 215 h 262"/>
                <a:gd name="T96" fmla="*/ 12 w 254"/>
                <a:gd name="T97" fmla="*/ 191 h 262"/>
                <a:gd name="T98" fmla="*/ 3 w 254"/>
                <a:gd name="T99" fmla="*/ 162 h 262"/>
                <a:gd name="T100" fmla="*/ 0 w 254"/>
                <a:gd name="T101" fmla="*/ 131 h 262"/>
                <a:gd name="T102" fmla="*/ 3 w 254"/>
                <a:gd name="T103" fmla="*/ 100 h 262"/>
                <a:gd name="T104" fmla="*/ 12 w 254"/>
                <a:gd name="T105" fmla="*/ 71 h 262"/>
                <a:gd name="T106" fmla="*/ 27 w 254"/>
                <a:gd name="T107" fmla="*/ 48 h 262"/>
                <a:gd name="T108" fmla="*/ 45 w 254"/>
                <a:gd name="T109" fmla="*/ 28 h 262"/>
                <a:gd name="T110" fmla="*/ 69 w 254"/>
                <a:gd name="T111" fmla="*/ 13 h 262"/>
                <a:gd name="T112" fmla="*/ 96 w 254"/>
                <a:gd name="T113" fmla="*/ 3 h 262"/>
                <a:gd name="T114" fmla="*/ 127 w 254"/>
                <a:gd name="T1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4" h="262">
                  <a:moveTo>
                    <a:pt x="127" y="63"/>
                  </a:moveTo>
                  <a:lnTo>
                    <a:pt x="119" y="64"/>
                  </a:lnTo>
                  <a:lnTo>
                    <a:pt x="109" y="66"/>
                  </a:lnTo>
                  <a:lnTo>
                    <a:pt x="99" y="71"/>
                  </a:lnTo>
                  <a:lnTo>
                    <a:pt x="91" y="80"/>
                  </a:lnTo>
                  <a:lnTo>
                    <a:pt x="84" y="93"/>
                  </a:lnTo>
                  <a:lnTo>
                    <a:pt x="79" y="110"/>
                  </a:lnTo>
                  <a:lnTo>
                    <a:pt x="78" y="131"/>
                  </a:lnTo>
                  <a:lnTo>
                    <a:pt x="79" y="152"/>
                  </a:lnTo>
                  <a:lnTo>
                    <a:pt x="84" y="169"/>
                  </a:lnTo>
                  <a:lnTo>
                    <a:pt x="91" y="181"/>
                  </a:lnTo>
                  <a:lnTo>
                    <a:pt x="99" y="191"/>
                  </a:lnTo>
                  <a:lnTo>
                    <a:pt x="109" y="196"/>
                  </a:lnTo>
                  <a:lnTo>
                    <a:pt x="119" y="199"/>
                  </a:lnTo>
                  <a:lnTo>
                    <a:pt x="127" y="200"/>
                  </a:lnTo>
                  <a:lnTo>
                    <a:pt x="136" y="199"/>
                  </a:lnTo>
                  <a:lnTo>
                    <a:pt x="146" y="196"/>
                  </a:lnTo>
                  <a:lnTo>
                    <a:pt x="155" y="191"/>
                  </a:lnTo>
                  <a:lnTo>
                    <a:pt x="163" y="181"/>
                  </a:lnTo>
                  <a:lnTo>
                    <a:pt x="171" y="169"/>
                  </a:lnTo>
                  <a:lnTo>
                    <a:pt x="175" y="152"/>
                  </a:lnTo>
                  <a:lnTo>
                    <a:pt x="177" y="131"/>
                  </a:lnTo>
                  <a:lnTo>
                    <a:pt x="175" y="110"/>
                  </a:lnTo>
                  <a:lnTo>
                    <a:pt x="171" y="93"/>
                  </a:lnTo>
                  <a:lnTo>
                    <a:pt x="163" y="80"/>
                  </a:lnTo>
                  <a:lnTo>
                    <a:pt x="155" y="71"/>
                  </a:lnTo>
                  <a:lnTo>
                    <a:pt x="146" y="66"/>
                  </a:lnTo>
                  <a:lnTo>
                    <a:pt x="136" y="64"/>
                  </a:lnTo>
                  <a:lnTo>
                    <a:pt x="127" y="63"/>
                  </a:lnTo>
                  <a:close/>
                  <a:moveTo>
                    <a:pt x="127" y="0"/>
                  </a:moveTo>
                  <a:lnTo>
                    <a:pt x="158" y="3"/>
                  </a:lnTo>
                  <a:lnTo>
                    <a:pt x="186" y="13"/>
                  </a:lnTo>
                  <a:lnTo>
                    <a:pt x="208" y="28"/>
                  </a:lnTo>
                  <a:lnTo>
                    <a:pt x="228" y="48"/>
                  </a:lnTo>
                  <a:lnTo>
                    <a:pt x="242" y="71"/>
                  </a:lnTo>
                  <a:lnTo>
                    <a:pt x="250" y="100"/>
                  </a:lnTo>
                  <a:lnTo>
                    <a:pt x="254" y="131"/>
                  </a:lnTo>
                  <a:lnTo>
                    <a:pt x="250" y="162"/>
                  </a:lnTo>
                  <a:lnTo>
                    <a:pt x="242" y="191"/>
                  </a:lnTo>
                  <a:lnTo>
                    <a:pt x="228" y="215"/>
                  </a:lnTo>
                  <a:lnTo>
                    <a:pt x="208" y="235"/>
                  </a:lnTo>
                  <a:lnTo>
                    <a:pt x="186" y="250"/>
                  </a:lnTo>
                  <a:lnTo>
                    <a:pt x="158" y="260"/>
                  </a:lnTo>
                  <a:lnTo>
                    <a:pt x="127" y="262"/>
                  </a:lnTo>
                  <a:lnTo>
                    <a:pt x="96" y="260"/>
                  </a:lnTo>
                  <a:lnTo>
                    <a:pt x="69" y="250"/>
                  </a:lnTo>
                  <a:lnTo>
                    <a:pt x="45" y="235"/>
                  </a:lnTo>
                  <a:lnTo>
                    <a:pt x="27" y="215"/>
                  </a:lnTo>
                  <a:lnTo>
                    <a:pt x="12" y="191"/>
                  </a:lnTo>
                  <a:lnTo>
                    <a:pt x="3" y="162"/>
                  </a:lnTo>
                  <a:lnTo>
                    <a:pt x="0" y="131"/>
                  </a:lnTo>
                  <a:lnTo>
                    <a:pt x="3" y="100"/>
                  </a:lnTo>
                  <a:lnTo>
                    <a:pt x="12" y="71"/>
                  </a:lnTo>
                  <a:lnTo>
                    <a:pt x="27" y="48"/>
                  </a:lnTo>
                  <a:lnTo>
                    <a:pt x="45" y="28"/>
                  </a:lnTo>
                  <a:lnTo>
                    <a:pt x="69" y="13"/>
                  </a:lnTo>
                  <a:lnTo>
                    <a:pt x="96" y="3"/>
                  </a:lnTo>
                  <a:lnTo>
                    <a:pt x="127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8489950" y="5645150"/>
              <a:ext cx="136525" cy="100013"/>
            </a:xfrm>
            <a:custGeom>
              <a:avLst/>
              <a:gdLst>
                <a:gd name="T0" fmla="*/ 0 w 342"/>
                <a:gd name="T1" fmla="*/ 0 h 249"/>
                <a:gd name="T2" fmla="*/ 76 w 342"/>
                <a:gd name="T3" fmla="*/ 0 h 249"/>
                <a:gd name="T4" fmla="*/ 106 w 342"/>
                <a:gd name="T5" fmla="*/ 154 h 249"/>
                <a:gd name="T6" fmla="*/ 107 w 342"/>
                <a:gd name="T7" fmla="*/ 154 h 249"/>
                <a:gd name="T8" fmla="*/ 137 w 342"/>
                <a:gd name="T9" fmla="*/ 0 h 249"/>
                <a:gd name="T10" fmla="*/ 205 w 342"/>
                <a:gd name="T11" fmla="*/ 0 h 249"/>
                <a:gd name="T12" fmla="*/ 234 w 342"/>
                <a:gd name="T13" fmla="*/ 155 h 249"/>
                <a:gd name="T14" fmla="*/ 235 w 342"/>
                <a:gd name="T15" fmla="*/ 155 h 249"/>
                <a:gd name="T16" fmla="*/ 266 w 342"/>
                <a:gd name="T17" fmla="*/ 0 h 249"/>
                <a:gd name="T18" fmla="*/ 342 w 342"/>
                <a:gd name="T19" fmla="*/ 0 h 249"/>
                <a:gd name="T20" fmla="*/ 272 w 342"/>
                <a:gd name="T21" fmla="*/ 249 h 249"/>
                <a:gd name="T22" fmla="*/ 196 w 342"/>
                <a:gd name="T23" fmla="*/ 249 h 249"/>
                <a:gd name="T24" fmla="*/ 170 w 342"/>
                <a:gd name="T25" fmla="*/ 97 h 249"/>
                <a:gd name="T26" fmla="*/ 169 w 342"/>
                <a:gd name="T27" fmla="*/ 97 h 249"/>
                <a:gd name="T28" fmla="*/ 143 w 342"/>
                <a:gd name="T29" fmla="*/ 249 h 249"/>
                <a:gd name="T30" fmla="*/ 67 w 342"/>
                <a:gd name="T31" fmla="*/ 249 h 249"/>
                <a:gd name="T32" fmla="*/ 0 w 342"/>
                <a:gd name="T33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2" h="249">
                  <a:moveTo>
                    <a:pt x="0" y="0"/>
                  </a:moveTo>
                  <a:lnTo>
                    <a:pt x="76" y="0"/>
                  </a:lnTo>
                  <a:lnTo>
                    <a:pt x="106" y="154"/>
                  </a:lnTo>
                  <a:lnTo>
                    <a:pt x="107" y="154"/>
                  </a:lnTo>
                  <a:lnTo>
                    <a:pt x="137" y="0"/>
                  </a:lnTo>
                  <a:lnTo>
                    <a:pt x="205" y="0"/>
                  </a:lnTo>
                  <a:lnTo>
                    <a:pt x="234" y="155"/>
                  </a:lnTo>
                  <a:lnTo>
                    <a:pt x="235" y="155"/>
                  </a:lnTo>
                  <a:lnTo>
                    <a:pt x="266" y="0"/>
                  </a:lnTo>
                  <a:lnTo>
                    <a:pt x="342" y="0"/>
                  </a:lnTo>
                  <a:lnTo>
                    <a:pt x="272" y="249"/>
                  </a:lnTo>
                  <a:lnTo>
                    <a:pt x="196" y="249"/>
                  </a:lnTo>
                  <a:lnTo>
                    <a:pt x="170" y="97"/>
                  </a:lnTo>
                  <a:lnTo>
                    <a:pt x="169" y="97"/>
                  </a:lnTo>
                  <a:lnTo>
                    <a:pt x="143" y="249"/>
                  </a:lnTo>
                  <a:lnTo>
                    <a:pt x="67" y="2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7543800" y="4959350"/>
              <a:ext cx="341313" cy="452438"/>
            </a:xfrm>
            <a:custGeom>
              <a:avLst/>
              <a:gdLst>
                <a:gd name="T0" fmla="*/ 486 w 859"/>
                <a:gd name="T1" fmla="*/ 4 h 1142"/>
                <a:gd name="T2" fmla="*/ 603 w 859"/>
                <a:gd name="T3" fmla="*/ 30 h 1142"/>
                <a:gd name="T4" fmla="*/ 700 w 859"/>
                <a:gd name="T5" fmla="*/ 83 h 1142"/>
                <a:gd name="T6" fmla="*/ 771 w 859"/>
                <a:gd name="T7" fmla="*/ 167 h 1142"/>
                <a:gd name="T8" fmla="*/ 809 w 859"/>
                <a:gd name="T9" fmla="*/ 292 h 1142"/>
                <a:gd name="T10" fmla="*/ 641 w 859"/>
                <a:gd name="T11" fmla="*/ 307 h 1142"/>
                <a:gd name="T12" fmla="*/ 599 w 859"/>
                <a:gd name="T13" fmla="*/ 226 h 1142"/>
                <a:gd name="T14" fmla="*/ 528 w 859"/>
                <a:gd name="T15" fmla="*/ 179 h 1142"/>
                <a:gd name="T16" fmla="*/ 442 w 859"/>
                <a:gd name="T17" fmla="*/ 160 h 1142"/>
                <a:gd name="T18" fmla="*/ 358 w 859"/>
                <a:gd name="T19" fmla="*/ 162 h 1142"/>
                <a:gd name="T20" fmla="*/ 279 w 859"/>
                <a:gd name="T21" fmla="*/ 181 h 1142"/>
                <a:gd name="T22" fmla="*/ 220 w 859"/>
                <a:gd name="T23" fmla="*/ 225 h 1142"/>
                <a:gd name="T24" fmla="*/ 197 w 859"/>
                <a:gd name="T25" fmla="*/ 298 h 1142"/>
                <a:gd name="T26" fmla="*/ 220 w 859"/>
                <a:gd name="T27" fmla="*/ 367 h 1142"/>
                <a:gd name="T28" fmla="*/ 278 w 859"/>
                <a:gd name="T29" fmla="*/ 414 h 1142"/>
                <a:gd name="T30" fmla="*/ 363 w 859"/>
                <a:gd name="T31" fmla="*/ 446 h 1142"/>
                <a:gd name="T32" fmla="*/ 461 w 859"/>
                <a:gd name="T33" fmla="*/ 471 h 1142"/>
                <a:gd name="T34" fmla="*/ 564 w 859"/>
                <a:gd name="T35" fmla="*/ 496 h 1142"/>
                <a:gd name="T36" fmla="*/ 666 w 859"/>
                <a:gd name="T37" fmla="*/ 530 h 1142"/>
                <a:gd name="T38" fmla="*/ 756 w 859"/>
                <a:gd name="T39" fmla="*/ 578 h 1142"/>
                <a:gd name="T40" fmla="*/ 823 w 859"/>
                <a:gd name="T41" fmla="*/ 651 h 1142"/>
                <a:gd name="T42" fmla="*/ 856 w 859"/>
                <a:gd name="T43" fmla="*/ 754 h 1142"/>
                <a:gd name="T44" fmla="*/ 849 w 859"/>
                <a:gd name="T45" fmla="*/ 887 h 1142"/>
                <a:gd name="T46" fmla="*/ 801 w 859"/>
                <a:gd name="T47" fmla="*/ 992 h 1142"/>
                <a:gd name="T48" fmla="*/ 721 w 859"/>
                <a:gd name="T49" fmla="*/ 1067 h 1142"/>
                <a:gd name="T50" fmla="*/ 619 w 859"/>
                <a:gd name="T51" fmla="*/ 1114 h 1142"/>
                <a:gd name="T52" fmla="*/ 506 w 859"/>
                <a:gd name="T53" fmla="*/ 1138 h 1142"/>
                <a:gd name="T54" fmla="*/ 384 w 859"/>
                <a:gd name="T55" fmla="*/ 1140 h 1142"/>
                <a:gd name="T56" fmla="*/ 257 w 859"/>
                <a:gd name="T57" fmla="*/ 1119 h 1142"/>
                <a:gd name="T58" fmla="*/ 149 w 859"/>
                <a:gd name="T59" fmla="*/ 1069 h 1142"/>
                <a:gd name="T60" fmla="*/ 64 w 859"/>
                <a:gd name="T61" fmla="*/ 988 h 1142"/>
                <a:gd name="T62" fmla="*/ 13 w 859"/>
                <a:gd name="T63" fmla="*/ 871 h 1142"/>
                <a:gd name="T64" fmla="*/ 166 w 859"/>
                <a:gd name="T65" fmla="*/ 773 h 1142"/>
                <a:gd name="T66" fmla="*/ 191 w 859"/>
                <a:gd name="T67" fmla="*/ 872 h 1142"/>
                <a:gd name="T68" fmla="*/ 253 w 859"/>
                <a:gd name="T69" fmla="*/ 939 h 1142"/>
                <a:gd name="T70" fmla="*/ 339 w 859"/>
                <a:gd name="T71" fmla="*/ 973 h 1142"/>
                <a:gd name="T72" fmla="*/ 439 w 859"/>
                <a:gd name="T73" fmla="*/ 983 h 1142"/>
                <a:gd name="T74" fmla="*/ 513 w 859"/>
                <a:gd name="T75" fmla="*/ 978 h 1142"/>
                <a:gd name="T76" fmla="*/ 588 w 859"/>
                <a:gd name="T77" fmla="*/ 958 h 1142"/>
                <a:gd name="T78" fmla="*/ 648 w 859"/>
                <a:gd name="T79" fmla="*/ 919 h 1142"/>
                <a:gd name="T80" fmla="*/ 680 w 859"/>
                <a:gd name="T81" fmla="*/ 850 h 1142"/>
                <a:gd name="T82" fmla="*/ 671 w 859"/>
                <a:gd name="T83" fmla="*/ 764 h 1142"/>
                <a:gd name="T84" fmla="*/ 619 w 859"/>
                <a:gd name="T85" fmla="*/ 704 h 1142"/>
                <a:gd name="T86" fmla="*/ 534 w 859"/>
                <a:gd name="T87" fmla="*/ 664 h 1142"/>
                <a:gd name="T88" fmla="*/ 427 w 859"/>
                <a:gd name="T89" fmla="*/ 636 h 1142"/>
                <a:gd name="T90" fmla="*/ 317 w 859"/>
                <a:gd name="T91" fmla="*/ 610 h 1142"/>
                <a:gd name="T92" fmla="*/ 215 w 859"/>
                <a:gd name="T93" fmla="*/ 576 h 1142"/>
                <a:gd name="T94" fmla="*/ 125 w 859"/>
                <a:gd name="T95" fmla="*/ 527 h 1142"/>
                <a:gd name="T96" fmla="*/ 58 w 859"/>
                <a:gd name="T97" fmla="*/ 456 h 1142"/>
                <a:gd name="T98" fmla="*/ 23 w 859"/>
                <a:gd name="T99" fmla="*/ 353 h 1142"/>
                <a:gd name="T100" fmla="*/ 31 w 859"/>
                <a:gd name="T101" fmla="*/ 230 h 1142"/>
                <a:gd name="T102" fmla="*/ 80 w 859"/>
                <a:gd name="T103" fmla="*/ 132 h 1142"/>
                <a:gd name="T104" fmla="*/ 159 w 859"/>
                <a:gd name="T105" fmla="*/ 64 h 1142"/>
                <a:gd name="T106" fmla="*/ 257 w 859"/>
                <a:gd name="T107" fmla="*/ 20 h 1142"/>
                <a:gd name="T108" fmla="*/ 364 w 859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9" h="1142">
                  <a:moveTo>
                    <a:pt x="399" y="0"/>
                  </a:moveTo>
                  <a:lnTo>
                    <a:pt x="442" y="2"/>
                  </a:lnTo>
                  <a:lnTo>
                    <a:pt x="486" y="4"/>
                  </a:lnTo>
                  <a:lnTo>
                    <a:pt x="527" y="10"/>
                  </a:lnTo>
                  <a:lnTo>
                    <a:pt x="565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0" y="61"/>
                  </a:lnTo>
                  <a:lnTo>
                    <a:pt x="700" y="83"/>
                  </a:lnTo>
                  <a:lnTo>
                    <a:pt x="726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1" y="246"/>
                  </a:lnTo>
                  <a:lnTo>
                    <a:pt x="809" y="292"/>
                  </a:lnTo>
                  <a:lnTo>
                    <a:pt x="814" y="342"/>
                  </a:lnTo>
                  <a:lnTo>
                    <a:pt x="648" y="342"/>
                  </a:lnTo>
                  <a:lnTo>
                    <a:pt x="641" y="307"/>
                  </a:lnTo>
                  <a:lnTo>
                    <a:pt x="631" y="276"/>
                  </a:lnTo>
                  <a:lnTo>
                    <a:pt x="618" y="248"/>
                  </a:lnTo>
                  <a:lnTo>
                    <a:pt x="599" y="226"/>
                  </a:lnTo>
                  <a:lnTo>
                    <a:pt x="578" y="206"/>
                  </a:lnTo>
                  <a:lnTo>
                    <a:pt x="554" y="191"/>
                  </a:lnTo>
                  <a:lnTo>
                    <a:pt x="528" y="179"/>
                  </a:lnTo>
                  <a:lnTo>
                    <a:pt x="501" y="170"/>
                  </a:lnTo>
                  <a:lnTo>
                    <a:pt x="472" y="164"/>
                  </a:lnTo>
                  <a:lnTo>
                    <a:pt x="442" y="160"/>
                  </a:lnTo>
                  <a:lnTo>
                    <a:pt x="412" y="159"/>
                  </a:lnTo>
                  <a:lnTo>
                    <a:pt x="385" y="160"/>
                  </a:lnTo>
                  <a:lnTo>
                    <a:pt x="358" y="162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1"/>
                  </a:lnTo>
                  <a:lnTo>
                    <a:pt x="257" y="193"/>
                  </a:lnTo>
                  <a:lnTo>
                    <a:pt x="237" y="207"/>
                  </a:lnTo>
                  <a:lnTo>
                    <a:pt x="220" y="225"/>
                  </a:lnTo>
                  <a:lnTo>
                    <a:pt x="207" y="246"/>
                  </a:lnTo>
                  <a:lnTo>
                    <a:pt x="200" y="269"/>
                  </a:lnTo>
                  <a:lnTo>
                    <a:pt x="197" y="298"/>
                  </a:lnTo>
                  <a:lnTo>
                    <a:pt x="200" y="324"/>
                  </a:lnTo>
                  <a:lnTo>
                    <a:pt x="207" y="347"/>
                  </a:lnTo>
                  <a:lnTo>
                    <a:pt x="220" y="367"/>
                  </a:lnTo>
                  <a:lnTo>
                    <a:pt x="236" y="384"/>
                  </a:lnTo>
                  <a:lnTo>
                    <a:pt x="256" y="400"/>
                  </a:lnTo>
                  <a:lnTo>
                    <a:pt x="278" y="414"/>
                  </a:lnTo>
                  <a:lnTo>
                    <a:pt x="304" y="426"/>
                  </a:lnTo>
                  <a:lnTo>
                    <a:pt x="333" y="436"/>
                  </a:lnTo>
                  <a:lnTo>
                    <a:pt x="363" y="446"/>
                  </a:lnTo>
                  <a:lnTo>
                    <a:pt x="395" y="455"/>
                  </a:lnTo>
                  <a:lnTo>
                    <a:pt x="427" y="464"/>
                  </a:lnTo>
                  <a:lnTo>
                    <a:pt x="461" y="471"/>
                  </a:lnTo>
                  <a:lnTo>
                    <a:pt x="495" y="479"/>
                  </a:lnTo>
                  <a:lnTo>
                    <a:pt x="528" y="488"/>
                  </a:lnTo>
                  <a:lnTo>
                    <a:pt x="564" y="496"/>
                  </a:lnTo>
                  <a:lnTo>
                    <a:pt x="599" y="506"/>
                  </a:lnTo>
                  <a:lnTo>
                    <a:pt x="634" y="517"/>
                  </a:lnTo>
                  <a:lnTo>
                    <a:pt x="666" y="530"/>
                  </a:lnTo>
                  <a:lnTo>
                    <a:pt x="699" y="544"/>
                  </a:lnTo>
                  <a:lnTo>
                    <a:pt x="728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3" y="623"/>
                  </a:lnTo>
                  <a:lnTo>
                    <a:pt x="823" y="651"/>
                  </a:lnTo>
                  <a:lnTo>
                    <a:pt x="838" y="682"/>
                  </a:lnTo>
                  <a:lnTo>
                    <a:pt x="849" y="717"/>
                  </a:lnTo>
                  <a:lnTo>
                    <a:pt x="856" y="754"/>
                  </a:lnTo>
                  <a:lnTo>
                    <a:pt x="859" y="798"/>
                  </a:lnTo>
                  <a:lnTo>
                    <a:pt x="856" y="844"/>
                  </a:lnTo>
                  <a:lnTo>
                    <a:pt x="849" y="887"/>
                  </a:lnTo>
                  <a:lnTo>
                    <a:pt x="837" y="926"/>
                  </a:lnTo>
                  <a:lnTo>
                    <a:pt x="820" y="961"/>
                  </a:lnTo>
                  <a:lnTo>
                    <a:pt x="801" y="992"/>
                  </a:lnTo>
                  <a:lnTo>
                    <a:pt x="777" y="1021"/>
                  </a:lnTo>
                  <a:lnTo>
                    <a:pt x="751" y="1046"/>
                  </a:lnTo>
                  <a:lnTo>
                    <a:pt x="721" y="1067"/>
                  </a:lnTo>
                  <a:lnTo>
                    <a:pt x="689" y="1086"/>
                  </a:lnTo>
                  <a:lnTo>
                    <a:pt x="655" y="1100"/>
                  </a:lnTo>
                  <a:lnTo>
                    <a:pt x="619" y="1114"/>
                  </a:lnTo>
                  <a:lnTo>
                    <a:pt x="583" y="1124"/>
                  </a:lnTo>
                  <a:lnTo>
                    <a:pt x="544" y="1132"/>
                  </a:lnTo>
                  <a:lnTo>
                    <a:pt x="506" y="1138"/>
                  </a:lnTo>
                  <a:lnTo>
                    <a:pt x="467" y="1140"/>
                  </a:lnTo>
                  <a:lnTo>
                    <a:pt x="429" y="1142"/>
                  </a:lnTo>
                  <a:lnTo>
                    <a:pt x="384" y="1140"/>
                  </a:lnTo>
                  <a:lnTo>
                    <a:pt x="339" y="1137"/>
                  </a:lnTo>
                  <a:lnTo>
                    <a:pt x="297" y="1129"/>
                  </a:lnTo>
                  <a:lnTo>
                    <a:pt x="257" y="1119"/>
                  </a:lnTo>
                  <a:lnTo>
                    <a:pt x="218" y="1105"/>
                  </a:lnTo>
                  <a:lnTo>
                    <a:pt x="182" y="1089"/>
                  </a:lnTo>
                  <a:lnTo>
                    <a:pt x="149" y="1069"/>
                  </a:lnTo>
                  <a:lnTo>
                    <a:pt x="118" y="1046"/>
                  </a:lnTo>
                  <a:lnTo>
                    <a:pt x="89" y="1020"/>
                  </a:lnTo>
                  <a:lnTo>
                    <a:pt x="64" y="988"/>
                  </a:lnTo>
                  <a:lnTo>
                    <a:pt x="43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3" y="824"/>
                  </a:lnTo>
                  <a:lnTo>
                    <a:pt x="0" y="773"/>
                  </a:lnTo>
                  <a:lnTo>
                    <a:pt x="166" y="773"/>
                  </a:lnTo>
                  <a:lnTo>
                    <a:pt x="170" y="810"/>
                  </a:lnTo>
                  <a:lnTo>
                    <a:pt x="179" y="844"/>
                  </a:lnTo>
                  <a:lnTo>
                    <a:pt x="191" y="872"/>
                  </a:lnTo>
                  <a:lnTo>
                    <a:pt x="209" y="899"/>
                  </a:lnTo>
                  <a:lnTo>
                    <a:pt x="230" y="920"/>
                  </a:lnTo>
                  <a:lnTo>
                    <a:pt x="253" y="939"/>
                  </a:lnTo>
                  <a:lnTo>
                    <a:pt x="279" y="952"/>
                  </a:lnTo>
                  <a:lnTo>
                    <a:pt x="308" y="965"/>
                  </a:lnTo>
                  <a:lnTo>
                    <a:pt x="339" y="973"/>
                  </a:lnTo>
                  <a:lnTo>
                    <a:pt x="370" y="978"/>
                  </a:lnTo>
                  <a:lnTo>
                    <a:pt x="404" y="982"/>
                  </a:lnTo>
                  <a:lnTo>
                    <a:pt x="439" y="983"/>
                  </a:lnTo>
                  <a:lnTo>
                    <a:pt x="462" y="983"/>
                  </a:lnTo>
                  <a:lnTo>
                    <a:pt x="488" y="981"/>
                  </a:lnTo>
                  <a:lnTo>
                    <a:pt x="513" y="978"/>
                  </a:lnTo>
                  <a:lnTo>
                    <a:pt x="539" y="973"/>
                  </a:lnTo>
                  <a:lnTo>
                    <a:pt x="564" y="967"/>
                  </a:lnTo>
                  <a:lnTo>
                    <a:pt x="588" y="958"/>
                  </a:lnTo>
                  <a:lnTo>
                    <a:pt x="610" y="947"/>
                  </a:lnTo>
                  <a:lnTo>
                    <a:pt x="630" y="935"/>
                  </a:lnTo>
                  <a:lnTo>
                    <a:pt x="648" y="919"/>
                  </a:lnTo>
                  <a:lnTo>
                    <a:pt x="662" y="899"/>
                  </a:lnTo>
                  <a:lnTo>
                    <a:pt x="674" y="876"/>
                  </a:lnTo>
                  <a:lnTo>
                    <a:pt x="680" y="850"/>
                  </a:lnTo>
                  <a:lnTo>
                    <a:pt x="682" y="821"/>
                  </a:lnTo>
                  <a:lnTo>
                    <a:pt x="680" y="790"/>
                  </a:lnTo>
                  <a:lnTo>
                    <a:pt x="671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19" y="704"/>
                  </a:lnTo>
                  <a:lnTo>
                    <a:pt x="594" y="689"/>
                  </a:lnTo>
                  <a:lnTo>
                    <a:pt x="565" y="676"/>
                  </a:lnTo>
                  <a:lnTo>
                    <a:pt x="534" y="664"/>
                  </a:lnTo>
                  <a:lnTo>
                    <a:pt x="501" y="654"/>
                  </a:lnTo>
                  <a:lnTo>
                    <a:pt x="465" y="644"/>
                  </a:lnTo>
                  <a:lnTo>
                    <a:pt x="427" y="636"/>
                  </a:lnTo>
                  <a:lnTo>
                    <a:pt x="390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2" y="600"/>
                  </a:lnTo>
                  <a:lnTo>
                    <a:pt x="247" y="588"/>
                  </a:lnTo>
                  <a:lnTo>
                    <a:pt x="215" y="576"/>
                  </a:lnTo>
                  <a:lnTo>
                    <a:pt x="182" y="562"/>
                  </a:lnTo>
                  <a:lnTo>
                    <a:pt x="153" y="546"/>
                  </a:lnTo>
                  <a:lnTo>
                    <a:pt x="125" y="527"/>
                  </a:lnTo>
                  <a:lnTo>
                    <a:pt x="99" y="506"/>
                  </a:lnTo>
                  <a:lnTo>
                    <a:pt x="77" y="483"/>
                  </a:lnTo>
                  <a:lnTo>
                    <a:pt x="58" y="456"/>
                  </a:lnTo>
                  <a:lnTo>
                    <a:pt x="42" y="425"/>
                  </a:lnTo>
                  <a:lnTo>
                    <a:pt x="31" y="392"/>
                  </a:lnTo>
                  <a:lnTo>
                    <a:pt x="23" y="353"/>
                  </a:lnTo>
                  <a:lnTo>
                    <a:pt x="21" y="311"/>
                  </a:lnTo>
                  <a:lnTo>
                    <a:pt x="23" y="268"/>
                  </a:lnTo>
                  <a:lnTo>
                    <a:pt x="31" y="230"/>
                  </a:lnTo>
                  <a:lnTo>
                    <a:pt x="43" y="193"/>
                  </a:lnTo>
                  <a:lnTo>
                    <a:pt x="59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0" y="46"/>
                  </a:lnTo>
                  <a:lnTo>
                    <a:pt x="222" y="32"/>
                  </a:lnTo>
                  <a:lnTo>
                    <a:pt x="257" y="20"/>
                  </a:lnTo>
                  <a:lnTo>
                    <a:pt x="292" y="12"/>
                  </a:lnTo>
                  <a:lnTo>
                    <a:pt x="328" y="5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/>
            <p:cNvSpPr>
              <a:spLocks noEditPoints="1"/>
            </p:cNvSpPr>
            <p:nvPr userDrawn="1"/>
          </p:nvSpPr>
          <p:spPr bwMode="auto">
            <a:xfrm>
              <a:off x="7897813" y="4959350"/>
              <a:ext cx="377825" cy="452438"/>
            </a:xfrm>
            <a:custGeom>
              <a:avLst/>
              <a:gdLst>
                <a:gd name="T0" fmla="*/ 631 w 951"/>
                <a:gd name="T1" fmla="*/ 580 h 1142"/>
                <a:gd name="T2" fmla="*/ 531 w 951"/>
                <a:gd name="T3" fmla="*/ 605 h 1142"/>
                <a:gd name="T4" fmla="*/ 418 w 951"/>
                <a:gd name="T5" fmla="*/ 621 h 1142"/>
                <a:gd name="T6" fmla="*/ 322 w 951"/>
                <a:gd name="T7" fmla="*/ 641 h 1142"/>
                <a:gd name="T8" fmla="*/ 248 w 951"/>
                <a:gd name="T9" fmla="*/ 676 h 1142"/>
                <a:gd name="T10" fmla="*/ 197 w 951"/>
                <a:gd name="T11" fmla="*/ 733 h 1142"/>
                <a:gd name="T12" fmla="*/ 177 w 951"/>
                <a:gd name="T13" fmla="*/ 823 h 1142"/>
                <a:gd name="T14" fmla="*/ 195 w 951"/>
                <a:gd name="T15" fmla="*/ 904 h 1142"/>
                <a:gd name="T16" fmla="*/ 246 w 951"/>
                <a:gd name="T17" fmla="*/ 953 h 1142"/>
                <a:gd name="T18" fmla="*/ 318 w 951"/>
                <a:gd name="T19" fmla="*/ 978 h 1142"/>
                <a:gd name="T20" fmla="*/ 420 w 951"/>
                <a:gd name="T21" fmla="*/ 981 h 1142"/>
                <a:gd name="T22" fmla="*/ 540 w 951"/>
                <a:gd name="T23" fmla="*/ 947 h 1142"/>
                <a:gd name="T24" fmla="*/ 621 w 951"/>
                <a:gd name="T25" fmla="*/ 885 h 1142"/>
                <a:gd name="T26" fmla="*/ 667 w 951"/>
                <a:gd name="T27" fmla="*/ 810 h 1142"/>
                <a:gd name="T28" fmla="*/ 682 w 951"/>
                <a:gd name="T29" fmla="*/ 737 h 1142"/>
                <a:gd name="T30" fmla="*/ 502 w 951"/>
                <a:gd name="T31" fmla="*/ 0 h 1142"/>
                <a:gd name="T32" fmla="*/ 604 w 951"/>
                <a:gd name="T33" fmla="*/ 12 h 1142"/>
                <a:gd name="T34" fmla="*/ 699 w 951"/>
                <a:gd name="T35" fmla="*/ 40 h 1142"/>
                <a:gd name="T36" fmla="*/ 776 w 951"/>
                <a:gd name="T37" fmla="*/ 93 h 1142"/>
                <a:gd name="T38" fmla="*/ 828 w 951"/>
                <a:gd name="T39" fmla="*/ 177 h 1142"/>
                <a:gd name="T40" fmla="*/ 848 w 951"/>
                <a:gd name="T41" fmla="*/ 299 h 1142"/>
                <a:gd name="T42" fmla="*/ 849 w 951"/>
                <a:gd name="T43" fmla="*/ 916 h 1142"/>
                <a:gd name="T44" fmla="*/ 861 w 951"/>
                <a:gd name="T45" fmla="*/ 967 h 1142"/>
                <a:gd name="T46" fmla="*/ 900 w 951"/>
                <a:gd name="T47" fmla="*/ 983 h 1142"/>
                <a:gd name="T48" fmla="*/ 951 w 951"/>
                <a:gd name="T49" fmla="*/ 972 h 1142"/>
                <a:gd name="T50" fmla="*/ 900 w 951"/>
                <a:gd name="T51" fmla="*/ 1134 h 1142"/>
                <a:gd name="T52" fmla="*/ 805 w 951"/>
                <a:gd name="T53" fmla="*/ 1139 h 1142"/>
                <a:gd name="T54" fmla="*/ 739 w 951"/>
                <a:gd name="T55" fmla="*/ 1110 h 1142"/>
                <a:gd name="T56" fmla="*/ 699 w 951"/>
                <a:gd name="T57" fmla="*/ 1042 h 1142"/>
                <a:gd name="T58" fmla="*/ 655 w 951"/>
                <a:gd name="T59" fmla="*/ 1013 h 1142"/>
                <a:gd name="T60" fmla="*/ 531 w 951"/>
                <a:gd name="T61" fmla="*/ 1100 h 1142"/>
                <a:gd name="T62" fmla="*/ 387 w 951"/>
                <a:gd name="T63" fmla="*/ 1139 h 1142"/>
                <a:gd name="T64" fmla="*/ 253 w 951"/>
                <a:gd name="T65" fmla="*/ 1135 h 1142"/>
                <a:gd name="T66" fmla="*/ 144 w 951"/>
                <a:gd name="T67" fmla="*/ 1100 h 1142"/>
                <a:gd name="T68" fmla="*/ 61 w 951"/>
                <a:gd name="T69" fmla="*/ 1032 h 1142"/>
                <a:gd name="T70" fmla="*/ 11 w 951"/>
                <a:gd name="T71" fmla="*/ 927 h 1142"/>
                <a:gd name="T72" fmla="*/ 3 w 951"/>
                <a:gd name="T73" fmla="*/ 789 h 1142"/>
                <a:gd name="T74" fmla="*/ 34 w 951"/>
                <a:gd name="T75" fmla="*/ 676 h 1142"/>
                <a:gd name="T76" fmla="*/ 95 w 951"/>
                <a:gd name="T77" fmla="*/ 598 h 1142"/>
                <a:gd name="T78" fmla="*/ 178 w 951"/>
                <a:gd name="T79" fmla="*/ 549 h 1142"/>
                <a:gd name="T80" fmla="*/ 275 w 951"/>
                <a:gd name="T81" fmla="*/ 516 h 1142"/>
                <a:gd name="T82" fmla="*/ 382 w 951"/>
                <a:gd name="T83" fmla="*/ 493 h 1142"/>
                <a:gd name="T84" fmla="*/ 491 w 951"/>
                <a:gd name="T85" fmla="*/ 475 h 1142"/>
                <a:gd name="T86" fmla="*/ 582 w 951"/>
                <a:gd name="T87" fmla="*/ 456 h 1142"/>
                <a:gd name="T88" fmla="*/ 648 w 951"/>
                <a:gd name="T89" fmla="*/ 424 h 1142"/>
                <a:gd name="T90" fmla="*/ 682 w 951"/>
                <a:gd name="T91" fmla="*/ 367 h 1142"/>
                <a:gd name="T92" fmla="*/ 675 w 951"/>
                <a:gd name="T93" fmla="*/ 277 h 1142"/>
                <a:gd name="T94" fmla="*/ 638 w 951"/>
                <a:gd name="T95" fmla="*/ 212 h 1142"/>
                <a:gd name="T96" fmla="*/ 580 w 951"/>
                <a:gd name="T97" fmla="*/ 176 h 1142"/>
                <a:gd name="T98" fmla="*/ 507 w 951"/>
                <a:gd name="T99" fmla="*/ 161 h 1142"/>
                <a:gd name="T100" fmla="*/ 424 w 951"/>
                <a:gd name="T101" fmla="*/ 160 h 1142"/>
                <a:gd name="T102" fmla="*/ 332 w 951"/>
                <a:gd name="T103" fmla="*/ 176 h 1142"/>
                <a:gd name="T104" fmla="*/ 261 w 951"/>
                <a:gd name="T105" fmla="*/ 220 h 1142"/>
                <a:gd name="T106" fmla="*/ 218 w 951"/>
                <a:gd name="T107" fmla="*/ 294 h 1142"/>
                <a:gd name="T108" fmla="*/ 40 w 951"/>
                <a:gd name="T109" fmla="*/ 365 h 1142"/>
                <a:gd name="T110" fmla="*/ 66 w 951"/>
                <a:gd name="T111" fmla="*/ 223 h 1142"/>
                <a:gd name="T112" fmla="*/ 129 w 951"/>
                <a:gd name="T113" fmla="*/ 120 h 1142"/>
                <a:gd name="T114" fmla="*/ 223 w 951"/>
                <a:gd name="T115" fmla="*/ 51 h 1142"/>
                <a:gd name="T116" fmla="*/ 338 w 951"/>
                <a:gd name="T117" fmla="*/ 13 h 1142"/>
                <a:gd name="T118" fmla="*/ 469 w 951"/>
                <a:gd name="T119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51" h="1142">
                  <a:moveTo>
                    <a:pt x="682" y="554"/>
                  </a:moveTo>
                  <a:lnTo>
                    <a:pt x="658" y="569"/>
                  </a:lnTo>
                  <a:lnTo>
                    <a:pt x="631" y="580"/>
                  </a:lnTo>
                  <a:lnTo>
                    <a:pt x="599" y="590"/>
                  </a:lnTo>
                  <a:lnTo>
                    <a:pt x="566" y="597"/>
                  </a:lnTo>
                  <a:lnTo>
                    <a:pt x="531" y="605"/>
                  </a:lnTo>
                  <a:lnTo>
                    <a:pt x="494" y="610"/>
                  </a:lnTo>
                  <a:lnTo>
                    <a:pt x="455" y="615"/>
                  </a:lnTo>
                  <a:lnTo>
                    <a:pt x="418" y="621"/>
                  </a:lnTo>
                  <a:lnTo>
                    <a:pt x="381" y="627"/>
                  </a:lnTo>
                  <a:lnTo>
                    <a:pt x="351" y="633"/>
                  </a:lnTo>
                  <a:lnTo>
                    <a:pt x="322" y="641"/>
                  </a:lnTo>
                  <a:lnTo>
                    <a:pt x="296" y="651"/>
                  </a:lnTo>
                  <a:lnTo>
                    <a:pt x="271" y="662"/>
                  </a:lnTo>
                  <a:lnTo>
                    <a:pt x="248" y="676"/>
                  </a:lnTo>
                  <a:lnTo>
                    <a:pt x="228" y="692"/>
                  </a:lnTo>
                  <a:lnTo>
                    <a:pt x="210" y="711"/>
                  </a:lnTo>
                  <a:lnTo>
                    <a:pt x="197" y="733"/>
                  </a:lnTo>
                  <a:lnTo>
                    <a:pt x="185" y="759"/>
                  </a:lnTo>
                  <a:lnTo>
                    <a:pt x="179" y="789"/>
                  </a:lnTo>
                  <a:lnTo>
                    <a:pt x="177" y="823"/>
                  </a:lnTo>
                  <a:lnTo>
                    <a:pt x="179" y="854"/>
                  </a:lnTo>
                  <a:lnTo>
                    <a:pt x="185" y="880"/>
                  </a:lnTo>
                  <a:lnTo>
                    <a:pt x="195" y="904"/>
                  </a:lnTo>
                  <a:lnTo>
                    <a:pt x="210" y="924"/>
                  </a:lnTo>
                  <a:lnTo>
                    <a:pt x="226" y="940"/>
                  </a:lnTo>
                  <a:lnTo>
                    <a:pt x="246" y="953"/>
                  </a:lnTo>
                  <a:lnTo>
                    <a:pt x="269" y="965"/>
                  </a:lnTo>
                  <a:lnTo>
                    <a:pt x="292" y="973"/>
                  </a:lnTo>
                  <a:lnTo>
                    <a:pt x="318" y="978"/>
                  </a:lnTo>
                  <a:lnTo>
                    <a:pt x="345" y="982"/>
                  </a:lnTo>
                  <a:lnTo>
                    <a:pt x="372" y="983"/>
                  </a:lnTo>
                  <a:lnTo>
                    <a:pt x="420" y="981"/>
                  </a:lnTo>
                  <a:lnTo>
                    <a:pt x="464" y="973"/>
                  </a:lnTo>
                  <a:lnTo>
                    <a:pt x="504" y="962"/>
                  </a:lnTo>
                  <a:lnTo>
                    <a:pt x="540" y="947"/>
                  </a:lnTo>
                  <a:lnTo>
                    <a:pt x="570" y="929"/>
                  </a:lnTo>
                  <a:lnTo>
                    <a:pt x="597" y="909"/>
                  </a:lnTo>
                  <a:lnTo>
                    <a:pt x="621" y="885"/>
                  </a:lnTo>
                  <a:lnTo>
                    <a:pt x="639" y="861"/>
                  </a:lnTo>
                  <a:lnTo>
                    <a:pt x="655" y="836"/>
                  </a:lnTo>
                  <a:lnTo>
                    <a:pt x="667" y="810"/>
                  </a:lnTo>
                  <a:lnTo>
                    <a:pt x="675" y="785"/>
                  </a:lnTo>
                  <a:lnTo>
                    <a:pt x="680" y="760"/>
                  </a:lnTo>
                  <a:lnTo>
                    <a:pt x="682" y="737"/>
                  </a:lnTo>
                  <a:lnTo>
                    <a:pt x="682" y="554"/>
                  </a:lnTo>
                  <a:close/>
                  <a:moveTo>
                    <a:pt x="469" y="0"/>
                  </a:moveTo>
                  <a:lnTo>
                    <a:pt x="502" y="0"/>
                  </a:lnTo>
                  <a:lnTo>
                    <a:pt x="537" y="3"/>
                  </a:lnTo>
                  <a:lnTo>
                    <a:pt x="571" y="7"/>
                  </a:lnTo>
                  <a:lnTo>
                    <a:pt x="604" y="12"/>
                  </a:lnTo>
                  <a:lnTo>
                    <a:pt x="637" y="18"/>
                  </a:lnTo>
                  <a:lnTo>
                    <a:pt x="669" y="28"/>
                  </a:lnTo>
                  <a:lnTo>
                    <a:pt x="699" y="40"/>
                  </a:lnTo>
                  <a:lnTo>
                    <a:pt x="726" y="54"/>
                  </a:lnTo>
                  <a:lnTo>
                    <a:pt x="752" y="73"/>
                  </a:lnTo>
                  <a:lnTo>
                    <a:pt x="776" y="93"/>
                  </a:lnTo>
                  <a:lnTo>
                    <a:pt x="797" y="117"/>
                  </a:lnTo>
                  <a:lnTo>
                    <a:pt x="815" y="145"/>
                  </a:lnTo>
                  <a:lnTo>
                    <a:pt x="828" y="177"/>
                  </a:lnTo>
                  <a:lnTo>
                    <a:pt x="840" y="213"/>
                  </a:lnTo>
                  <a:lnTo>
                    <a:pt x="846" y="255"/>
                  </a:lnTo>
                  <a:lnTo>
                    <a:pt x="848" y="299"/>
                  </a:lnTo>
                  <a:lnTo>
                    <a:pt x="848" y="861"/>
                  </a:lnTo>
                  <a:lnTo>
                    <a:pt x="848" y="890"/>
                  </a:lnTo>
                  <a:lnTo>
                    <a:pt x="849" y="916"/>
                  </a:lnTo>
                  <a:lnTo>
                    <a:pt x="851" y="937"/>
                  </a:lnTo>
                  <a:lnTo>
                    <a:pt x="854" y="953"/>
                  </a:lnTo>
                  <a:lnTo>
                    <a:pt x="861" y="967"/>
                  </a:lnTo>
                  <a:lnTo>
                    <a:pt x="871" y="976"/>
                  </a:lnTo>
                  <a:lnTo>
                    <a:pt x="883" y="981"/>
                  </a:lnTo>
                  <a:lnTo>
                    <a:pt x="900" y="983"/>
                  </a:lnTo>
                  <a:lnTo>
                    <a:pt x="915" y="982"/>
                  </a:lnTo>
                  <a:lnTo>
                    <a:pt x="933" y="980"/>
                  </a:lnTo>
                  <a:lnTo>
                    <a:pt x="951" y="972"/>
                  </a:lnTo>
                  <a:lnTo>
                    <a:pt x="951" y="1112"/>
                  </a:lnTo>
                  <a:lnTo>
                    <a:pt x="928" y="1124"/>
                  </a:lnTo>
                  <a:lnTo>
                    <a:pt x="900" y="1134"/>
                  </a:lnTo>
                  <a:lnTo>
                    <a:pt x="869" y="1139"/>
                  </a:lnTo>
                  <a:lnTo>
                    <a:pt x="832" y="1142"/>
                  </a:lnTo>
                  <a:lnTo>
                    <a:pt x="805" y="1139"/>
                  </a:lnTo>
                  <a:lnTo>
                    <a:pt x="780" y="1134"/>
                  </a:lnTo>
                  <a:lnTo>
                    <a:pt x="757" y="1124"/>
                  </a:lnTo>
                  <a:lnTo>
                    <a:pt x="739" y="1110"/>
                  </a:lnTo>
                  <a:lnTo>
                    <a:pt x="721" y="1092"/>
                  </a:lnTo>
                  <a:lnTo>
                    <a:pt x="709" y="1069"/>
                  </a:lnTo>
                  <a:lnTo>
                    <a:pt x="699" y="1042"/>
                  </a:lnTo>
                  <a:lnTo>
                    <a:pt x="694" y="1010"/>
                  </a:lnTo>
                  <a:lnTo>
                    <a:pt x="692" y="972"/>
                  </a:lnTo>
                  <a:lnTo>
                    <a:pt x="655" y="1013"/>
                  </a:lnTo>
                  <a:lnTo>
                    <a:pt x="617" y="1048"/>
                  </a:lnTo>
                  <a:lnTo>
                    <a:pt x="576" y="1077"/>
                  </a:lnTo>
                  <a:lnTo>
                    <a:pt x="531" y="1100"/>
                  </a:lnTo>
                  <a:lnTo>
                    <a:pt x="485" y="1119"/>
                  </a:lnTo>
                  <a:lnTo>
                    <a:pt x="438" y="1132"/>
                  </a:lnTo>
                  <a:lnTo>
                    <a:pt x="387" y="1139"/>
                  </a:lnTo>
                  <a:lnTo>
                    <a:pt x="336" y="1142"/>
                  </a:lnTo>
                  <a:lnTo>
                    <a:pt x="294" y="1140"/>
                  </a:lnTo>
                  <a:lnTo>
                    <a:pt x="253" y="1135"/>
                  </a:lnTo>
                  <a:lnTo>
                    <a:pt x="214" y="1127"/>
                  </a:lnTo>
                  <a:lnTo>
                    <a:pt x="178" y="1115"/>
                  </a:lnTo>
                  <a:lnTo>
                    <a:pt x="144" y="1100"/>
                  </a:lnTo>
                  <a:lnTo>
                    <a:pt x="113" y="1081"/>
                  </a:lnTo>
                  <a:lnTo>
                    <a:pt x="85" y="1058"/>
                  </a:lnTo>
                  <a:lnTo>
                    <a:pt x="61" y="1032"/>
                  </a:lnTo>
                  <a:lnTo>
                    <a:pt x="40" y="1001"/>
                  </a:lnTo>
                  <a:lnTo>
                    <a:pt x="22" y="966"/>
                  </a:lnTo>
                  <a:lnTo>
                    <a:pt x="11" y="927"/>
                  </a:lnTo>
                  <a:lnTo>
                    <a:pt x="3" y="884"/>
                  </a:lnTo>
                  <a:lnTo>
                    <a:pt x="0" y="835"/>
                  </a:lnTo>
                  <a:lnTo>
                    <a:pt x="3" y="789"/>
                  </a:lnTo>
                  <a:lnTo>
                    <a:pt x="9" y="747"/>
                  </a:lnTo>
                  <a:lnTo>
                    <a:pt x="20" y="709"/>
                  </a:lnTo>
                  <a:lnTo>
                    <a:pt x="34" y="676"/>
                  </a:lnTo>
                  <a:lnTo>
                    <a:pt x="51" y="647"/>
                  </a:lnTo>
                  <a:lnTo>
                    <a:pt x="71" y="621"/>
                  </a:lnTo>
                  <a:lnTo>
                    <a:pt x="95" y="598"/>
                  </a:lnTo>
                  <a:lnTo>
                    <a:pt x="121" y="580"/>
                  </a:lnTo>
                  <a:lnTo>
                    <a:pt x="148" y="562"/>
                  </a:lnTo>
                  <a:lnTo>
                    <a:pt x="178" y="549"/>
                  </a:lnTo>
                  <a:lnTo>
                    <a:pt x="209" y="536"/>
                  </a:lnTo>
                  <a:lnTo>
                    <a:pt x="241" y="525"/>
                  </a:lnTo>
                  <a:lnTo>
                    <a:pt x="275" y="516"/>
                  </a:lnTo>
                  <a:lnTo>
                    <a:pt x="308" y="507"/>
                  </a:lnTo>
                  <a:lnTo>
                    <a:pt x="343" y="500"/>
                  </a:lnTo>
                  <a:lnTo>
                    <a:pt x="382" y="493"/>
                  </a:lnTo>
                  <a:lnTo>
                    <a:pt x="420" y="486"/>
                  </a:lnTo>
                  <a:lnTo>
                    <a:pt x="456" y="481"/>
                  </a:lnTo>
                  <a:lnTo>
                    <a:pt x="491" y="475"/>
                  </a:lnTo>
                  <a:lnTo>
                    <a:pt x="524" y="470"/>
                  </a:lnTo>
                  <a:lnTo>
                    <a:pt x="555" y="464"/>
                  </a:lnTo>
                  <a:lnTo>
                    <a:pt x="582" y="456"/>
                  </a:lnTo>
                  <a:lnTo>
                    <a:pt x="607" y="448"/>
                  </a:lnTo>
                  <a:lnTo>
                    <a:pt x="629" y="438"/>
                  </a:lnTo>
                  <a:lnTo>
                    <a:pt x="648" y="424"/>
                  </a:lnTo>
                  <a:lnTo>
                    <a:pt x="663" y="408"/>
                  </a:lnTo>
                  <a:lnTo>
                    <a:pt x="674" y="389"/>
                  </a:lnTo>
                  <a:lnTo>
                    <a:pt x="682" y="367"/>
                  </a:lnTo>
                  <a:lnTo>
                    <a:pt x="684" y="341"/>
                  </a:lnTo>
                  <a:lnTo>
                    <a:pt x="682" y="307"/>
                  </a:lnTo>
                  <a:lnTo>
                    <a:pt x="675" y="277"/>
                  </a:lnTo>
                  <a:lnTo>
                    <a:pt x="667" y="252"/>
                  </a:lnTo>
                  <a:lnTo>
                    <a:pt x="654" y="230"/>
                  </a:lnTo>
                  <a:lnTo>
                    <a:pt x="638" y="212"/>
                  </a:lnTo>
                  <a:lnTo>
                    <a:pt x="621" y="197"/>
                  </a:lnTo>
                  <a:lnTo>
                    <a:pt x="601" y="185"/>
                  </a:lnTo>
                  <a:lnTo>
                    <a:pt x="580" y="176"/>
                  </a:lnTo>
                  <a:lnTo>
                    <a:pt x="556" y="169"/>
                  </a:lnTo>
                  <a:lnTo>
                    <a:pt x="532" y="164"/>
                  </a:lnTo>
                  <a:lnTo>
                    <a:pt x="507" y="161"/>
                  </a:lnTo>
                  <a:lnTo>
                    <a:pt x="483" y="159"/>
                  </a:lnTo>
                  <a:lnTo>
                    <a:pt x="459" y="159"/>
                  </a:lnTo>
                  <a:lnTo>
                    <a:pt x="424" y="160"/>
                  </a:lnTo>
                  <a:lnTo>
                    <a:pt x="392" y="162"/>
                  </a:lnTo>
                  <a:lnTo>
                    <a:pt x="361" y="169"/>
                  </a:lnTo>
                  <a:lnTo>
                    <a:pt x="332" y="176"/>
                  </a:lnTo>
                  <a:lnTo>
                    <a:pt x="306" y="187"/>
                  </a:lnTo>
                  <a:lnTo>
                    <a:pt x="282" y="202"/>
                  </a:lnTo>
                  <a:lnTo>
                    <a:pt x="261" y="220"/>
                  </a:lnTo>
                  <a:lnTo>
                    <a:pt x="244" y="241"/>
                  </a:lnTo>
                  <a:lnTo>
                    <a:pt x="229" y="266"/>
                  </a:lnTo>
                  <a:lnTo>
                    <a:pt x="218" y="294"/>
                  </a:lnTo>
                  <a:lnTo>
                    <a:pt x="210" y="328"/>
                  </a:lnTo>
                  <a:lnTo>
                    <a:pt x="206" y="365"/>
                  </a:lnTo>
                  <a:lnTo>
                    <a:pt x="40" y="365"/>
                  </a:lnTo>
                  <a:lnTo>
                    <a:pt x="44" y="313"/>
                  </a:lnTo>
                  <a:lnTo>
                    <a:pt x="52" y="267"/>
                  </a:lnTo>
                  <a:lnTo>
                    <a:pt x="66" y="223"/>
                  </a:lnTo>
                  <a:lnTo>
                    <a:pt x="83" y="185"/>
                  </a:lnTo>
                  <a:lnTo>
                    <a:pt x="105" y="151"/>
                  </a:lnTo>
                  <a:lnTo>
                    <a:pt x="129" y="120"/>
                  </a:lnTo>
                  <a:lnTo>
                    <a:pt x="158" y="94"/>
                  </a:lnTo>
                  <a:lnTo>
                    <a:pt x="189" y="70"/>
                  </a:lnTo>
                  <a:lnTo>
                    <a:pt x="223" y="51"/>
                  </a:lnTo>
                  <a:lnTo>
                    <a:pt x="259" y="35"/>
                  </a:lnTo>
                  <a:lnTo>
                    <a:pt x="297" y="22"/>
                  </a:lnTo>
                  <a:lnTo>
                    <a:pt x="338" y="13"/>
                  </a:lnTo>
                  <a:lnTo>
                    <a:pt x="381" y="5"/>
                  </a:lnTo>
                  <a:lnTo>
                    <a:pt x="424" y="2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8270875" y="4959350"/>
              <a:ext cx="341313" cy="452438"/>
            </a:xfrm>
            <a:custGeom>
              <a:avLst/>
              <a:gdLst>
                <a:gd name="T0" fmla="*/ 487 w 860"/>
                <a:gd name="T1" fmla="*/ 4 h 1142"/>
                <a:gd name="T2" fmla="*/ 603 w 860"/>
                <a:gd name="T3" fmla="*/ 30 h 1142"/>
                <a:gd name="T4" fmla="*/ 700 w 860"/>
                <a:gd name="T5" fmla="*/ 83 h 1142"/>
                <a:gd name="T6" fmla="*/ 771 w 860"/>
                <a:gd name="T7" fmla="*/ 167 h 1142"/>
                <a:gd name="T8" fmla="*/ 810 w 860"/>
                <a:gd name="T9" fmla="*/ 292 h 1142"/>
                <a:gd name="T10" fmla="*/ 642 w 860"/>
                <a:gd name="T11" fmla="*/ 307 h 1142"/>
                <a:gd name="T12" fmla="*/ 600 w 860"/>
                <a:gd name="T13" fmla="*/ 226 h 1142"/>
                <a:gd name="T14" fmla="*/ 529 w 860"/>
                <a:gd name="T15" fmla="*/ 179 h 1142"/>
                <a:gd name="T16" fmla="*/ 443 w 860"/>
                <a:gd name="T17" fmla="*/ 160 h 1142"/>
                <a:gd name="T18" fmla="*/ 358 w 860"/>
                <a:gd name="T19" fmla="*/ 162 h 1142"/>
                <a:gd name="T20" fmla="*/ 280 w 860"/>
                <a:gd name="T21" fmla="*/ 181 h 1142"/>
                <a:gd name="T22" fmla="*/ 220 w 860"/>
                <a:gd name="T23" fmla="*/ 225 h 1142"/>
                <a:gd name="T24" fmla="*/ 198 w 860"/>
                <a:gd name="T25" fmla="*/ 298 h 1142"/>
                <a:gd name="T26" fmla="*/ 220 w 860"/>
                <a:gd name="T27" fmla="*/ 367 h 1142"/>
                <a:gd name="T28" fmla="*/ 279 w 860"/>
                <a:gd name="T29" fmla="*/ 414 h 1142"/>
                <a:gd name="T30" fmla="*/ 363 w 860"/>
                <a:gd name="T31" fmla="*/ 446 h 1142"/>
                <a:gd name="T32" fmla="*/ 462 w 860"/>
                <a:gd name="T33" fmla="*/ 471 h 1142"/>
                <a:gd name="T34" fmla="*/ 564 w 860"/>
                <a:gd name="T35" fmla="*/ 496 h 1142"/>
                <a:gd name="T36" fmla="*/ 667 w 860"/>
                <a:gd name="T37" fmla="*/ 530 h 1142"/>
                <a:gd name="T38" fmla="*/ 756 w 860"/>
                <a:gd name="T39" fmla="*/ 578 h 1142"/>
                <a:gd name="T40" fmla="*/ 824 w 860"/>
                <a:gd name="T41" fmla="*/ 651 h 1142"/>
                <a:gd name="T42" fmla="*/ 857 w 860"/>
                <a:gd name="T43" fmla="*/ 754 h 1142"/>
                <a:gd name="T44" fmla="*/ 850 w 860"/>
                <a:gd name="T45" fmla="*/ 887 h 1142"/>
                <a:gd name="T46" fmla="*/ 801 w 860"/>
                <a:gd name="T47" fmla="*/ 992 h 1142"/>
                <a:gd name="T48" fmla="*/ 722 w 860"/>
                <a:gd name="T49" fmla="*/ 1067 h 1142"/>
                <a:gd name="T50" fmla="*/ 620 w 860"/>
                <a:gd name="T51" fmla="*/ 1114 h 1142"/>
                <a:gd name="T52" fmla="*/ 506 w 860"/>
                <a:gd name="T53" fmla="*/ 1138 h 1142"/>
                <a:gd name="T54" fmla="*/ 383 w 860"/>
                <a:gd name="T55" fmla="*/ 1140 h 1142"/>
                <a:gd name="T56" fmla="*/ 258 w 860"/>
                <a:gd name="T57" fmla="*/ 1119 h 1142"/>
                <a:gd name="T58" fmla="*/ 148 w 860"/>
                <a:gd name="T59" fmla="*/ 1069 h 1142"/>
                <a:gd name="T60" fmla="*/ 65 w 860"/>
                <a:gd name="T61" fmla="*/ 988 h 1142"/>
                <a:gd name="T62" fmla="*/ 13 w 860"/>
                <a:gd name="T63" fmla="*/ 871 h 1142"/>
                <a:gd name="T64" fmla="*/ 167 w 860"/>
                <a:gd name="T65" fmla="*/ 773 h 1142"/>
                <a:gd name="T66" fmla="*/ 192 w 860"/>
                <a:gd name="T67" fmla="*/ 872 h 1142"/>
                <a:gd name="T68" fmla="*/ 253 w 860"/>
                <a:gd name="T69" fmla="*/ 939 h 1142"/>
                <a:gd name="T70" fmla="*/ 339 w 860"/>
                <a:gd name="T71" fmla="*/ 973 h 1142"/>
                <a:gd name="T72" fmla="*/ 438 w 860"/>
                <a:gd name="T73" fmla="*/ 983 h 1142"/>
                <a:gd name="T74" fmla="*/ 514 w 860"/>
                <a:gd name="T75" fmla="*/ 978 h 1142"/>
                <a:gd name="T76" fmla="*/ 588 w 860"/>
                <a:gd name="T77" fmla="*/ 958 h 1142"/>
                <a:gd name="T78" fmla="*/ 648 w 860"/>
                <a:gd name="T79" fmla="*/ 919 h 1142"/>
                <a:gd name="T80" fmla="*/ 681 w 860"/>
                <a:gd name="T81" fmla="*/ 850 h 1142"/>
                <a:gd name="T82" fmla="*/ 672 w 860"/>
                <a:gd name="T83" fmla="*/ 764 h 1142"/>
                <a:gd name="T84" fmla="*/ 620 w 860"/>
                <a:gd name="T85" fmla="*/ 704 h 1142"/>
                <a:gd name="T86" fmla="*/ 534 w 860"/>
                <a:gd name="T87" fmla="*/ 664 h 1142"/>
                <a:gd name="T88" fmla="*/ 428 w 860"/>
                <a:gd name="T89" fmla="*/ 636 h 1142"/>
                <a:gd name="T90" fmla="*/ 317 w 860"/>
                <a:gd name="T91" fmla="*/ 610 h 1142"/>
                <a:gd name="T92" fmla="*/ 215 w 860"/>
                <a:gd name="T93" fmla="*/ 576 h 1142"/>
                <a:gd name="T94" fmla="*/ 126 w 860"/>
                <a:gd name="T95" fmla="*/ 527 h 1142"/>
                <a:gd name="T96" fmla="*/ 59 w 860"/>
                <a:gd name="T97" fmla="*/ 456 h 1142"/>
                <a:gd name="T98" fmla="*/ 24 w 860"/>
                <a:gd name="T99" fmla="*/ 353 h 1142"/>
                <a:gd name="T100" fmla="*/ 31 w 860"/>
                <a:gd name="T101" fmla="*/ 230 h 1142"/>
                <a:gd name="T102" fmla="*/ 80 w 860"/>
                <a:gd name="T103" fmla="*/ 132 h 1142"/>
                <a:gd name="T104" fmla="*/ 159 w 860"/>
                <a:gd name="T105" fmla="*/ 64 h 1142"/>
                <a:gd name="T106" fmla="*/ 258 w 860"/>
                <a:gd name="T107" fmla="*/ 20 h 1142"/>
                <a:gd name="T108" fmla="*/ 363 w 860"/>
                <a:gd name="T109" fmla="*/ 2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0" h="1142">
                  <a:moveTo>
                    <a:pt x="399" y="0"/>
                  </a:moveTo>
                  <a:lnTo>
                    <a:pt x="443" y="2"/>
                  </a:lnTo>
                  <a:lnTo>
                    <a:pt x="487" y="4"/>
                  </a:lnTo>
                  <a:lnTo>
                    <a:pt x="528" y="10"/>
                  </a:lnTo>
                  <a:lnTo>
                    <a:pt x="566" y="19"/>
                  </a:lnTo>
                  <a:lnTo>
                    <a:pt x="603" y="30"/>
                  </a:lnTo>
                  <a:lnTo>
                    <a:pt x="638" y="44"/>
                  </a:lnTo>
                  <a:lnTo>
                    <a:pt x="671" y="61"/>
                  </a:lnTo>
                  <a:lnTo>
                    <a:pt x="700" y="83"/>
                  </a:lnTo>
                  <a:lnTo>
                    <a:pt x="727" y="108"/>
                  </a:lnTo>
                  <a:lnTo>
                    <a:pt x="750" y="135"/>
                  </a:lnTo>
                  <a:lnTo>
                    <a:pt x="771" y="167"/>
                  </a:lnTo>
                  <a:lnTo>
                    <a:pt x="787" y="205"/>
                  </a:lnTo>
                  <a:lnTo>
                    <a:pt x="800" y="246"/>
                  </a:lnTo>
                  <a:lnTo>
                    <a:pt x="810" y="292"/>
                  </a:lnTo>
                  <a:lnTo>
                    <a:pt x="815" y="342"/>
                  </a:lnTo>
                  <a:lnTo>
                    <a:pt x="648" y="342"/>
                  </a:lnTo>
                  <a:lnTo>
                    <a:pt x="642" y="307"/>
                  </a:lnTo>
                  <a:lnTo>
                    <a:pt x="632" y="276"/>
                  </a:lnTo>
                  <a:lnTo>
                    <a:pt x="618" y="248"/>
                  </a:lnTo>
                  <a:lnTo>
                    <a:pt x="600" y="226"/>
                  </a:lnTo>
                  <a:lnTo>
                    <a:pt x="579" y="206"/>
                  </a:lnTo>
                  <a:lnTo>
                    <a:pt x="555" y="191"/>
                  </a:lnTo>
                  <a:lnTo>
                    <a:pt x="529" y="179"/>
                  </a:lnTo>
                  <a:lnTo>
                    <a:pt x="501" y="170"/>
                  </a:lnTo>
                  <a:lnTo>
                    <a:pt x="473" y="164"/>
                  </a:lnTo>
                  <a:lnTo>
                    <a:pt x="443" y="160"/>
                  </a:lnTo>
                  <a:lnTo>
                    <a:pt x="413" y="159"/>
                  </a:lnTo>
                  <a:lnTo>
                    <a:pt x="386" y="160"/>
                  </a:lnTo>
                  <a:lnTo>
                    <a:pt x="358" y="162"/>
                  </a:lnTo>
                  <a:lnTo>
                    <a:pt x="331" y="166"/>
                  </a:lnTo>
                  <a:lnTo>
                    <a:pt x="304" y="172"/>
                  </a:lnTo>
                  <a:lnTo>
                    <a:pt x="280" y="181"/>
                  </a:lnTo>
                  <a:lnTo>
                    <a:pt x="256" y="193"/>
                  </a:lnTo>
                  <a:lnTo>
                    <a:pt x="238" y="207"/>
                  </a:lnTo>
                  <a:lnTo>
                    <a:pt x="220" y="225"/>
                  </a:lnTo>
                  <a:lnTo>
                    <a:pt x="208" y="246"/>
                  </a:lnTo>
                  <a:lnTo>
                    <a:pt x="200" y="269"/>
                  </a:lnTo>
                  <a:lnTo>
                    <a:pt x="198" y="298"/>
                  </a:lnTo>
                  <a:lnTo>
                    <a:pt x="200" y="324"/>
                  </a:lnTo>
                  <a:lnTo>
                    <a:pt x="208" y="347"/>
                  </a:lnTo>
                  <a:lnTo>
                    <a:pt x="220" y="367"/>
                  </a:lnTo>
                  <a:lnTo>
                    <a:pt x="237" y="384"/>
                  </a:lnTo>
                  <a:lnTo>
                    <a:pt x="256" y="400"/>
                  </a:lnTo>
                  <a:lnTo>
                    <a:pt x="279" y="414"/>
                  </a:lnTo>
                  <a:lnTo>
                    <a:pt x="305" y="426"/>
                  </a:lnTo>
                  <a:lnTo>
                    <a:pt x="334" y="436"/>
                  </a:lnTo>
                  <a:lnTo>
                    <a:pt x="363" y="446"/>
                  </a:lnTo>
                  <a:lnTo>
                    <a:pt x="396" y="455"/>
                  </a:lnTo>
                  <a:lnTo>
                    <a:pt x="428" y="464"/>
                  </a:lnTo>
                  <a:lnTo>
                    <a:pt x="462" y="471"/>
                  </a:lnTo>
                  <a:lnTo>
                    <a:pt x="495" y="479"/>
                  </a:lnTo>
                  <a:lnTo>
                    <a:pt x="529" y="488"/>
                  </a:lnTo>
                  <a:lnTo>
                    <a:pt x="564" y="496"/>
                  </a:lnTo>
                  <a:lnTo>
                    <a:pt x="600" y="506"/>
                  </a:lnTo>
                  <a:lnTo>
                    <a:pt x="633" y="517"/>
                  </a:lnTo>
                  <a:lnTo>
                    <a:pt x="667" y="530"/>
                  </a:lnTo>
                  <a:lnTo>
                    <a:pt x="699" y="544"/>
                  </a:lnTo>
                  <a:lnTo>
                    <a:pt x="729" y="560"/>
                  </a:lnTo>
                  <a:lnTo>
                    <a:pt x="756" y="578"/>
                  </a:lnTo>
                  <a:lnTo>
                    <a:pt x="781" y="600"/>
                  </a:lnTo>
                  <a:lnTo>
                    <a:pt x="804" y="623"/>
                  </a:lnTo>
                  <a:lnTo>
                    <a:pt x="824" y="651"/>
                  </a:lnTo>
                  <a:lnTo>
                    <a:pt x="838" y="682"/>
                  </a:lnTo>
                  <a:lnTo>
                    <a:pt x="850" y="717"/>
                  </a:lnTo>
                  <a:lnTo>
                    <a:pt x="857" y="754"/>
                  </a:lnTo>
                  <a:lnTo>
                    <a:pt x="860" y="798"/>
                  </a:lnTo>
                  <a:lnTo>
                    <a:pt x="857" y="844"/>
                  </a:lnTo>
                  <a:lnTo>
                    <a:pt x="850" y="887"/>
                  </a:lnTo>
                  <a:lnTo>
                    <a:pt x="837" y="926"/>
                  </a:lnTo>
                  <a:lnTo>
                    <a:pt x="821" y="961"/>
                  </a:lnTo>
                  <a:lnTo>
                    <a:pt x="801" y="992"/>
                  </a:lnTo>
                  <a:lnTo>
                    <a:pt x="778" y="1021"/>
                  </a:lnTo>
                  <a:lnTo>
                    <a:pt x="750" y="1046"/>
                  </a:lnTo>
                  <a:lnTo>
                    <a:pt x="722" y="1067"/>
                  </a:lnTo>
                  <a:lnTo>
                    <a:pt x="689" y="1086"/>
                  </a:lnTo>
                  <a:lnTo>
                    <a:pt x="656" y="1100"/>
                  </a:lnTo>
                  <a:lnTo>
                    <a:pt x="620" y="1114"/>
                  </a:lnTo>
                  <a:lnTo>
                    <a:pt x="582" y="1124"/>
                  </a:lnTo>
                  <a:lnTo>
                    <a:pt x="545" y="1132"/>
                  </a:lnTo>
                  <a:lnTo>
                    <a:pt x="506" y="1138"/>
                  </a:lnTo>
                  <a:lnTo>
                    <a:pt x="468" y="1140"/>
                  </a:lnTo>
                  <a:lnTo>
                    <a:pt x="429" y="1142"/>
                  </a:lnTo>
                  <a:lnTo>
                    <a:pt x="383" y="1140"/>
                  </a:lnTo>
                  <a:lnTo>
                    <a:pt x="340" y="1137"/>
                  </a:lnTo>
                  <a:lnTo>
                    <a:pt x="297" y="1129"/>
                  </a:lnTo>
                  <a:lnTo>
                    <a:pt x="258" y="1119"/>
                  </a:lnTo>
                  <a:lnTo>
                    <a:pt x="219" y="1105"/>
                  </a:lnTo>
                  <a:lnTo>
                    <a:pt x="183" y="1089"/>
                  </a:lnTo>
                  <a:lnTo>
                    <a:pt x="148" y="1069"/>
                  </a:lnTo>
                  <a:lnTo>
                    <a:pt x="117" y="1046"/>
                  </a:lnTo>
                  <a:lnTo>
                    <a:pt x="90" y="1020"/>
                  </a:lnTo>
                  <a:lnTo>
                    <a:pt x="65" y="988"/>
                  </a:lnTo>
                  <a:lnTo>
                    <a:pt x="44" y="953"/>
                  </a:lnTo>
                  <a:lnTo>
                    <a:pt x="26" y="915"/>
                  </a:lnTo>
                  <a:lnTo>
                    <a:pt x="13" y="871"/>
                  </a:lnTo>
                  <a:lnTo>
                    <a:pt x="4" y="824"/>
                  </a:lnTo>
                  <a:lnTo>
                    <a:pt x="0" y="773"/>
                  </a:lnTo>
                  <a:lnTo>
                    <a:pt x="167" y="773"/>
                  </a:lnTo>
                  <a:lnTo>
                    <a:pt x="171" y="810"/>
                  </a:lnTo>
                  <a:lnTo>
                    <a:pt x="179" y="844"/>
                  </a:lnTo>
                  <a:lnTo>
                    <a:pt x="192" y="872"/>
                  </a:lnTo>
                  <a:lnTo>
                    <a:pt x="209" y="899"/>
                  </a:lnTo>
                  <a:lnTo>
                    <a:pt x="229" y="920"/>
                  </a:lnTo>
                  <a:lnTo>
                    <a:pt x="253" y="939"/>
                  </a:lnTo>
                  <a:lnTo>
                    <a:pt x="280" y="952"/>
                  </a:lnTo>
                  <a:lnTo>
                    <a:pt x="309" y="965"/>
                  </a:lnTo>
                  <a:lnTo>
                    <a:pt x="339" y="973"/>
                  </a:lnTo>
                  <a:lnTo>
                    <a:pt x="371" y="978"/>
                  </a:lnTo>
                  <a:lnTo>
                    <a:pt x="404" y="982"/>
                  </a:lnTo>
                  <a:lnTo>
                    <a:pt x="438" y="983"/>
                  </a:lnTo>
                  <a:lnTo>
                    <a:pt x="463" y="983"/>
                  </a:lnTo>
                  <a:lnTo>
                    <a:pt x="489" y="981"/>
                  </a:lnTo>
                  <a:lnTo>
                    <a:pt x="514" y="978"/>
                  </a:lnTo>
                  <a:lnTo>
                    <a:pt x="540" y="973"/>
                  </a:lnTo>
                  <a:lnTo>
                    <a:pt x="565" y="967"/>
                  </a:lnTo>
                  <a:lnTo>
                    <a:pt x="588" y="958"/>
                  </a:lnTo>
                  <a:lnTo>
                    <a:pt x="611" y="947"/>
                  </a:lnTo>
                  <a:lnTo>
                    <a:pt x="631" y="935"/>
                  </a:lnTo>
                  <a:lnTo>
                    <a:pt x="648" y="919"/>
                  </a:lnTo>
                  <a:lnTo>
                    <a:pt x="663" y="899"/>
                  </a:lnTo>
                  <a:lnTo>
                    <a:pt x="674" y="876"/>
                  </a:lnTo>
                  <a:lnTo>
                    <a:pt x="681" y="850"/>
                  </a:lnTo>
                  <a:lnTo>
                    <a:pt x="683" y="821"/>
                  </a:lnTo>
                  <a:lnTo>
                    <a:pt x="681" y="790"/>
                  </a:lnTo>
                  <a:lnTo>
                    <a:pt x="672" y="764"/>
                  </a:lnTo>
                  <a:lnTo>
                    <a:pt x="659" y="742"/>
                  </a:lnTo>
                  <a:lnTo>
                    <a:pt x="641" y="722"/>
                  </a:lnTo>
                  <a:lnTo>
                    <a:pt x="620" y="704"/>
                  </a:lnTo>
                  <a:lnTo>
                    <a:pt x="595" y="689"/>
                  </a:lnTo>
                  <a:lnTo>
                    <a:pt x="566" y="676"/>
                  </a:lnTo>
                  <a:lnTo>
                    <a:pt x="534" y="664"/>
                  </a:lnTo>
                  <a:lnTo>
                    <a:pt x="500" y="654"/>
                  </a:lnTo>
                  <a:lnTo>
                    <a:pt x="465" y="644"/>
                  </a:lnTo>
                  <a:lnTo>
                    <a:pt x="428" y="636"/>
                  </a:lnTo>
                  <a:lnTo>
                    <a:pt x="391" y="627"/>
                  </a:lnTo>
                  <a:lnTo>
                    <a:pt x="352" y="618"/>
                  </a:lnTo>
                  <a:lnTo>
                    <a:pt x="317" y="610"/>
                  </a:lnTo>
                  <a:lnTo>
                    <a:pt x="283" y="600"/>
                  </a:lnTo>
                  <a:lnTo>
                    <a:pt x="248" y="588"/>
                  </a:lnTo>
                  <a:lnTo>
                    <a:pt x="215" y="576"/>
                  </a:lnTo>
                  <a:lnTo>
                    <a:pt x="183" y="562"/>
                  </a:lnTo>
                  <a:lnTo>
                    <a:pt x="153" y="546"/>
                  </a:lnTo>
                  <a:lnTo>
                    <a:pt x="126" y="527"/>
                  </a:lnTo>
                  <a:lnTo>
                    <a:pt x="100" y="506"/>
                  </a:lnTo>
                  <a:lnTo>
                    <a:pt x="77" y="483"/>
                  </a:lnTo>
                  <a:lnTo>
                    <a:pt x="59" y="456"/>
                  </a:lnTo>
                  <a:lnTo>
                    <a:pt x="43" y="425"/>
                  </a:lnTo>
                  <a:lnTo>
                    <a:pt x="31" y="392"/>
                  </a:lnTo>
                  <a:lnTo>
                    <a:pt x="24" y="353"/>
                  </a:lnTo>
                  <a:lnTo>
                    <a:pt x="21" y="311"/>
                  </a:lnTo>
                  <a:lnTo>
                    <a:pt x="24" y="268"/>
                  </a:lnTo>
                  <a:lnTo>
                    <a:pt x="31" y="230"/>
                  </a:lnTo>
                  <a:lnTo>
                    <a:pt x="44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6"/>
                  </a:lnTo>
                  <a:lnTo>
                    <a:pt x="130" y="84"/>
                  </a:lnTo>
                  <a:lnTo>
                    <a:pt x="159" y="64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8" y="20"/>
                  </a:lnTo>
                  <a:lnTo>
                    <a:pt x="292" y="12"/>
                  </a:lnTo>
                  <a:lnTo>
                    <a:pt x="329" y="5"/>
                  </a:lnTo>
                  <a:lnTo>
                    <a:pt x="363" y="2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7050088" y="5060950"/>
              <a:ext cx="434975" cy="482600"/>
            </a:xfrm>
            <a:custGeom>
              <a:avLst/>
              <a:gdLst>
                <a:gd name="T0" fmla="*/ 622 w 1095"/>
                <a:gd name="T1" fmla="*/ 0 h 1217"/>
                <a:gd name="T2" fmla="*/ 664 w 1095"/>
                <a:gd name="T3" fmla="*/ 17 h 1217"/>
                <a:gd name="T4" fmla="*/ 710 w 1095"/>
                <a:gd name="T5" fmla="*/ 68 h 1217"/>
                <a:gd name="T6" fmla="*/ 947 w 1095"/>
                <a:gd name="T7" fmla="*/ 356 h 1217"/>
                <a:gd name="T8" fmla="*/ 1027 w 1095"/>
                <a:gd name="T9" fmla="*/ 472 h 1217"/>
                <a:gd name="T10" fmla="*/ 1075 w 1095"/>
                <a:gd name="T11" fmla="*/ 584 h 1217"/>
                <a:gd name="T12" fmla="*/ 1095 w 1095"/>
                <a:gd name="T13" fmla="*/ 691 h 1217"/>
                <a:gd name="T14" fmla="*/ 1090 w 1095"/>
                <a:gd name="T15" fmla="*/ 791 h 1217"/>
                <a:gd name="T16" fmla="*/ 1064 w 1095"/>
                <a:gd name="T17" fmla="*/ 884 h 1217"/>
                <a:gd name="T18" fmla="*/ 1020 w 1095"/>
                <a:gd name="T19" fmla="*/ 967 h 1217"/>
                <a:gd name="T20" fmla="*/ 961 w 1095"/>
                <a:gd name="T21" fmla="*/ 1040 h 1217"/>
                <a:gd name="T22" fmla="*/ 893 w 1095"/>
                <a:gd name="T23" fmla="*/ 1101 h 1217"/>
                <a:gd name="T24" fmla="*/ 817 w 1095"/>
                <a:gd name="T25" fmla="*/ 1151 h 1217"/>
                <a:gd name="T26" fmla="*/ 737 w 1095"/>
                <a:gd name="T27" fmla="*/ 1186 h 1217"/>
                <a:gd name="T28" fmla="*/ 629 w 1095"/>
                <a:gd name="T29" fmla="*/ 1211 h 1217"/>
                <a:gd name="T30" fmla="*/ 497 w 1095"/>
                <a:gd name="T31" fmla="*/ 1217 h 1217"/>
                <a:gd name="T32" fmla="*/ 374 w 1095"/>
                <a:gd name="T33" fmla="*/ 1196 h 1217"/>
                <a:gd name="T34" fmla="*/ 261 w 1095"/>
                <a:gd name="T35" fmla="*/ 1152 h 1217"/>
                <a:gd name="T36" fmla="*/ 163 w 1095"/>
                <a:gd name="T37" fmla="*/ 1087 h 1217"/>
                <a:gd name="T38" fmla="*/ 82 w 1095"/>
                <a:gd name="T39" fmla="*/ 1005 h 1217"/>
                <a:gd name="T40" fmla="*/ 22 w 1095"/>
                <a:gd name="T41" fmla="*/ 908 h 1217"/>
                <a:gd name="T42" fmla="*/ 25 w 1095"/>
                <a:gd name="T43" fmla="*/ 889 h 1217"/>
                <a:gd name="T44" fmla="*/ 89 w 1095"/>
                <a:gd name="T45" fmla="*/ 947 h 1217"/>
                <a:gd name="T46" fmla="*/ 169 w 1095"/>
                <a:gd name="T47" fmla="*/ 989 h 1217"/>
                <a:gd name="T48" fmla="*/ 258 w 1095"/>
                <a:gd name="T49" fmla="*/ 1016 h 1217"/>
                <a:gd name="T50" fmla="*/ 353 w 1095"/>
                <a:gd name="T51" fmla="*/ 1026 h 1217"/>
                <a:gd name="T52" fmla="*/ 446 w 1095"/>
                <a:gd name="T53" fmla="*/ 1023 h 1217"/>
                <a:gd name="T54" fmla="*/ 534 w 1095"/>
                <a:gd name="T55" fmla="*/ 1001 h 1217"/>
                <a:gd name="T56" fmla="*/ 612 w 1095"/>
                <a:gd name="T57" fmla="*/ 965 h 1217"/>
                <a:gd name="T58" fmla="*/ 695 w 1095"/>
                <a:gd name="T59" fmla="*/ 901 h 1217"/>
                <a:gd name="T60" fmla="*/ 757 w 1095"/>
                <a:gd name="T61" fmla="*/ 826 h 1217"/>
                <a:gd name="T62" fmla="*/ 796 w 1095"/>
                <a:gd name="T63" fmla="*/ 744 h 1217"/>
                <a:gd name="T64" fmla="*/ 811 w 1095"/>
                <a:gd name="T65" fmla="*/ 656 h 1217"/>
                <a:gd name="T66" fmla="*/ 799 w 1095"/>
                <a:gd name="T67" fmla="*/ 568 h 1217"/>
                <a:gd name="T68" fmla="*/ 761 w 1095"/>
                <a:gd name="T69" fmla="*/ 481 h 1217"/>
                <a:gd name="T70" fmla="*/ 729 w 1095"/>
                <a:gd name="T71" fmla="*/ 436 h 1217"/>
                <a:gd name="T72" fmla="*/ 714 w 1095"/>
                <a:gd name="T73" fmla="*/ 418 h 1217"/>
                <a:gd name="T74" fmla="*/ 686 w 1095"/>
                <a:gd name="T75" fmla="*/ 386 h 1217"/>
                <a:gd name="T76" fmla="*/ 651 w 1095"/>
                <a:gd name="T77" fmla="*/ 342 h 1217"/>
                <a:gd name="T78" fmla="*/ 610 w 1095"/>
                <a:gd name="T79" fmla="*/ 293 h 1217"/>
                <a:gd name="T80" fmla="*/ 567 w 1095"/>
                <a:gd name="T81" fmla="*/ 240 h 1217"/>
                <a:gd name="T82" fmla="*/ 525 w 1095"/>
                <a:gd name="T83" fmla="*/ 189 h 1217"/>
                <a:gd name="T84" fmla="*/ 521 w 1095"/>
                <a:gd name="T85" fmla="*/ 185 h 1217"/>
                <a:gd name="T86" fmla="*/ 515 w 1095"/>
                <a:gd name="T87" fmla="*/ 178 h 1217"/>
                <a:gd name="T88" fmla="*/ 512 w 1095"/>
                <a:gd name="T89" fmla="*/ 175 h 1217"/>
                <a:gd name="T90" fmla="*/ 492 w 1095"/>
                <a:gd name="T91" fmla="*/ 132 h 1217"/>
                <a:gd name="T92" fmla="*/ 495 w 1095"/>
                <a:gd name="T93" fmla="*/ 87 h 1217"/>
                <a:gd name="T94" fmla="*/ 517 w 1095"/>
                <a:gd name="T95" fmla="*/ 45 h 1217"/>
                <a:gd name="T96" fmla="*/ 556 w 1095"/>
                <a:gd name="T97" fmla="*/ 13 h 1217"/>
                <a:gd name="T98" fmla="*/ 599 w 1095"/>
                <a:gd name="T99" fmla="*/ 0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17">
                  <a:moveTo>
                    <a:pt x="599" y="0"/>
                  </a:moveTo>
                  <a:lnTo>
                    <a:pt x="622" y="0"/>
                  </a:lnTo>
                  <a:lnTo>
                    <a:pt x="644" y="6"/>
                  </a:lnTo>
                  <a:lnTo>
                    <a:pt x="664" y="17"/>
                  </a:lnTo>
                  <a:lnTo>
                    <a:pt x="681" y="35"/>
                  </a:lnTo>
                  <a:lnTo>
                    <a:pt x="710" y="68"/>
                  </a:lnTo>
                  <a:lnTo>
                    <a:pt x="694" y="50"/>
                  </a:lnTo>
                  <a:lnTo>
                    <a:pt x="947" y="356"/>
                  </a:lnTo>
                  <a:lnTo>
                    <a:pt x="991" y="415"/>
                  </a:lnTo>
                  <a:lnTo>
                    <a:pt x="1027" y="472"/>
                  </a:lnTo>
                  <a:lnTo>
                    <a:pt x="1054" y="529"/>
                  </a:lnTo>
                  <a:lnTo>
                    <a:pt x="1075" y="584"/>
                  </a:lnTo>
                  <a:lnTo>
                    <a:pt x="1088" y="639"/>
                  </a:lnTo>
                  <a:lnTo>
                    <a:pt x="1095" y="691"/>
                  </a:lnTo>
                  <a:lnTo>
                    <a:pt x="1095" y="742"/>
                  </a:lnTo>
                  <a:lnTo>
                    <a:pt x="1090" y="791"/>
                  </a:lnTo>
                  <a:lnTo>
                    <a:pt x="1079" y="838"/>
                  </a:lnTo>
                  <a:lnTo>
                    <a:pt x="1064" y="884"/>
                  </a:lnTo>
                  <a:lnTo>
                    <a:pt x="1043" y="927"/>
                  </a:lnTo>
                  <a:lnTo>
                    <a:pt x="1020" y="967"/>
                  </a:lnTo>
                  <a:lnTo>
                    <a:pt x="992" y="1005"/>
                  </a:lnTo>
                  <a:lnTo>
                    <a:pt x="961" y="1040"/>
                  </a:lnTo>
                  <a:lnTo>
                    <a:pt x="929" y="1072"/>
                  </a:lnTo>
                  <a:lnTo>
                    <a:pt x="893" y="1101"/>
                  </a:lnTo>
                  <a:lnTo>
                    <a:pt x="855" y="1127"/>
                  </a:lnTo>
                  <a:lnTo>
                    <a:pt x="817" y="1151"/>
                  </a:lnTo>
                  <a:lnTo>
                    <a:pt x="777" y="1170"/>
                  </a:lnTo>
                  <a:lnTo>
                    <a:pt x="737" y="1186"/>
                  </a:lnTo>
                  <a:lnTo>
                    <a:pt x="697" y="1197"/>
                  </a:lnTo>
                  <a:lnTo>
                    <a:pt x="629" y="1211"/>
                  </a:lnTo>
                  <a:lnTo>
                    <a:pt x="563" y="1217"/>
                  </a:lnTo>
                  <a:lnTo>
                    <a:pt x="497" y="1217"/>
                  </a:lnTo>
                  <a:lnTo>
                    <a:pt x="434" y="1210"/>
                  </a:lnTo>
                  <a:lnTo>
                    <a:pt x="374" y="1196"/>
                  </a:lnTo>
                  <a:lnTo>
                    <a:pt x="316" y="1177"/>
                  </a:lnTo>
                  <a:lnTo>
                    <a:pt x="261" y="1152"/>
                  </a:lnTo>
                  <a:lnTo>
                    <a:pt x="210" y="1122"/>
                  </a:lnTo>
                  <a:lnTo>
                    <a:pt x="163" y="1087"/>
                  </a:lnTo>
                  <a:lnTo>
                    <a:pt x="120" y="1049"/>
                  </a:lnTo>
                  <a:lnTo>
                    <a:pt x="82" y="1005"/>
                  </a:lnTo>
                  <a:lnTo>
                    <a:pt x="49" y="959"/>
                  </a:lnTo>
                  <a:lnTo>
                    <a:pt x="22" y="908"/>
                  </a:lnTo>
                  <a:lnTo>
                    <a:pt x="0" y="854"/>
                  </a:lnTo>
                  <a:lnTo>
                    <a:pt x="25" y="889"/>
                  </a:lnTo>
                  <a:lnTo>
                    <a:pt x="56" y="920"/>
                  </a:lnTo>
                  <a:lnTo>
                    <a:pt x="89" y="947"/>
                  </a:lnTo>
                  <a:lnTo>
                    <a:pt x="128" y="970"/>
                  </a:lnTo>
                  <a:lnTo>
                    <a:pt x="169" y="989"/>
                  </a:lnTo>
                  <a:lnTo>
                    <a:pt x="212" y="1004"/>
                  </a:lnTo>
                  <a:lnTo>
                    <a:pt x="258" y="1016"/>
                  </a:lnTo>
                  <a:lnTo>
                    <a:pt x="306" y="1024"/>
                  </a:lnTo>
                  <a:lnTo>
                    <a:pt x="353" y="1026"/>
                  </a:lnTo>
                  <a:lnTo>
                    <a:pt x="400" y="1026"/>
                  </a:lnTo>
                  <a:lnTo>
                    <a:pt x="446" y="1023"/>
                  </a:lnTo>
                  <a:lnTo>
                    <a:pt x="491" y="1014"/>
                  </a:lnTo>
                  <a:lnTo>
                    <a:pt x="534" y="1001"/>
                  </a:lnTo>
                  <a:lnTo>
                    <a:pt x="576" y="985"/>
                  </a:lnTo>
                  <a:lnTo>
                    <a:pt x="612" y="965"/>
                  </a:lnTo>
                  <a:lnTo>
                    <a:pt x="656" y="934"/>
                  </a:lnTo>
                  <a:lnTo>
                    <a:pt x="695" y="901"/>
                  </a:lnTo>
                  <a:lnTo>
                    <a:pt x="729" y="864"/>
                  </a:lnTo>
                  <a:lnTo>
                    <a:pt x="757" y="826"/>
                  </a:lnTo>
                  <a:lnTo>
                    <a:pt x="779" y="786"/>
                  </a:lnTo>
                  <a:lnTo>
                    <a:pt x="796" y="744"/>
                  </a:lnTo>
                  <a:lnTo>
                    <a:pt x="807" y="700"/>
                  </a:lnTo>
                  <a:lnTo>
                    <a:pt x="811" y="656"/>
                  </a:lnTo>
                  <a:lnTo>
                    <a:pt x="809" y="613"/>
                  </a:lnTo>
                  <a:lnTo>
                    <a:pt x="799" y="568"/>
                  </a:lnTo>
                  <a:lnTo>
                    <a:pt x="784" y="524"/>
                  </a:lnTo>
                  <a:lnTo>
                    <a:pt x="761" y="481"/>
                  </a:lnTo>
                  <a:lnTo>
                    <a:pt x="731" y="438"/>
                  </a:lnTo>
                  <a:lnTo>
                    <a:pt x="729" y="436"/>
                  </a:lnTo>
                  <a:lnTo>
                    <a:pt x="724" y="430"/>
                  </a:lnTo>
                  <a:lnTo>
                    <a:pt x="714" y="418"/>
                  </a:lnTo>
                  <a:lnTo>
                    <a:pt x="701" y="403"/>
                  </a:lnTo>
                  <a:lnTo>
                    <a:pt x="686" y="386"/>
                  </a:lnTo>
                  <a:lnTo>
                    <a:pt x="670" y="365"/>
                  </a:lnTo>
                  <a:lnTo>
                    <a:pt x="651" y="342"/>
                  </a:lnTo>
                  <a:lnTo>
                    <a:pt x="631" y="319"/>
                  </a:lnTo>
                  <a:lnTo>
                    <a:pt x="610" y="293"/>
                  </a:lnTo>
                  <a:lnTo>
                    <a:pt x="588" y="266"/>
                  </a:lnTo>
                  <a:lnTo>
                    <a:pt x="567" y="240"/>
                  </a:lnTo>
                  <a:lnTo>
                    <a:pt x="544" y="215"/>
                  </a:lnTo>
                  <a:lnTo>
                    <a:pt x="525" y="189"/>
                  </a:lnTo>
                  <a:lnTo>
                    <a:pt x="525" y="190"/>
                  </a:lnTo>
                  <a:lnTo>
                    <a:pt x="521" y="185"/>
                  </a:lnTo>
                  <a:lnTo>
                    <a:pt x="517" y="182"/>
                  </a:lnTo>
                  <a:lnTo>
                    <a:pt x="515" y="178"/>
                  </a:lnTo>
                  <a:lnTo>
                    <a:pt x="513" y="177"/>
                  </a:lnTo>
                  <a:lnTo>
                    <a:pt x="512" y="175"/>
                  </a:lnTo>
                  <a:lnTo>
                    <a:pt x="500" y="154"/>
                  </a:lnTo>
                  <a:lnTo>
                    <a:pt x="492" y="132"/>
                  </a:lnTo>
                  <a:lnTo>
                    <a:pt x="491" y="109"/>
                  </a:lnTo>
                  <a:lnTo>
                    <a:pt x="495" y="87"/>
                  </a:lnTo>
                  <a:lnTo>
                    <a:pt x="503" y="65"/>
                  </a:lnTo>
                  <a:lnTo>
                    <a:pt x="517" y="45"/>
                  </a:lnTo>
                  <a:lnTo>
                    <a:pt x="534" y="27"/>
                  </a:lnTo>
                  <a:lnTo>
                    <a:pt x="556" y="13"/>
                  </a:lnTo>
                  <a:lnTo>
                    <a:pt x="577" y="4"/>
                  </a:lnTo>
                  <a:lnTo>
                    <a:pt x="599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7048500" y="4889500"/>
              <a:ext cx="434975" cy="481013"/>
            </a:xfrm>
            <a:custGeom>
              <a:avLst/>
              <a:gdLst>
                <a:gd name="T0" fmla="*/ 598 w 1096"/>
                <a:gd name="T1" fmla="*/ 0 h 1212"/>
                <a:gd name="T2" fmla="*/ 723 w 1096"/>
                <a:gd name="T3" fmla="*/ 21 h 1212"/>
                <a:gd name="T4" fmla="*/ 834 w 1096"/>
                <a:gd name="T5" fmla="*/ 65 h 1212"/>
                <a:gd name="T6" fmla="*/ 933 w 1096"/>
                <a:gd name="T7" fmla="*/ 130 h 1212"/>
                <a:gd name="T8" fmla="*/ 1014 w 1096"/>
                <a:gd name="T9" fmla="*/ 212 h 1212"/>
                <a:gd name="T10" fmla="*/ 1075 w 1096"/>
                <a:gd name="T11" fmla="*/ 309 h 1212"/>
                <a:gd name="T12" fmla="*/ 1071 w 1096"/>
                <a:gd name="T13" fmla="*/ 328 h 1212"/>
                <a:gd name="T14" fmla="*/ 1006 w 1096"/>
                <a:gd name="T15" fmla="*/ 271 h 1212"/>
                <a:gd name="T16" fmla="*/ 927 w 1096"/>
                <a:gd name="T17" fmla="*/ 228 h 1212"/>
                <a:gd name="T18" fmla="*/ 837 w 1096"/>
                <a:gd name="T19" fmla="*/ 201 h 1212"/>
                <a:gd name="T20" fmla="*/ 744 w 1096"/>
                <a:gd name="T21" fmla="*/ 190 h 1212"/>
                <a:gd name="T22" fmla="*/ 649 w 1096"/>
                <a:gd name="T23" fmla="*/ 195 h 1212"/>
                <a:gd name="T24" fmla="*/ 561 w 1096"/>
                <a:gd name="T25" fmla="*/ 215 h 1212"/>
                <a:gd name="T26" fmla="*/ 484 w 1096"/>
                <a:gd name="T27" fmla="*/ 252 h 1212"/>
                <a:gd name="T28" fmla="*/ 402 w 1096"/>
                <a:gd name="T29" fmla="*/ 315 h 1212"/>
                <a:gd name="T30" fmla="*/ 340 w 1096"/>
                <a:gd name="T31" fmla="*/ 390 h 1212"/>
                <a:gd name="T32" fmla="*/ 300 w 1096"/>
                <a:gd name="T33" fmla="*/ 474 h 1212"/>
                <a:gd name="T34" fmla="*/ 285 w 1096"/>
                <a:gd name="T35" fmla="*/ 561 h 1212"/>
                <a:gd name="T36" fmla="*/ 296 w 1096"/>
                <a:gd name="T37" fmla="*/ 649 h 1212"/>
                <a:gd name="T38" fmla="*/ 335 w 1096"/>
                <a:gd name="T39" fmla="*/ 737 h 1212"/>
                <a:gd name="T40" fmla="*/ 367 w 1096"/>
                <a:gd name="T41" fmla="*/ 781 h 1212"/>
                <a:gd name="T42" fmla="*/ 383 w 1096"/>
                <a:gd name="T43" fmla="*/ 800 h 1212"/>
                <a:gd name="T44" fmla="*/ 410 w 1096"/>
                <a:gd name="T45" fmla="*/ 834 h 1212"/>
                <a:gd name="T46" fmla="*/ 448 w 1096"/>
                <a:gd name="T47" fmla="*/ 877 h 1212"/>
                <a:gd name="T48" fmla="*/ 490 w 1096"/>
                <a:gd name="T49" fmla="*/ 928 h 1212"/>
                <a:gd name="T50" fmla="*/ 534 w 1096"/>
                <a:gd name="T51" fmla="*/ 982 h 1212"/>
                <a:gd name="T52" fmla="*/ 524 w 1096"/>
                <a:gd name="T53" fmla="*/ 970 h 1212"/>
                <a:gd name="T54" fmla="*/ 552 w 1096"/>
                <a:gd name="T55" fmla="*/ 1004 h 1212"/>
                <a:gd name="T56" fmla="*/ 571 w 1096"/>
                <a:gd name="T57" fmla="*/ 1028 h 1212"/>
                <a:gd name="T58" fmla="*/ 578 w 1096"/>
                <a:gd name="T59" fmla="*/ 1037 h 1212"/>
                <a:gd name="T60" fmla="*/ 599 w 1096"/>
                <a:gd name="T61" fmla="*/ 1079 h 1212"/>
                <a:gd name="T62" fmla="*/ 597 w 1096"/>
                <a:gd name="T63" fmla="*/ 1125 h 1212"/>
                <a:gd name="T64" fmla="*/ 575 w 1096"/>
                <a:gd name="T65" fmla="*/ 1166 h 1212"/>
                <a:gd name="T66" fmla="*/ 536 w 1096"/>
                <a:gd name="T67" fmla="*/ 1199 h 1212"/>
                <a:gd name="T68" fmla="*/ 491 w 1096"/>
                <a:gd name="T69" fmla="*/ 1212 h 1212"/>
                <a:gd name="T70" fmla="*/ 446 w 1096"/>
                <a:gd name="T71" fmla="*/ 1205 h 1212"/>
                <a:gd name="T72" fmla="*/ 409 w 1096"/>
                <a:gd name="T73" fmla="*/ 1178 h 1212"/>
                <a:gd name="T74" fmla="*/ 391 w 1096"/>
                <a:gd name="T75" fmla="*/ 1153 h 1212"/>
                <a:gd name="T76" fmla="*/ 104 w 1096"/>
                <a:gd name="T77" fmla="*/ 803 h 1212"/>
                <a:gd name="T78" fmla="*/ 41 w 1096"/>
                <a:gd name="T79" fmla="*/ 688 h 1212"/>
                <a:gd name="T80" fmla="*/ 7 w 1096"/>
                <a:gd name="T81" fmla="*/ 578 h 1212"/>
                <a:gd name="T82" fmla="*/ 0 w 1096"/>
                <a:gd name="T83" fmla="*/ 475 h 1212"/>
                <a:gd name="T84" fmla="*/ 16 w 1096"/>
                <a:gd name="T85" fmla="*/ 378 h 1212"/>
                <a:gd name="T86" fmla="*/ 52 w 1096"/>
                <a:gd name="T87" fmla="*/ 291 h 1212"/>
                <a:gd name="T88" fmla="*/ 103 w 1096"/>
                <a:gd name="T89" fmla="*/ 212 h 1212"/>
                <a:gd name="T90" fmla="*/ 168 w 1096"/>
                <a:gd name="T91" fmla="*/ 145 h 1212"/>
                <a:gd name="T92" fmla="*/ 240 w 1096"/>
                <a:gd name="T93" fmla="*/ 89 h 1212"/>
                <a:gd name="T94" fmla="*/ 318 w 1096"/>
                <a:gd name="T95" fmla="*/ 48 h 1212"/>
                <a:gd name="T96" fmla="*/ 398 w 1096"/>
                <a:gd name="T97" fmla="*/ 19 h 1212"/>
                <a:gd name="T98" fmla="*/ 534 w 1096"/>
                <a:gd name="T99" fmla="*/ 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12">
                  <a:moveTo>
                    <a:pt x="534" y="0"/>
                  </a:moveTo>
                  <a:lnTo>
                    <a:pt x="598" y="0"/>
                  </a:lnTo>
                  <a:lnTo>
                    <a:pt x="662" y="8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5"/>
                  </a:lnTo>
                  <a:lnTo>
                    <a:pt x="885" y="95"/>
                  </a:lnTo>
                  <a:lnTo>
                    <a:pt x="933" y="130"/>
                  </a:lnTo>
                  <a:lnTo>
                    <a:pt x="976" y="168"/>
                  </a:lnTo>
                  <a:lnTo>
                    <a:pt x="1014" y="212"/>
                  </a:lnTo>
                  <a:lnTo>
                    <a:pt x="1047" y="258"/>
                  </a:lnTo>
                  <a:lnTo>
                    <a:pt x="1075" y="309"/>
                  </a:lnTo>
                  <a:lnTo>
                    <a:pt x="1096" y="363"/>
                  </a:lnTo>
                  <a:lnTo>
                    <a:pt x="1071" y="328"/>
                  </a:lnTo>
                  <a:lnTo>
                    <a:pt x="1041" y="297"/>
                  </a:lnTo>
                  <a:lnTo>
                    <a:pt x="1006" y="271"/>
                  </a:lnTo>
                  <a:lnTo>
                    <a:pt x="968" y="247"/>
                  </a:lnTo>
                  <a:lnTo>
                    <a:pt x="927" y="228"/>
                  </a:lnTo>
                  <a:lnTo>
                    <a:pt x="883" y="212"/>
                  </a:lnTo>
                  <a:lnTo>
                    <a:pt x="837" y="201"/>
                  </a:lnTo>
                  <a:lnTo>
                    <a:pt x="791" y="193"/>
                  </a:lnTo>
                  <a:lnTo>
                    <a:pt x="744" y="190"/>
                  </a:lnTo>
                  <a:lnTo>
                    <a:pt x="696" y="190"/>
                  </a:lnTo>
                  <a:lnTo>
                    <a:pt x="649" y="195"/>
                  </a:lnTo>
                  <a:lnTo>
                    <a:pt x="604" y="203"/>
                  </a:lnTo>
                  <a:lnTo>
                    <a:pt x="561" y="215"/>
                  </a:lnTo>
                  <a:lnTo>
                    <a:pt x="521" y="231"/>
                  </a:lnTo>
                  <a:lnTo>
                    <a:pt x="484" y="252"/>
                  </a:lnTo>
                  <a:lnTo>
                    <a:pt x="440" y="282"/>
                  </a:lnTo>
                  <a:lnTo>
                    <a:pt x="402" y="315"/>
                  </a:lnTo>
                  <a:lnTo>
                    <a:pt x="368" y="352"/>
                  </a:lnTo>
                  <a:lnTo>
                    <a:pt x="340" y="390"/>
                  </a:lnTo>
                  <a:lnTo>
                    <a:pt x="317" y="431"/>
                  </a:lnTo>
                  <a:lnTo>
                    <a:pt x="300" y="474"/>
                  </a:lnTo>
                  <a:lnTo>
                    <a:pt x="290" y="516"/>
                  </a:lnTo>
                  <a:lnTo>
                    <a:pt x="285" y="561"/>
                  </a:lnTo>
                  <a:lnTo>
                    <a:pt x="287" y="604"/>
                  </a:lnTo>
                  <a:lnTo>
                    <a:pt x="296" y="649"/>
                  </a:lnTo>
                  <a:lnTo>
                    <a:pt x="312" y="693"/>
                  </a:lnTo>
                  <a:lnTo>
                    <a:pt x="335" y="737"/>
                  </a:lnTo>
                  <a:lnTo>
                    <a:pt x="366" y="779"/>
                  </a:lnTo>
                  <a:lnTo>
                    <a:pt x="367" y="781"/>
                  </a:lnTo>
                  <a:lnTo>
                    <a:pt x="373" y="788"/>
                  </a:lnTo>
                  <a:lnTo>
                    <a:pt x="383" y="800"/>
                  </a:lnTo>
                  <a:lnTo>
                    <a:pt x="395" y="815"/>
                  </a:lnTo>
                  <a:lnTo>
                    <a:pt x="410" y="834"/>
                  </a:lnTo>
                  <a:lnTo>
                    <a:pt x="428" y="855"/>
                  </a:lnTo>
                  <a:lnTo>
                    <a:pt x="448" y="877"/>
                  </a:lnTo>
                  <a:lnTo>
                    <a:pt x="468" y="902"/>
                  </a:lnTo>
                  <a:lnTo>
                    <a:pt x="490" y="928"/>
                  </a:lnTo>
                  <a:lnTo>
                    <a:pt x="511" y="955"/>
                  </a:lnTo>
                  <a:lnTo>
                    <a:pt x="534" y="982"/>
                  </a:lnTo>
                  <a:lnTo>
                    <a:pt x="556" y="1008"/>
                  </a:lnTo>
                  <a:lnTo>
                    <a:pt x="524" y="970"/>
                  </a:lnTo>
                  <a:lnTo>
                    <a:pt x="538" y="988"/>
                  </a:lnTo>
                  <a:lnTo>
                    <a:pt x="552" y="1004"/>
                  </a:lnTo>
                  <a:lnTo>
                    <a:pt x="563" y="1018"/>
                  </a:lnTo>
                  <a:lnTo>
                    <a:pt x="571" y="1028"/>
                  </a:lnTo>
                  <a:lnTo>
                    <a:pt x="576" y="1034"/>
                  </a:lnTo>
                  <a:lnTo>
                    <a:pt x="578" y="1037"/>
                  </a:lnTo>
                  <a:lnTo>
                    <a:pt x="592" y="1057"/>
                  </a:lnTo>
                  <a:lnTo>
                    <a:pt x="599" y="1079"/>
                  </a:lnTo>
                  <a:lnTo>
                    <a:pt x="601" y="1102"/>
                  </a:lnTo>
                  <a:lnTo>
                    <a:pt x="597" y="1125"/>
                  </a:lnTo>
                  <a:lnTo>
                    <a:pt x="588" y="1146"/>
                  </a:lnTo>
                  <a:lnTo>
                    <a:pt x="575" y="1166"/>
                  </a:lnTo>
                  <a:lnTo>
                    <a:pt x="556" y="1185"/>
                  </a:lnTo>
                  <a:lnTo>
                    <a:pt x="536" y="1199"/>
                  </a:lnTo>
                  <a:lnTo>
                    <a:pt x="514" y="1207"/>
                  </a:lnTo>
                  <a:lnTo>
                    <a:pt x="491" y="1212"/>
                  </a:lnTo>
                  <a:lnTo>
                    <a:pt x="469" y="1211"/>
                  </a:lnTo>
                  <a:lnTo>
                    <a:pt x="446" y="1205"/>
                  </a:lnTo>
                  <a:lnTo>
                    <a:pt x="427" y="1194"/>
                  </a:lnTo>
                  <a:lnTo>
                    <a:pt x="409" y="1178"/>
                  </a:lnTo>
                  <a:lnTo>
                    <a:pt x="352" y="1108"/>
                  </a:lnTo>
                  <a:lnTo>
                    <a:pt x="391" y="1153"/>
                  </a:lnTo>
                  <a:lnTo>
                    <a:pt x="149" y="861"/>
                  </a:lnTo>
                  <a:lnTo>
                    <a:pt x="104" y="803"/>
                  </a:lnTo>
                  <a:lnTo>
                    <a:pt x="68" y="744"/>
                  </a:lnTo>
                  <a:lnTo>
                    <a:pt x="41" y="688"/>
                  </a:lnTo>
                  <a:lnTo>
                    <a:pt x="21" y="632"/>
                  </a:lnTo>
                  <a:lnTo>
                    <a:pt x="7" y="578"/>
                  </a:lnTo>
                  <a:lnTo>
                    <a:pt x="1" y="526"/>
                  </a:lnTo>
                  <a:lnTo>
                    <a:pt x="0" y="475"/>
                  </a:lnTo>
                  <a:lnTo>
                    <a:pt x="6" y="425"/>
                  </a:lnTo>
                  <a:lnTo>
                    <a:pt x="16" y="378"/>
                  </a:lnTo>
                  <a:lnTo>
                    <a:pt x="32" y="333"/>
                  </a:lnTo>
                  <a:lnTo>
                    <a:pt x="52" y="291"/>
                  </a:lnTo>
                  <a:lnTo>
                    <a:pt x="76" y="249"/>
                  </a:lnTo>
                  <a:lnTo>
                    <a:pt x="103" y="212"/>
                  </a:lnTo>
                  <a:lnTo>
                    <a:pt x="134" y="177"/>
                  </a:lnTo>
                  <a:lnTo>
                    <a:pt x="168" y="145"/>
                  </a:lnTo>
                  <a:lnTo>
                    <a:pt x="203" y="115"/>
                  </a:lnTo>
                  <a:lnTo>
                    <a:pt x="240" y="89"/>
                  </a:lnTo>
                  <a:lnTo>
                    <a:pt x="279" y="66"/>
                  </a:lnTo>
                  <a:lnTo>
                    <a:pt x="318" y="48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8618538" y="5702300"/>
              <a:ext cx="52388" cy="50800"/>
            </a:xfrm>
            <a:custGeom>
              <a:avLst/>
              <a:gdLst>
                <a:gd name="T0" fmla="*/ 51 w 131"/>
                <a:gd name="T1" fmla="*/ 60 h 130"/>
                <a:gd name="T2" fmla="*/ 68 w 131"/>
                <a:gd name="T3" fmla="*/ 60 h 130"/>
                <a:gd name="T4" fmla="*/ 76 w 131"/>
                <a:gd name="T5" fmla="*/ 59 h 130"/>
                <a:gd name="T6" fmla="*/ 81 w 131"/>
                <a:gd name="T7" fmla="*/ 55 h 130"/>
                <a:gd name="T8" fmla="*/ 83 w 131"/>
                <a:gd name="T9" fmla="*/ 49 h 130"/>
                <a:gd name="T10" fmla="*/ 81 w 131"/>
                <a:gd name="T11" fmla="*/ 43 h 130"/>
                <a:gd name="T12" fmla="*/ 76 w 131"/>
                <a:gd name="T13" fmla="*/ 39 h 130"/>
                <a:gd name="T14" fmla="*/ 70 w 131"/>
                <a:gd name="T15" fmla="*/ 38 h 130"/>
                <a:gd name="T16" fmla="*/ 51 w 131"/>
                <a:gd name="T17" fmla="*/ 38 h 130"/>
                <a:gd name="T18" fmla="*/ 68 w 131"/>
                <a:gd name="T19" fmla="*/ 28 h 130"/>
                <a:gd name="T20" fmla="*/ 88 w 131"/>
                <a:gd name="T21" fmla="*/ 33 h 130"/>
                <a:gd name="T22" fmla="*/ 95 w 131"/>
                <a:gd name="T23" fmla="*/ 49 h 130"/>
                <a:gd name="T24" fmla="*/ 90 w 131"/>
                <a:gd name="T25" fmla="*/ 64 h 130"/>
                <a:gd name="T26" fmla="*/ 76 w 131"/>
                <a:gd name="T27" fmla="*/ 69 h 130"/>
                <a:gd name="T28" fmla="*/ 83 w 131"/>
                <a:gd name="T29" fmla="*/ 103 h 130"/>
                <a:gd name="T30" fmla="*/ 51 w 131"/>
                <a:gd name="T31" fmla="*/ 70 h 130"/>
                <a:gd name="T32" fmla="*/ 40 w 131"/>
                <a:gd name="T33" fmla="*/ 103 h 130"/>
                <a:gd name="T34" fmla="*/ 65 w 131"/>
                <a:gd name="T35" fmla="*/ 12 h 130"/>
                <a:gd name="T36" fmla="*/ 34 w 131"/>
                <a:gd name="T37" fmla="*/ 22 h 130"/>
                <a:gd name="T38" fmla="*/ 15 w 131"/>
                <a:gd name="T39" fmla="*/ 48 h 130"/>
                <a:gd name="T40" fmla="*/ 15 w 131"/>
                <a:gd name="T41" fmla="*/ 83 h 130"/>
                <a:gd name="T42" fmla="*/ 34 w 131"/>
                <a:gd name="T43" fmla="*/ 109 h 130"/>
                <a:gd name="T44" fmla="*/ 65 w 131"/>
                <a:gd name="T45" fmla="*/ 119 h 130"/>
                <a:gd name="T46" fmla="*/ 96 w 131"/>
                <a:gd name="T47" fmla="*/ 109 h 130"/>
                <a:gd name="T48" fmla="*/ 114 w 131"/>
                <a:gd name="T49" fmla="*/ 83 h 130"/>
                <a:gd name="T50" fmla="*/ 114 w 131"/>
                <a:gd name="T51" fmla="*/ 48 h 130"/>
                <a:gd name="T52" fmla="*/ 96 w 131"/>
                <a:gd name="T53" fmla="*/ 22 h 130"/>
                <a:gd name="T54" fmla="*/ 65 w 131"/>
                <a:gd name="T55" fmla="*/ 12 h 130"/>
                <a:gd name="T56" fmla="*/ 86 w 131"/>
                <a:gd name="T57" fmla="*/ 4 h 130"/>
                <a:gd name="T58" fmla="*/ 117 w 131"/>
                <a:gd name="T59" fmla="*/ 27 h 130"/>
                <a:gd name="T60" fmla="*/ 131 w 131"/>
                <a:gd name="T61" fmla="*/ 65 h 130"/>
                <a:gd name="T62" fmla="*/ 117 w 131"/>
                <a:gd name="T63" fmla="*/ 104 h 130"/>
                <a:gd name="T64" fmla="*/ 86 w 131"/>
                <a:gd name="T65" fmla="*/ 126 h 130"/>
                <a:gd name="T66" fmla="*/ 45 w 131"/>
                <a:gd name="T67" fmla="*/ 126 h 130"/>
                <a:gd name="T68" fmla="*/ 12 w 131"/>
                <a:gd name="T69" fmla="*/ 104 h 130"/>
                <a:gd name="T70" fmla="*/ 0 w 131"/>
                <a:gd name="T71" fmla="*/ 65 h 130"/>
                <a:gd name="T72" fmla="*/ 12 w 131"/>
                <a:gd name="T73" fmla="*/ 27 h 130"/>
                <a:gd name="T74" fmla="*/ 45 w 131"/>
                <a:gd name="T75" fmla="*/ 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30">
                  <a:moveTo>
                    <a:pt x="51" y="38"/>
                  </a:moveTo>
                  <a:lnTo>
                    <a:pt x="51" y="60"/>
                  </a:lnTo>
                  <a:lnTo>
                    <a:pt x="65" y="60"/>
                  </a:lnTo>
                  <a:lnTo>
                    <a:pt x="68" y="60"/>
                  </a:lnTo>
                  <a:lnTo>
                    <a:pt x="72" y="60"/>
                  </a:lnTo>
                  <a:lnTo>
                    <a:pt x="76" y="59"/>
                  </a:lnTo>
                  <a:lnTo>
                    <a:pt x="78" y="58"/>
                  </a:lnTo>
                  <a:lnTo>
                    <a:pt x="81" y="55"/>
                  </a:lnTo>
                  <a:lnTo>
                    <a:pt x="82" y="53"/>
                  </a:lnTo>
                  <a:lnTo>
                    <a:pt x="83" y="49"/>
                  </a:lnTo>
                  <a:lnTo>
                    <a:pt x="82" y="45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6" y="39"/>
                  </a:lnTo>
                  <a:lnTo>
                    <a:pt x="73" y="38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51" y="38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3"/>
                  </a:lnTo>
                  <a:lnTo>
                    <a:pt x="93" y="39"/>
                  </a:lnTo>
                  <a:lnTo>
                    <a:pt x="95" y="49"/>
                  </a:lnTo>
                  <a:lnTo>
                    <a:pt x="93" y="58"/>
                  </a:lnTo>
                  <a:lnTo>
                    <a:pt x="90" y="64"/>
                  </a:lnTo>
                  <a:lnTo>
                    <a:pt x="83" y="68"/>
                  </a:lnTo>
                  <a:lnTo>
                    <a:pt x="76" y="69"/>
                  </a:lnTo>
                  <a:lnTo>
                    <a:pt x="97" y="103"/>
                  </a:lnTo>
                  <a:lnTo>
                    <a:pt x="83" y="103"/>
                  </a:lnTo>
                  <a:lnTo>
                    <a:pt x="65" y="70"/>
                  </a:lnTo>
                  <a:lnTo>
                    <a:pt x="51" y="70"/>
                  </a:lnTo>
                  <a:lnTo>
                    <a:pt x="51" y="103"/>
                  </a:lnTo>
                  <a:lnTo>
                    <a:pt x="40" y="103"/>
                  </a:lnTo>
                  <a:lnTo>
                    <a:pt x="40" y="28"/>
                  </a:lnTo>
                  <a:close/>
                  <a:moveTo>
                    <a:pt x="65" y="12"/>
                  </a:moveTo>
                  <a:lnTo>
                    <a:pt x="49" y="14"/>
                  </a:lnTo>
                  <a:lnTo>
                    <a:pt x="34" y="22"/>
                  </a:lnTo>
                  <a:lnTo>
                    <a:pt x="22" y="33"/>
                  </a:lnTo>
                  <a:lnTo>
                    <a:pt x="15" y="48"/>
                  </a:lnTo>
                  <a:lnTo>
                    <a:pt x="12" y="65"/>
                  </a:lnTo>
                  <a:lnTo>
                    <a:pt x="15" y="83"/>
                  </a:lnTo>
                  <a:lnTo>
                    <a:pt x="22" y="98"/>
                  </a:lnTo>
                  <a:lnTo>
                    <a:pt x="34" y="109"/>
                  </a:lnTo>
                  <a:lnTo>
                    <a:pt x="49" y="116"/>
                  </a:lnTo>
                  <a:lnTo>
                    <a:pt x="65" y="119"/>
                  </a:lnTo>
                  <a:lnTo>
                    <a:pt x="82" y="116"/>
                  </a:lnTo>
                  <a:lnTo>
                    <a:pt x="96" y="109"/>
                  </a:lnTo>
                  <a:lnTo>
                    <a:pt x="107" y="98"/>
                  </a:lnTo>
                  <a:lnTo>
                    <a:pt x="114" y="83"/>
                  </a:lnTo>
                  <a:lnTo>
                    <a:pt x="117" y="65"/>
                  </a:lnTo>
                  <a:lnTo>
                    <a:pt x="114" y="48"/>
                  </a:lnTo>
                  <a:lnTo>
                    <a:pt x="107" y="33"/>
                  </a:lnTo>
                  <a:lnTo>
                    <a:pt x="96" y="22"/>
                  </a:lnTo>
                  <a:lnTo>
                    <a:pt x="82" y="14"/>
                  </a:lnTo>
                  <a:lnTo>
                    <a:pt x="65" y="12"/>
                  </a:lnTo>
                  <a:close/>
                  <a:moveTo>
                    <a:pt x="65" y="0"/>
                  </a:moveTo>
                  <a:lnTo>
                    <a:pt x="86" y="4"/>
                  </a:lnTo>
                  <a:lnTo>
                    <a:pt x="103" y="13"/>
                  </a:lnTo>
                  <a:lnTo>
                    <a:pt x="117" y="27"/>
                  </a:lnTo>
                  <a:lnTo>
                    <a:pt x="127" y="44"/>
                  </a:lnTo>
                  <a:lnTo>
                    <a:pt x="131" y="65"/>
                  </a:lnTo>
                  <a:lnTo>
                    <a:pt x="127" y="86"/>
                  </a:lnTo>
                  <a:lnTo>
                    <a:pt x="117" y="104"/>
                  </a:lnTo>
                  <a:lnTo>
                    <a:pt x="103" y="118"/>
                  </a:lnTo>
                  <a:lnTo>
                    <a:pt x="86" y="126"/>
                  </a:lnTo>
                  <a:lnTo>
                    <a:pt x="65" y="130"/>
                  </a:lnTo>
                  <a:lnTo>
                    <a:pt x="45" y="126"/>
                  </a:lnTo>
                  <a:lnTo>
                    <a:pt x="27" y="118"/>
                  </a:lnTo>
                  <a:lnTo>
                    <a:pt x="12" y="104"/>
                  </a:lnTo>
                  <a:lnTo>
                    <a:pt x="2" y="86"/>
                  </a:lnTo>
                  <a:lnTo>
                    <a:pt x="0" y="65"/>
                  </a:lnTo>
                  <a:lnTo>
                    <a:pt x="2" y="44"/>
                  </a:lnTo>
                  <a:lnTo>
                    <a:pt x="12" y="27"/>
                  </a:lnTo>
                  <a:lnTo>
                    <a:pt x="27" y="13"/>
                  </a:lnTo>
                  <a:lnTo>
                    <a:pt x="45" y="4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8578850" y="5375275"/>
              <a:ext cx="52388" cy="50800"/>
            </a:xfrm>
            <a:custGeom>
              <a:avLst/>
              <a:gdLst>
                <a:gd name="T0" fmla="*/ 52 w 130"/>
                <a:gd name="T1" fmla="*/ 60 h 129"/>
                <a:gd name="T2" fmla="*/ 69 w 130"/>
                <a:gd name="T3" fmla="*/ 60 h 129"/>
                <a:gd name="T4" fmla="*/ 77 w 130"/>
                <a:gd name="T5" fmla="*/ 59 h 129"/>
                <a:gd name="T6" fmla="*/ 82 w 130"/>
                <a:gd name="T7" fmla="*/ 55 h 129"/>
                <a:gd name="T8" fmla="*/ 83 w 130"/>
                <a:gd name="T9" fmla="*/ 48 h 129"/>
                <a:gd name="T10" fmla="*/ 82 w 130"/>
                <a:gd name="T11" fmla="*/ 42 h 129"/>
                <a:gd name="T12" fmla="*/ 77 w 130"/>
                <a:gd name="T13" fmla="*/ 38 h 129"/>
                <a:gd name="T14" fmla="*/ 70 w 130"/>
                <a:gd name="T15" fmla="*/ 37 h 129"/>
                <a:gd name="T16" fmla="*/ 52 w 130"/>
                <a:gd name="T17" fmla="*/ 37 h 129"/>
                <a:gd name="T18" fmla="*/ 69 w 130"/>
                <a:gd name="T19" fmla="*/ 28 h 129"/>
                <a:gd name="T20" fmla="*/ 89 w 130"/>
                <a:gd name="T21" fmla="*/ 33 h 129"/>
                <a:gd name="T22" fmla="*/ 95 w 130"/>
                <a:gd name="T23" fmla="*/ 49 h 129"/>
                <a:gd name="T24" fmla="*/ 89 w 130"/>
                <a:gd name="T25" fmla="*/ 63 h 129"/>
                <a:gd name="T26" fmla="*/ 75 w 130"/>
                <a:gd name="T27" fmla="*/ 69 h 129"/>
                <a:gd name="T28" fmla="*/ 84 w 130"/>
                <a:gd name="T29" fmla="*/ 101 h 129"/>
                <a:gd name="T30" fmla="*/ 52 w 130"/>
                <a:gd name="T31" fmla="*/ 69 h 129"/>
                <a:gd name="T32" fmla="*/ 41 w 130"/>
                <a:gd name="T33" fmla="*/ 101 h 129"/>
                <a:gd name="T34" fmla="*/ 65 w 130"/>
                <a:gd name="T35" fmla="*/ 10 h 129"/>
                <a:gd name="T36" fmla="*/ 34 w 130"/>
                <a:gd name="T37" fmla="*/ 20 h 129"/>
                <a:gd name="T38" fmla="*/ 16 w 130"/>
                <a:gd name="T39" fmla="*/ 47 h 129"/>
                <a:gd name="T40" fmla="*/ 16 w 130"/>
                <a:gd name="T41" fmla="*/ 81 h 129"/>
                <a:gd name="T42" fmla="*/ 34 w 130"/>
                <a:gd name="T43" fmla="*/ 108 h 129"/>
                <a:gd name="T44" fmla="*/ 65 w 130"/>
                <a:gd name="T45" fmla="*/ 119 h 129"/>
                <a:gd name="T46" fmla="*/ 97 w 130"/>
                <a:gd name="T47" fmla="*/ 108 h 129"/>
                <a:gd name="T48" fmla="*/ 115 w 130"/>
                <a:gd name="T49" fmla="*/ 81 h 129"/>
                <a:gd name="T50" fmla="*/ 115 w 130"/>
                <a:gd name="T51" fmla="*/ 47 h 129"/>
                <a:gd name="T52" fmla="*/ 97 w 130"/>
                <a:gd name="T53" fmla="*/ 20 h 129"/>
                <a:gd name="T54" fmla="*/ 65 w 130"/>
                <a:gd name="T55" fmla="*/ 10 h 129"/>
                <a:gd name="T56" fmla="*/ 85 w 130"/>
                <a:gd name="T57" fmla="*/ 3 h 129"/>
                <a:gd name="T58" fmla="*/ 118 w 130"/>
                <a:gd name="T59" fmla="*/ 25 h 129"/>
                <a:gd name="T60" fmla="*/ 130 w 130"/>
                <a:gd name="T61" fmla="*/ 64 h 129"/>
                <a:gd name="T62" fmla="*/ 118 w 130"/>
                <a:gd name="T63" fmla="*/ 103 h 129"/>
                <a:gd name="T64" fmla="*/ 85 w 130"/>
                <a:gd name="T65" fmla="*/ 126 h 129"/>
                <a:gd name="T66" fmla="*/ 46 w 130"/>
                <a:gd name="T67" fmla="*/ 126 h 129"/>
                <a:gd name="T68" fmla="*/ 13 w 130"/>
                <a:gd name="T69" fmla="*/ 103 h 129"/>
                <a:gd name="T70" fmla="*/ 0 w 130"/>
                <a:gd name="T71" fmla="*/ 64 h 129"/>
                <a:gd name="T72" fmla="*/ 13 w 130"/>
                <a:gd name="T73" fmla="*/ 25 h 129"/>
                <a:gd name="T74" fmla="*/ 46 w 130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8"/>
                  </a:lnTo>
                  <a:lnTo>
                    <a:pt x="82" y="55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0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89" y="63"/>
                  </a:lnTo>
                  <a:lnTo>
                    <a:pt x="83" y="66"/>
                  </a:lnTo>
                  <a:lnTo>
                    <a:pt x="75" y="69"/>
                  </a:lnTo>
                  <a:lnTo>
                    <a:pt x="97" y="101"/>
                  </a:lnTo>
                  <a:lnTo>
                    <a:pt x="84" y="101"/>
                  </a:lnTo>
                  <a:lnTo>
                    <a:pt x="64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5" y="10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6" y="47"/>
                  </a:lnTo>
                  <a:lnTo>
                    <a:pt x="13" y="64"/>
                  </a:lnTo>
                  <a:lnTo>
                    <a:pt x="16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8" y="115"/>
                  </a:lnTo>
                  <a:lnTo>
                    <a:pt x="65" y="119"/>
                  </a:lnTo>
                  <a:lnTo>
                    <a:pt x="82" y="115"/>
                  </a:lnTo>
                  <a:lnTo>
                    <a:pt x="97" y="108"/>
                  </a:lnTo>
                  <a:lnTo>
                    <a:pt x="108" y="96"/>
                  </a:lnTo>
                  <a:lnTo>
                    <a:pt x="115" y="81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8" y="33"/>
                  </a:lnTo>
                  <a:lnTo>
                    <a:pt x="97" y="20"/>
                  </a:lnTo>
                  <a:lnTo>
                    <a:pt x="82" y="13"/>
                  </a:lnTo>
                  <a:lnTo>
                    <a:pt x="65" y="10"/>
                  </a:lnTo>
                  <a:close/>
                  <a:moveTo>
                    <a:pt x="65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8" y="44"/>
                  </a:lnTo>
                  <a:lnTo>
                    <a:pt x="130" y="64"/>
                  </a:lnTo>
                  <a:lnTo>
                    <a:pt x="128" y="85"/>
                  </a:lnTo>
                  <a:lnTo>
                    <a:pt x="118" y="103"/>
                  </a:lnTo>
                  <a:lnTo>
                    <a:pt x="104" y="116"/>
                  </a:lnTo>
                  <a:lnTo>
                    <a:pt x="85" y="126"/>
                  </a:lnTo>
                  <a:lnTo>
                    <a:pt x="65" y="129"/>
                  </a:lnTo>
                  <a:lnTo>
                    <a:pt x="46" y="126"/>
                  </a:lnTo>
                  <a:lnTo>
                    <a:pt x="27" y="116"/>
                  </a:lnTo>
                  <a:lnTo>
                    <a:pt x="13" y="103"/>
                  </a:lnTo>
                  <a:lnTo>
                    <a:pt x="3" y="85"/>
                  </a:lnTo>
                  <a:lnTo>
                    <a:pt x="0" y="64"/>
                  </a:lnTo>
                  <a:lnTo>
                    <a:pt x="3" y="44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6" y="3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/>
            <p:cNvSpPr>
              <a:spLocks noEditPoints="1"/>
            </p:cNvSpPr>
            <p:nvPr userDrawn="1"/>
          </p:nvSpPr>
          <p:spPr bwMode="auto">
            <a:xfrm>
              <a:off x="7494588" y="5375275"/>
              <a:ext cx="52388" cy="50800"/>
            </a:xfrm>
            <a:custGeom>
              <a:avLst/>
              <a:gdLst>
                <a:gd name="T0" fmla="*/ 52 w 131"/>
                <a:gd name="T1" fmla="*/ 60 h 129"/>
                <a:gd name="T2" fmla="*/ 70 w 131"/>
                <a:gd name="T3" fmla="*/ 60 h 129"/>
                <a:gd name="T4" fmla="*/ 76 w 131"/>
                <a:gd name="T5" fmla="*/ 59 h 129"/>
                <a:gd name="T6" fmla="*/ 81 w 131"/>
                <a:gd name="T7" fmla="*/ 55 h 129"/>
                <a:gd name="T8" fmla="*/ 84 w 131"/>
                <a:gd name="T9" fmla="*/ 48 h 129"/>
                <a:gd name="T10" fmla="*/ 81 w 131"/>
                <a:gd name="T11" fmla="*/ 42 h 129"/>
                <a:gd name="T12" fmla="*/ 77 w 131"/>
                <a:gd name="T13" fmla="*/ 38 h 129"/>
                <a:gd name="T14" fmla="*/ 71 w 131"/>
                <a:gd name="T15" fmla="*/ 37 h 129"/>
                <a:gd name="T16" fmla="*/ 52 w 131"/>
                <a:gd name="T17" fmla="*/ 37 h 129"/>
                <a:gd name="T18" fmla="*/ 69 w 131"/>
                <a:gd name="T19" fmla="*/ 28 h 129"/>
                <a:gd name="T20" fmla="*/ 89 w 131"/>
                <a:gd name="T21" fmla="*/ 33 h 129"/>
                <a:gd name="T22" fmla="*/ 95 w 131"/>
                <a:gd name="T23" fmla="*/ 49 h 129"/>
                <a:gd name="T24" fmla="*/ 90 w 131"/>
                <a:gd name="T25" fmla="*/ 63 h 129"/>
                <a:gd name="T26" fmla="*/ 76 w 131"/>
                <a:gd name="T27" fmla="*/ 69 h 129"/>
                <a:gd name="T28" fmla="*/ 85 w 131"/>
                <a:gd name="T29" fmla="*/ 101 h 129"/>
                <a:gd name="T30" fmla="*/ 52 w 131"/>
                <a:gd name="T31" fmla="*/ 69 h 129"/>
                <a:gd name="T32" fmla="*/ 41 w 131"/>
                <a:gd name="T33" fmla="*/ 101 h 129"/>
                <a:gd name="T34" fmla="*/ 66 w 131"/>
                <a:gd name="T35" fmla="*/ 10 h 129"/>
                <a:gd name="T36" fmla="*/ 34 w 131"/>
                <a:gd name="T37" fmla="*/ 20 h 129"/>
                <a:gd name="T38" fmla="*/ 15 w 131"/>
                <a:gd name="T39" fmla="*/ 47 h 129"/>
                <a:gd name="T40" fmla="*/ 15 w 131"/>
                <a:gd name="T41" fmla="*/ 81 h 129"/>
                <a:gd name="T42" fmla="*/ 34 w 131"/>
                <a:gd name="T43" fmla="*/ 108 h 129"/>
                <a:gd name="T44" fmla="*/ 66 w 131"/>
                <a:gd name="T45" fmla="*/ 119 h 129"/>
                <a:gd name="T46" fmla="*/ 96 w 131"/>
                <a:gd name="T47" fmla="*/ 108 h 129"/>
                <a:gd name="T48" fmla="*/ 115 w 131"/>
                <a:gd name="T49" fmla="*/ 81 h 129"/>
                <a:gd name="T50" fmla="*/ 115 w 131"/>
                <a:gd name="T51" fmla="*/ 47 h 129"/>
                <a:gd name="T52" fmla="*/ 96 w 131"/>
                <a:gd name="T53" fmla="*/ 20 h 129"/>
                <a:gd name="T54" fmla="*/ 66 w 131"/>
                <a:gd name="T55" fmla="*/ 10 h 129"/>
                <a:gd name="T56" fmla="*/ 86 w 131"/>
                <a:gd name="T57" fmla="*/ 3 h 129"/>
                <a:gd name="T58" fmla="*/ 118 w 131"/>
                <a:gd name="T59" fmla="*/ 25 h 129"/>
                <a:gd name="T60" fmla="*/ 131 w 131"/>
                <a:gd name="T61" fmla="*/ 64 h 129"/>
                <a:gd name="T62" fmla="*/ 118 w 131"/>
                <a:gd name="T63" fmla="*/ 103 h 129"/>
                <a:gd name="T64" fmla="*/ 86 w 131"/>
                <a:gd name="T65" fmla="*/ 126 h 129"/>
                <a:gd name="T66" fmla="*/ 45 w 131"/>
                <a:gd name="T67" fmla="*/ 126 h 129"/>
                <a:gd name="T68" fmla="*/ 13 w 131"/>
                <a:gd name="T69" fmla="*/ 103 h 129"/>
                <a:gd name="T70" fmla="*/ 0 w 131"/>
                <a:gd name="T71" fmla="*/ 64 h 129"/>
                <a:gd name="T72" fmla="*/ 13 w 131"/>
                <a:gd name="T73" fmla="*/ 25 h 129"/>
                <a:gd name="T74" fmla="*/ 45 w 131"/>
                <a:gd name="T75" fmla="*/ 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" h="129">
                  <a:moveTo>
                    <a:pt x="52" y="37"/>
                  </a:moveTo>
                  <a:lnTo>
                    <a:pt x="52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4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1" y="55"/>
                  </a:lnTo>
                  <a:lnTo>
                    <a:pt x="82" y="51"/>
                  </a:lnTo>
                  <a:lnTo>
                    <a:pt x="84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80" y="39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2" y="37"/>
                  </a:lnTo>
                  <a:close/>
                  <a:moveTo>
                    <a:pt x="41" y="28"/>
                  </a:moveTo>
                  <a:lnTo>
                    <a:pt x="69" y="28"/>
                  </a:lnTo>
                  <a:lnTo>
                    <a:pt x="80" y="29"/>
                  </a:lnTo>
                  <a:lnTo>
                    <a:pt x="89" y="33"/>
                  </a:lnTo>
                  <a:lnTo>
                    <a:pt x="94" y="39"/>
                  </a:lnTo>
                  <a:lnTo>
                    <a:pt x="95" y="49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4" y="66"/>
                  </a:lnTo>
                  <a:lnTo>
                    <a:pt x="76" y="69"/>
                  </a:lnTo>
                  <a:lnTo>
                    <a:pt x="97" y="101"/>
                  </a:lnTo>
                  <a:lnTo>
                    <a:pt x="85" y="101"/>
                  </a:lnTo>
                  <a:lnTo>
                    <a:pt x="65" y="69"/>
                  </a:lnTo>
                  <a:lnTo>
                    <a:pt x="52" y="69"/>
                  </a:lnTo>
                  <a:lnTo>
                    <a:pt x="52" y="101"/>
                  </a:lnTo>
                  <a:lnTo>
                    <a:pt x="41" y="101"/>
                  </a:lnTo>
                  <a:lnTo>
                    <a:pt x="41" y="28"/>
                  </a:lnTo>
                  <a:close/>
                  <a:moveTo>
                    <a:pt x="66" y="10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3"/>
                  </a:lnTo>
                  <a:lnTo>
                    <a:pt x="15" y="47"/>
                  </a:lnTo>
                  <a:lnTo>
                    <a:pt x="13" y="64"/>
                  </a:lnTo>
                  <a:lnTo>
                    <a:pt x="15" y="81"/>
                  </a:lnTo>
                  <a:lnTo>
                    <a:pt x="23" y="96"/>
                  </a:lnTo>
                  <a:lnTo>
                    <a:pt x="34" y="108"/>
                  </a:lnTo>
                  <a:lnTo>
                    <a:pt x="49" y="115"/>
                  </a:lnTo>
                  <a:lnTo>
                    <a:pt x="66" y="119"/>
                  </a:lnTo>
                  <a:lnTo>
                    <a:pt x="82" y="115"/>
                  </a:lnTo>
                  <a:lnTo>
                    <a:pt x="96" y="108"/>
                  </a:lnTo>
                  <a:lnTo>
                    <a:pt x="107" y="96"/>
                  </a:lnTo>
                  <a:lnTo>
                    <a:pt x="115" y="81"/>
                  </a:lnTo>
                  <a:lnTo>
                    <a:pt x="117" y="64"/>
                  </a:lnTo>
                  <a:lnTo>
                    <a:pt x="115" y="47"/>
                  </a:lnTo>
                  <a:lnTo>
                    <a:pt x="107" y="33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0"/>
                  </a:lnTo>
                  <a:close/>
                  <a:moveTo>
                    <a:pt x="66" y="0"/>
                  </a:moveTo>
                  <a:lnTo>
                    <a:pt x="86" y="3"/>
                  </a:lnTo>
                  <a:lnTo>
                    <a:pt x="103" y="12"/>
                  </a:lnTo>
                  <a:lnTo>
                    <a:pt x="118" y="25"/>
                  </a:lnTo>
                  <a:lnTo>
                    <a:pt x="127" y="44"/>
                  </a:lnTo>
                  <a:lnTo>
                    <a:pt x="131" y="64"/>
                  </a:lnTo>
                  <a:lnTo>
                    <a:pt x="127" y="85"/>
                  </a:lnTo>
                  <a:lnTo>
                    <a:pt x="118" y="103"/>
                  </a:lnTo>
                  <a:lnTo>
                    <a:pt x="103" y="116"/>
                  </a:lnTo>
                  <a:lnTo>
                    <a:pt x="86" y="126"/>
                  </a:lnTo>
                  <a:lnTo>
                    <a:pt x="66" y="129"/>
                  </a:lnTo>
                  <a:lnTo>
                    <a:pt x="45" y="126"/>
                  </a:lnTo>
                  <a:lnTo>
                    <a:pt x="28" y="116"/>
                  </a:lnTo>
                  <a:lnTo>
                    <a:pt x="13" y="103"/>
                  </a:lnTo>
                  <a:lnTo>
                    <a:pt x="4" y="85"/>
                  </a:lnTo>
                  <a:lnTo>
                    <a:pt x="0" y="64"/>
                  </a:lnTo>
                  <a:lnTo>
                    <a:pt x="4" y="44"/>
                  </a:lnTo>
                  <a:lnTo>
                    <a:pt x="13" y="25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Line 28"/>
            <p:cNvSpPr>
              <a:spLocks noChangeShapeType="1"/>
            </p:cNvSpPr>
            <p:nvPr userDrawn="1"/>
          </p:nvSpPr>
          <p:spPr bwMode="auto">
            <a:xfrm>
              <a:off x="7548563" y="5530850"/>
              <a:ext cx="1052513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8166423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S - Imag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70093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1159797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S -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4576204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S - Title &amp; Subtitle - Blue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>
                    <a:lumMod val="40000"/>
                    <a:lumOff val="6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TextBox 4"/>
          <p:cNvSpPr txBox="1"/>
          <p:nvPr userDrawn="1"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2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8857648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514333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6364" y="1016459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0760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2AD1D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589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_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3674B8A7-CF90-4430-B184-516F8D5E0D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3" y="4746757"/>
            <a:ext cx="558779" cy="253991"/>
          </a:xfrm>
          <a:prstGeom prst="rect">
            <a:avLst/>
          </a:prstGeom>
        </p:spPr>
      </p:pic>
      <p:sp>
        <p:nvSpPr>
          <p:cNvPr id="5" name="TextBox 3">
            <a:extLst>
              <a:ext uri="{FF2B5EF4-FFF2-40B4-BE49-F238E27FC236}">
                <a16:creationId xmlns:a16="http://schemas.microsoft.com/office/drawing/2014/main" id="{5D40C3BD-F93B-485B-BB33-A3B617AF1D7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8683156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-Midnight">
    <p:bg>
      <p:bgPr>
        <a:solidFill>
          <a:schemeClr val="bg2">
            <a:lumMod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C232093-1717-4BC8-B967-6D7FFD2EAF44}"/>
              </a:ext>
            </a:extLst>
          </p:cNvPr>
          <p:cNvGrpSpPr/>
          <p:nvPr userDrawn="1"/>
        </p:nvGrpSpPr>
        <p:grpSpPr>
          <a:xfrm>
            <a:off x="7937845" y="-5649"/>
            <a:ext cx="1213400" cy="1210994"/>
            <a:chOff x="7937845" y="-5649"/>
            <a:chExt cx="1213400" cy="1210994"/>
          </a:xfrm>
        </p:grpSpPr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2CED250-E7DE-274E-A361-A62FEB614CC3}"/>
                </a:ext>
              </a:extLst>
            </p:cNvPr>
            <p:cNvSpPr/>
            <p:nvPr userDrawn="1"/>
          </p:nvSpPr>
          <p:spPr>
            <a:xfrm>
              <a:off x="7937845" y="-1"/>
              <a:ext cx="1213400" cy="1205346"/>
            </a:xfrm>
            <a:custGeom>
              <a:avLst/>
              <a:gdLst>
                <a:gd name="connsiteX0" fmla="*/ 0 w 1782492"/>
                <a:gd name="connsiteY0" fmla="*/ 0 h 1770660"/>
                <a:gd name="connsiteX1" fmla="*/ 1782492 w 1782492"/>
                <a:gd name="connsiteY1" fmla="*/ 0 h 1770660"/>
                <a:gd name="connsiteX2" fmla="*/ 1782492 w 1782492"/>
                <a:gd name="connsiteY2" fmla="*/ 1770660 h 1770660"/>
                <a:gd name="connsiteX3" fmla="*/ 0 w 1782492"/>
                <a:gd name="connsiteY3" fmla="*/ 0 h 17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2492" h="1770660">
                  <a:moveTo>
                    <a:pt x="0" y="0"/>
                  </a:moveTo>
                  <a:lnTo>
                    <a:pt x="1782492" y="0"/>
                  </a:lnTo>
                  <a:lnTo>
                    <a:pt x="1782492" y="177066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9471FF">
                    <a:alpha val="25000"/>
                  </a:srgbClr>
                </a:gs>
                <a:gs pos="49000">
                  <a:srgbClr val="49C4C7">
                    <a:alpha val="25000"/>
                  </a:srgbClr>
                </a:gs>
                <a:gs pos="99000">
                  <a:schemeClr val="accent1">
                    <a:alpha val="2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119CDFA2-9721-D941-B4FB-5F8D6C5D16F9}"/>
                </a:ext>
              </a:extLst>
            </p:cNvPr>
            <p:cNvSpPr/>
            <p:nvPr userDrawn="1"/>
          </p:nvSpPr>
          <p:spPr>
            <a:xfrm>
              <a:off x="8113304" y="0"/>
              <a:ext cx="1037940" cy="1031050"/>
            </a:xfrm>
            <a:custGeom>
              <a:avLst/>
              <a:gdLst>
                <a:gd name="connsiteX0" fmla="*/ 0 w 1524739"/>
                <a:gd name="connsiteY0" fmla="*/ 0 h 1514618"/>
                <a:gd name="connsiteX1" fmla="*/ 1524739 w 1524739"/>
                <a:gd name="connsiteY1" fmla="*/ 0 h 1514618"/>
                <a:gd name="connsiteX2" fmla="*/ 1524739 w 1524739"/>
                <a:gd name="connsiteY2" fmla="*/ 1514618 h 1514618"/>
                <a:gd name="connsiteX3" fmla="*/ 0 w 1524739"/>
                <a:gd name="connsiteY3" fmla="*/ 0 h 15146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739" h="1514618">
                  <a:moveTo>
                    <a:pt x="0" y="0"/>
                  </a:moveTo>
                  <a:lnTo>
                    <a:pt x="1524739" y="0"/>
                  </a:lnTo>
                  <a:lnTo>
                    <a:pt x="1524739" y="1514618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9471FF">
                    <a:alpha val="25000"/>
                  </a:srgbClr>
                </a:gs>
                <a:gs pos="49000">
                  <a:srgbClr val="49C4C7">
                    <a:alpha val="25000"/>
                  </a:srgbClr>
                </a:gs>
                <a:gs pos="99000">
                  <a:schemeClr val="accent1">
                    <a:alpha val="2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332A009-8BF2-8C49-AAD1-3CFF0D1A30EA}"/>
                </a:ext>
              </a:extLst>
            </p:cNvPr>
            <p:cNvSpPr/>
            <p:nvPr userDrawn="1"/>
          </p:nvSpPr>
          <p:spPr>
            <a:xfrm rot="10800000">
              <a:off x="8328801" y="-5649"/>
              <a:ext cx="822444" cy="816985"/>
            </a:xfrm>
            <a:custGeom>
              <a:avLst/>
              <a:gdLst>
                <a:gd name="connsiteX0" fmla="*/ 1208174 w 1208174"/>
                <a:gd name="connsiteY0" fmla="*/ 1200155 h 1200155"/>
                <a:gd name="connsiteX1" fmla="*/ 0 w 1208174"/>
                <a:gd name="connsiteY1" fmla="*/ 1200155 h 1200155"/>
                <a:gd name="connsiteX2" fmla="*/ 0 w 1208174"/>
                <a:gd name="connsiteY2" fmla="*/ 0 h 1200155"/>
                <a:gd name="connsiteX3" fmla="*/ 1208174 w 1208174"/>
                <a:gd name="connsiteY3" fmla="*/ 1200155 h 120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8174" h="1200155">
                  <a:moveTo>
                    <a:pt x="1208174" y="1200155"/>
                  </a:moveTo>
                  <a:lnTo>
                    <a:pt x="0" y="1200155"/>
                  </a:lnTo>
                  <a:lnTo>
                    <a:pt x="0" y="0"/>
                  </a:lnTo>
                  <a:lnTo>
                    <a:pt x="1208174" y="1200155"/>
                  </a:lnTo>
                  <a:close/>
                </a:path>
              </a:pathLst>
            </a:custGeom>
            <a:gradFill>
              <a:gsLst>
                <a:gs pos="0">
                  <a:srgbClr val="9471FF">
                    <a:alpha val="25000"/>
                  </a:srgbClr>
                </a:gs>
                <a:gs pos="50000">
                  <a:srgbClr val="49C4C7">
                    <a:alpha val="25000"/>
                  </a:srgbClr>
                </a:gs>
                <a:gs pos="100000">
                  <a:schemeClr val="accent1">
                    <a:alpha val="2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B869945-53FF-7E49-B3A7-063A8DF0AA9A}"/>
              </a:ext>
            </a:extLst>
          </p:cNvPr>
          <p:cNvGrpSpPr/>
          <p:nvPr userDrawn="1"/>
        </p:nvGrpSpPr>
        <p:grpSpPr>
          <a:xfrm>
            <a:off x="-5568" y="2399571"/>
            <a:ext cx="2762264" cy="2743929"/>
            <a:chOff x="-12817" y="2874347"/>
            <a:chExt cx="2284315" cy="2269153"/>
          </a:xfrm>
        </p:grpSpPr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0B844E8D-965E-CB4E-8F3F-CFA218AE04EC}"/>
                </a:ext>
              </a:extLst>
            </p:cNvPr>
            <p:cNvSpPr/>
            <p:nvPr userDrawn="1"/>
          </p:nvSpPr>
          <p:spPr>
            <a:xfrm>
              <a:off x="-12817" y="2874347"/>
              <a:ext cx="2284315" cy="2269153"/>
            </a:xfrm>
            <a:prstGeom prst="rtTriangle">
              <a:avLst/>
            </a:prstGeom>
            <a:gradFill>
              <a:gsLst>
                <a:gs pos="0">
                  <a:srgbClr val="9471FF">
                    <a:alpha val="20000"/>
                  </a:srgbClr>
                </a:gs>
                <a:gs pos="49000">
                  <a:srgbClr val="49C4C7">
                    <a:alpha val="20000"/>
                  </a:srgbClr>
                </a:gs>
                <a:gs pos="99000">
                  <a:schemeClr val="accent1">
                    <a:alpha val="1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9" name="Right Triangle 18">
              <a:extLst>
                <a:ext uri="{FF2B5EF4-FFF2-40B4-BE49-F238E27FC236}">
                  <a16:creationId xmlns:a16="http://schemas.microsoft.com/office/drawing/2014/main" id="{9E2E0FB9-73B5-954B-BA98-124999CFC303}"/>
                </a:ext>
              </a:extLst>
            </p:cNvPr>
            <p:cNvSpPr/>
            <p:nvPr userDrawn="1"/>
          </p:nvSpPr>
          <p:spPr>
            <a:xfrm>
              <a:off x="-8214" y="3090659"/>
              <a:ext cx="2066558" cy="2052841"/>
            </a:xfrm>
            <a:prstGeom prst="rtTriangle">
              <a:avLst/>
            </a:prstGeom>
            <a:gradFill>
              <a:gsLst>
                <a:gs pos="0">
                  <a:srgbClr val="9471FF">
                    <a:alpha val="15000"/>
                  </a:srgbClr>
                </a:gs>
                <a:gs pos="50000">
                  <a:srgbClr val="49C4C7">
                    <a:alpha val="20000"/>
                  </a:srgbClr>
                </a:gs>
                <a:gs pos="100000">
                  <a:schemeClr val="accent1">
                    <a:alpha val="10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20" name="Right Triangle 19">
              <a:extLst>
                <a:ext uri="{FF2B5EF4-FFF2-40B4-BE49-F238E27FC236}">
                  <a16:creationId xmlns:a16="http://schemas.microsoft.com/office/drawing/2014/main" id="{D5BC5270-1BE1-D141-A7A0-3EC259D43B8A}"/>
                </a:ext>
              </a:extLst>
            </p:cNvPr>
            <p:cNvSpPr/>
            <p:nvPr userDrawn="1"/>
          </p:nvSpPr>
          <p:spPr>
            <a:xfrm>
              <a:off x="-8214" y="3355383"/>
              <a:ext cx="1800065" cy="1788117"/>
            </a:xfrm>
            <a:prstGeom prst="rtTriangle">
              <a:avLst/>
            </a:prstGeom>
            <a:gradFill>
              <a:gsLst>
                <a:gs pos="0">
                  <a:srgbClr val="9471FF">
                    <a:alpha val="15000"/>
                  </a:srgbClr>
                </a:gs>
                <a:gs pos="50000">
                  <a:srgbClr val="49C4C7">
                    <a:alpha val="20000"/>
                  </a:srgbClr>
                </a:gs>
                <a:gs pos="100000">
                  <a:schemeClr val="accent1">
                    <a:alpha val="5000"/>
                  </a:schemeClr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 userDrawn="1"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rgbClr val="49C4C7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quarter" idx="11" hasCustomPrompt="1"/>
          </p:nvPr>
        </p:nvSpPr>
        <p:spPr>
          <a:xfrm>
            <a:off x="626364" y="1016459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26EBCDBD-F211-2F4A-BB58-58E69F51D9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0CBB49-20EC-1548-9A2B-3EBAF3C22EC6}"/>
              </a:ext>
            </a:extLst>
          </p:cNvPr>
          <p:cNvSpPr txBox="1"/>
          <p:nvPr userDrawn="1"/>
        </p:nvSpPr>
        <p:spPr>
          <a:xfrm>
            <a:off x="92609" y="4746756"/>
            <a:ext cx="213981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Avenir Next" panose="020B0503020202020204" pitchFamily="34" charset="0"/>
              </a:rPr>
              <a:t>FRONT LINE </a:t>
            </a:r>
            <a:r>
              <a:rPr lang="en-US" sz="1300" b="1">
                <a:solidFill>
                  <a:schemeClr val="bg1"/>
                </a:solidFill>
                <a:latin typeface="Avenir Next" panose="020B0503020202020204" pitchFamily="34" charset="0"/>
              </a:rPr>
              <a:t>EXPERIENCE</a:t>
            </a:r>
          </a:p>
        </p:txBody>
      </p:sp>
    </p:spTree>
    <p:extLst>
      <p:ext uri="{BB962C8B-B14F-4D97-AF65-F5344CB8AC3E}">
        <p14:creationId xmlns:p14="http://schemas.microsoft.com/office/powerpoint/2010/main" val="3703367932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solidFill>
          <a:srgbClr val="001D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71457-EFAF-8D47-BCE5-85A577FBC1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25E9CC-B45C-9A4A-B0F5-8D235AF133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3B3B71-7ECF-FF41-8486-CA221CC6E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40B01-54CA-0E40-A33E-FF510879B0C9}" type="datetimeFigureOut">
              <a:rPr lang="en-US" smtClean="0"/>
              <a:t>10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201D8E-C8BD-7D4F-B678-33ED1F5BC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A7896F-BC33-A245-A3D6-ED4CC4C71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593D77-3C30-1E49-A4A0-4D37BCE7E0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5043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AS - Content - Bl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>
                    <a:lumMod val="40000"/>
                    <a:lumOff val="6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6364" y="1016460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</a:defRPr>
            </a:lvl1pPr>
            <a:lvl2pPr>
              <a:buClr>
                <a:schemeClr val="bg1">
                  <a:lumMod val="75000"/>
                </a:schemeClr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5" name="TextBox 4"/>
          <p:cNvSpPr txBox="1"/>
          <p:nvPr userDrawn="1"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09181488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Only">
    <p:bg>
      <p:bgPr>
        <a:gradFill>
          <a:gsLst>
            <a:gs pos="98000">
              <a:schemeClr val="bg1"/>
            </a:gs>
            <a:gs pos="20000">
              <a:schemeClr val="bg1">
                <a:lumMod val="90000"/>
              </a:schemeClr>
            </a:gs>
            <a:gs pos="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84548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5DCED66-1892-224F-B3AD-DC1323E4C9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228850" cy="5143500"/>
          </a:xfrm>
          <a:prstGeom prst="rect">
            <a:avLst/>
          </a:prstGeom>
        </p:spPr>
      </p:pic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3872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4">
            <a:extLst>
              <a:ext uri="{FF2B5EF4-FFF2-40B4-BE49-F238E27FC236}">
                <a16:creationId xmlns:a16="http://schemas.microsoft.com/office/drawing/2014/main" id="{9B949CCB-8408-0B41-9681-4ECA35605A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3872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2F4D0-EB0E-3842-9785-6EF69081820E}"/>
              </a:ext>
            </a:extLst>
          </p:cNvPr>
          <p:cNvSpPr/>
          <p:nvPr/>
        </p:nvSpPr>
        <p:spPr>
          <a:xfrm>
            <a:off x="0" y="0"/>
            <a:ext cx="2405925" cy="5148072"/>
          </a:xfrm>
          <a:prstGeom prst="rect">
            <a:avLst/>
          </a:prstGeom>
          <a:gradFill flip="none" rotWithShape="1">
            <a:gsLst>
              <a:gs pos="2000">
                <a:schemeClr val="tx2">
                  <a:alpha val="0"/>
                </a:schemeClr>
              </a:gs>
              <a:gs pos="100000">
                <a:schemeClr val="tx2">
                  <a:alpha val="3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A8B58C-CD7F-6F4B-B6E8-178EEF4B15D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613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Section Hea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900AF95-1FC8-274C-A784-F831F6B8647F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B0C6AF5C-E29A-9E49-801E-0A1C09DFDE5F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4" name="Picture 6">
            <a:extLst>
              <a:ext uri="{FF2B5EF4-FFF2-40B4-BE49-F238E27FC236}">
                <a16:creationId xmlns:a16="http://schemas.microsoft.com/office/drawing/2014/main" id="{6BFF7639-E4DF-3741-90C7-2DFCD9D26A0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pic>
        <p:nvPicPr>
          <p:cNvPr id="6" name="Picture 5" descr="A picture containing clock, light, drawing&#10;&#10;Description automatically generated">
            <a:extLst>
              <a:ext uri="{FF2B5EF4-FFF2-40B4-BE49-F238E27FC236}">
                <a16:creationId xmlns:a16="http://schemas.microsoft.com/office/drawing/2014/main" id="{43AE3E76-C4CC-8245-858F-A891F08C3E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61" r="33611" b="20040"/>
          <a:stretch/>
        </p:blipFill>
        <p:spPr>
          <a:xfrm>
            <a:off x="4561295" y="-6045"/>
            <a:ext cx="4582705" cy="5149545"/>
          </a:xfrm>
          <a:prstGeom prst="rect">
            <a:avLst/>
          </a:prstGeom>
        </p:spPr>
      </p:pic>
      <p:sp>
        <p:nvSpPr>
          <p:cNvPr id="11" name="Text Placeholder 34">
            <a:extLst>
              <a:ext uri="{FF2B5EF4-FFF2-40B4-BE49-F238E27FC236}">
                <a16:creationId xmlns:a16="http://schemas.microsoft.com/office/drawing/2014/main" id="{C8C0CE08-E9A8-3940-A81E-001DC88592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0203" y="2484438"/>
            <a:ext cx="6390694" cy="145891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2">
            <a:extLst>
              <a:ext uri="{FF2B5EF4-FFF2-40B4-BE49-F238E27FC236}">
                <a16:creationId xmlns:a16="http://schemas.microsoft.com/office/drawing/2014/main" id="{D5BF76BC-A168-D846-A33A-DDC741AB2C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0203" y="875926"/>
            <a:ext cx="6390694" cy="1556124"/>
          </a:xfrm>
        </p:spPr>
        <p:txBody>
          <a:bodyPr anchor="b">
            <a:normAutofit/>
          </a:bodyPr>
          <a:lstStyle>
            <a:lvl1pPr marL="0" indent="0" algn="l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982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1pPr>
            <a:lvl2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2pPr>
            <a:lvl3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3pPr>
            <a:lvl4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4pPr>
            <a:lvl5pPr>
              <a:buClr>
                <a:schemeClr val="bg2"/>
              </a:buCl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6827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&amp; Subtitl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40EF35-062A-4CF7-B99A-D6EF688F3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667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280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AS - Title Onl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6D2956B-4FA4-8241-90A9-0D476D9AFA82}"/>
              </a:ext>
            </a:extLst>
          </p:cNvPr>
          <p:cNvSpPr/>
          <p:nvPr userDrawn="1"/>
        </p:nvSpPr>
        <p:spPr>
          <a:xfrm>
            <a:off x="-68827" y="-19664"/>
            <a:ext cx="9212827" cy="5230761"/>
          </a:xfrm>
          <a:prstGeom prst="rect">
            <a:avLst/>
          </a:prstGeom>
          <a:solidFill>
            <a:srgbClr val="1211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236" y="509818"/>
            <a:ext cx="7886700" cy="457200"/>
          </a:xfrm>
        </p:spPr>
        <p:txBody>
          <a:bodyPr/>
          <a:lstStyle>
            <a:lvl1pPr algn="l">
              <a:defRPr>
                <a:solidFill>
                  <a:srgbClr val="2AD1D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BE5AA2-CBFB-024B-86DA-BBD491EAAB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14" t="5448" r="43760" b="1735"/>
          <a:stretch/>
        </p:blipFill>
        <p:spPr>
          <a:xfrm>
            <a:off x="5897189" y="1"/>
            <a:ext cx="3246811" cy="51926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3000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90ADF-F9C8-471B-A694-7C0B48436B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7718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ntent with Caption -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7E60C6F-E980-EE42-AE99-4BF9E126C012}"/>
              </a:ext>
            </a:extLst>
          </p:cNvPr>
          <p:cNvSpPr/>
          <p:nvPr/>
        </p:nvSpPr>
        <p:spPr>
          <a:xfrm>
            <a:off x="0" y="0"/>
            <a:ext cx="3127248" cy="51435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90000"/>
                  <a:lumOff val="10000"/>
                </a:schemeClr>
              </a:gs>
              <a:gs pos="100000">
                <a:schemeClr val="tx2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2F2FC9C-401F-5C4C-88BC-0A45460C4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28887"/>
            <a:ext cx="3127248" cy="341632"/>
          </a:xfrm>
        </p:spPr>
        <p:txBody>
          <a:bodyPr lIns="91440" rIns="91440" anchor="t" anchorCtr="0">
            <a:spAutoFit/>
          </a:bodyPr>
          <a:lstStyle>
            <a:lvl1pPr algn="ctr" defTabSz="182880">
              <a:spcBef>
                <a:spcPts val="0"/>
              </a:spcBef>
              <a:defRPr sz="1800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ADB52DD-F50B-834D-99B3-5D1C55A9E4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1480" y="996694"/>
            <a:ext cx="2304288" cy="615553"/>
          </a:xfrm>
        </p:spPr>
        <p:txBody>
          <a:bodyPr wrap="square" anchor="t" anchorCtr="0">
            <a:spAutoFit/>
          </a:bodyPr>
          <a:lstStyle>
            <a:lvl1pPr marL="0" indent="-182880" algn="l">
              <a:buFont typeface="Arial" pitchFamily="34" charset="0"/>
              <a:buNone/>
              <a:defRPr sz="2000" b="0" cap="none" baseline="0">
                <a:solidFill>
                  <a:schemeClr val="bg1">
                    <a:lumMod val="85000"/>
                  </a:schemeClr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Click to edit caption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C4D2804-3DAD-EE40-936A-43F13F80C8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27248" y="637660"/>
            <a:ext cx="6016752" cy="274320"/>
          </a:xfrm>
        </p:spPr>
        <p:txBody>
          <a:bodyPr wrap="square" lIns="182880" rIns="18288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800" b="0" cap="none" baseline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A0DAF33-5110-D340-8044-FA8F4990F8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27248" y="920337"/>
            <a:ext cx="6016752" cy="4215653"/>
          </a:xfrm>
        </p:spPr>
        <p:txBody>
          <a:bodyPr wrap="square" lIns="365760" rIns="274320" bIns="91440" anchor="t" anchorCtr="0">
            <a:normAutofit/>
          </a:bodyPr>
          <a:lstStyle>
            <a:lvl1pPr>
              <a:buClr>
                <a:schemeClr val="bg2"/>
              </a:buClr>
              <a:defRPr sz="2000" baseline="0">
                <a:solidFill>
                  <a:schemeClr val="bg1"/>
                </a:solidFill>
              </a:defRPr>
            </a:lvl1pPr>
            <a:lvl2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2pPr>
            <a:lvl3pPr>
              <a:buClr>
                <a:schemeClr val="bg2"/>
              </a:buClr>
              <a:defRPr baseline="0">
                <a:solidFill>
                  <a:schemeClr val="bg1">
                    <a:lumMod val="75000"/>
                  </a:schemeClr>
                </a:solidFill>
              </a:defRPr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841ED34-FEB5-C146-83AC-389AC6CD97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7375" y="228887"/>
            <a:ext cx="6016625" cy="409575"/>
          </a:xfrm>
        </p:spPr>
        <p:txBody>
          <a:bodyPr>
            <a:noAutofit/>
          </a:bodyPr>
          <a:lstStyle>
            <a:lvl1pPr marL="0" indent="0" algn="ctr">
              <a:buNone/>
              <a:defRPr sz="2800" b="1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E23137D-5031-B540-810B-5B5014DDB875}"/>
              </a:ext>
            </a:extLst>
          </p:cNvPr>
          <p:cNvGrpSpPr/>
          <p:nvPr/>
        </p:nvGrpSpPr>
        <p:grpSpPr>
          <a:xfrm>
            <a:off x="100130" y="3903136"/>
            <a:ext cx="1843588" cy="1108928"/>
            <a:chOff x="92670" y="3892522"/>
            <a:chExt cx="1843588" cy="1108928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4F2A5B7-99AC-BD49-8594-6DAE464CF372}"/>
                </a:ext>
              </a:extLst>
            </p:cNvPr>
            <p:cNvSpPr/>
            <p:nvPr/>
          </p:nvSpPr>
          <p:spPr>
            <a:xfrm>
              <a:off x="1836799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AE995F31-A398-C943-8027-FFECF81903AA}"/>
                </a:ext>
              </a:extLst>
            </p:cNvPr>
            <p:cNvSpPr/>
            <p:nvPr/>
          </p:nvSpPr>
          <p:spPr>
            <a:xfrm>
              <a:off x="1587637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60762E83-CF17-2247-AB0C-CDF3C02BC0D7}"/>
                </a:ext>
              </a:extLst>
            </p:cNvPr>
            <p:cNvSpPr/>
            <p:nvPr/>
          </p:nvSpPr>
          <p:spPr>
            <a:xfrm>
              <a:off x="1338476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67A16E5-88F6-E34C-ADB8-42534BE72FC5}"/>
                </a:ext>
              </a:extLst>
            </p:cNvPr>
            <p:cNvSpPr/>
            <p:nvPr/>
          </p:nvSpPr>
          <p:spPr>
            <a:xfrm>
              <a:off x="1089315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7822DD3-7A44-584E-8FDE-044968D0AF24}"/>
                </a:ext>
              </a:extLst>
            </p:cNvPr>
            <p:cNvSpPr/>
            <p:nvPr/>
          </p:nvSpPr>
          <p:spPr>
            <a:xfrm>
              <a:off x="1089315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CC0BCCA-D6DE-DD4E-8026-E1C841BE8CA7}"/>
                </a:ext>
              </a:extLst>
            </p:cNvPr>
            <p:cNvSpPr/>
            <p:nvPr/>
          </p:nvSpPr>
          <p:spPr>
            <a:xfrm>
              <a:off x="840154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8AED6F9-E6A3-EB4A-A55C-0740537659D6}"/>
                </a:ext>
              </a:extLst>
            </p:cNvPr>
            <p:cNvSpPr/>
            <p:nvPr/>
          </p:nvSpPr>
          <p:spPr>
            <a:xfrm>
              <a:off x="1089315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4" y="99460"/>
                    <a:pt x="0" y="77195"/>
                    <a:pt x="0" y="49730"/>
                  </a:cubicBezTo>
                  <a:cubicBezTo>
                    <a:pt x="0" y="22265"/>
                    <a:pt x="22264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3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D44A5219-46D3-9D49-A8CC-36711F2BF6DB}"/>
                </a:ext>
              </a:extLst>
            </p:cNvPr>
            <p:cNvSpPr/>
            <p:nvPr/>
          </p:nvSpPr>
          <p:spPr>
            <a:xfrm>
              <a:off x="840154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4628D6A-430F-AD46-B90A-8331A948822D}"/>
                </a:ext>
              </a:extLst>
            </p:cNvPr>
            <p:cNvSpPr/>
            <p:nvPr/>
          </p:nvSpPr>
          <p:spPr>
            <a:xfrm>
              <a:off x="590992" y="4889173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0B47CCF-EFB3-B44B-9884-4494451C2D72}"/>
                </a:ext>
              </a:extLst>
            </p:cNvPr>
            <p:cNvSpPr/>
            <p:nvPr/>
          </p:nvSpPr>
          <p:spPr>
            <a:xfrm>
              <a:off x="341831" y="4889173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A0D0CC0-B494-924D-8C7F-13E6CFA6A115}"/>
                </a:ext>
              </a:extLst>
            </p:cNvPr>
            <p:cNvSpPr/>
            <p:nvPr/>
          </p:nvSpPr>
          <p:spPr>
            <a:xfrm>
              <a:off x="92670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1A103DE1-86D1-CC40-BC8E-F37870113828}"/>
                </a:ext>
              </a:extLst>
            </p:cNvPr>
            <p:cNvSpPr/>
            <p:nvPr/>
          </p:nvSpPr>
          <p:spPr>
            <a:xfrm>
              <a:off x="341831" y="4640010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85B7FDA-2A3D-5148-882C-7F5FD28C86D6}"/>
                </a:ext>
              </a:extLst>
            </p:cNvPr>
            <p:cNvSpPr/>
            <p:nvPr/>
          </p:nvSpPr>
          <p:spPr>
            <a:xfrm>
              <a:off x="341831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D319DB66-4056-974A-B568-9BE51C46D6DB}"/>
                </a:ext>
              </a:extLst>
            </p:cNvPr>
            <p:cNvSpPr/>
            <p:nvPr/>
          </p:nvSpPr>
          <p:spPr>
            <a:xfrm>
              <a:off x="92670" y="4390847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16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D9D4266-26E2-A649-B58A-BBD393D3909A}"/>
                </a:ext>
              </a:extLst>
            </p:cNvPr>
            <p:cNvSpPr/>
            <p:nvPr/>
          </p:nvSpPr>
          <p:spPr>
            <a:xfrm>
              <a:off x="341831" y="4141684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8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5792925-8473-D74D-AD5F-C84AAB25EA9D}"/>
                </a:ext>
              </a:extLst>
            </p:cNvPr>
            <p:cNvSpPr/>
            <p:nvPr/>
          </p:nvSpPr>
          <p:spPr>
            <a:xfrm>
              <a:off x="341831" y="3892522"/>
              <a:ext cx="99459" cy="99460"/>
            </a:xfrm>
            <a:custGeom>
              <a:avLst/>
              <a:gdLst>
                <a:gd name="connsiteX0" fmla="*/ 99459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59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59" y="49730"/>
                  </a:moveTo>
                  <a:cubicBezTo>
                    <a:pt x="99459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59" y="22265"/>
                    <a:pt x="99459" y="49730"/>
                  </a:cubicBezTo>
                  <a:close/>
                </a:path>
              </a:pathLst>
            </a:custGeom>
            <a:solidFill>
              <a:srgbClr val="5CB5FF">
                <a:alpha val="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0FFE52ED-3497-1048-86AD-9D9A6F52BF03}"/>
                </a:ext>
              </a:extLst>
            </p:cNvPr>
            <p:cNvSpPr/>
            <p:nvPr/>
          </p:nvSpPr>
          <p:spPr>
            <a:xfrm>
              <a:off x="590992" y="4141684"/>
              <a:ext cx="99459" cy="99460"/>
            </a:xfrm>
            <a:custGeom>
              <a:avLst/>
              <a:gdLst>
                <a:gd name="connsiteX0" fmla="*/ 99460 w 99459"/>
                <a:gd name="connsiteY0" fmla="*/ 49730 h 99460"/>
                <a:gd name="connsiteX1" fmla="*/ 49730 w 99459"/>
                <a:gd name="connsiteY1" fmla="*/ 99460 h 99460"/>
                <a:gd name="connsiteX2" fmla="*/ 0 w 99459"/>
                <a:gd name="connsiteY2" fmla="*/ 49730 h 99460"/>
                <a:gd name="connsiteX3" fmla="*/ 49730 w 99459"/>
                <a:gd name="connsiteY3" fmla="*/ 0 h 99460"/>
                <a:gd name="connsiteX4" fmla="*/ 99460 w 99459"/>
                <a:gd name="connsiteY4" fmla="*/ 49730 h 99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459" h="99460">
                  <a:moveTo>
                    <a:pt x="99460" y="49730"/>
                  </a:moveTo>
                  <a:cubicBezTo>
                    <a:pt x="99460" y="77195"/>
                    <a:pt x="77195" y="99460"/>
                    <a:pt x="49730" y="99460"/>
                  </a:cubicBezTo>
                  <a:cubicBezTo>
                    <a:pt x="22265" y="99460"/>
                    <a:pt x="0" y="77195"/>
                    <a:pt x="0" y="49730"/>
                  </a:cubicBezTo>
                  <a:cubicBezTo>
                    <a:pt x="0" y="22265"/>
                    <a:pt x="22265" y="0"/>
                    <a:pt x="49730" y="0"/>
                  </a:cubicBezTo>
                  <a:cubicBezTo>
                    <a:pt x="77195" y="0"/>
                    <a:pt x="99460" y="22265"/>
                    <a:pt x="99460" y="49730"/>
                  </a:cubicBezTo>
                  <a:close/>
                </a:path>
              </a:pathLst>
            </a:custGeom>
            <a:solidFill>
              <a:srgbClr val="5CB5FF">
                <a:alpha val="24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9AE3BE6B-1DF9-664B-8C6A-831ED119861F}"/>
                </a:ext>
              </a:extLst>
            </p:cNvPr>
            <p:cNvSpPr/>
            <p:nvPr/>
          </p:nvSpPr>
          <p:spPr>
            <a:xfrm>
              <a:off x="827337" y="4876356"/>
              <a:ext cx="125093" cy="125094"/>
            </a:xfrm>
            <a:custGeom>
              <a:avLst/>
              <a:gdLst>
                <a:gd name="connsiteX0" fmla="*/ 125093 w 125093"/>
                <a:gd name="connsiteY0" fmla="*/ 62547 h 125094"/>
                <a:gd name="connsiteX1" fmla="*/ 62547 w 125093"/>
                <a:gd name="connsiteY1" fmla="*/ 125094 h 125094"/>
                <a:gd name="connsiteX2" fmla="*/ 0 w 125093"/>
                <a:gd name="connsiteY2" fmla="*/ 62547 h 125094"/>
                <a:gd name="connsiteX3" fmla="*/ 62547 w 125093"/>
                <a:gd name="connsiteY3" fmla="*/ 0 h 125094"/>
                <a:gd name="connsiteX4" fmla="*/ 125093 w 125093"/>
                <a:gd name="connsiteY4" fmla="*/ 62547 h 125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093" h="125094">
                  <a:moveTo>
                    <a:pt x="125093" y="62547"/>
                  </a:moveTo>
                  <a:cubicBezTo>
                    <a:pt x="125093" y="97091"/>
                    <a:pt x="97090" y="125094"/>
                    <a:pt x="62547" y="125094"/>
                  </a:cubicBezTo>
                  <a:cubicBezTo>
                    <a:pt x="28003" y="125094"/>
                    <a:pt x="0" y="97091"/>
                    <a:pt x="0" y="62547"/>
                  </a:cubicBezTo>
                  <a:cubicBezTo>
                    <a:pt x="0" y="28003"/>
                    <a:pt x="28003" y="0"/>
                    <a:pt x="62547" y="0"/>
                  </a:cubicBezTo>
                  <a:cubicBezTo>
                    <a:pt x="97090" y="0"/>
                    <a:pt x="125093" y="28003"/>
                    <a:pt x="125093" y="62547"/>
                  </a:cubicBezTo>
                  <a:close/>
                </a:path>
              </a:pathLst>
            </a:custGeom>
            <a:solidFill>
              <a:srgbClr val="5CB5FF">
                <a:alpha val="25000"/>
              </a:srgbClr>
            </a:solidFill>
            <a:ln w="2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690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S -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6492C8-F2B6-994C-93E7-13EF75C493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4152" y="1751961"/>
            <a:ext cx="3357562" cy="1022310"/>
          </a:xfrm>
        </p:spPr>
        <p:txBody>
          <a:bodyPr/>
          <a:lstStyle>
            <a:lvl1pPr marL="0" indent="0">
              <a:buNone/>
              <a:defRPr/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28BF588-A539-E84D-BAE7-8D1EE1761D7B}"/>
              </a:ext>
            </a:extLst>
          </p:cNvPr>
          <p:cNvSpPr/>
          <p:nvPr/>
        </p:nvSpPr>
        <p:spPr>
          <a:xfrm>
            <a:off x="3125188" y="-1"/>
            <a:ext cx="3004957" cy="5143500"/>
          </a:xfrm>
          <a:custGeom>
            <a:avLst/>
            <a:gdLst>
              <a:gd name="connsiteX0" fmla="*/ 2952243 w 3004957"/>
              <a:gd name="connsiteY0" fmla="*/ 0 h 5143500"/>
              <a:gd name="connsiteX1" fmla="*/ 3004957 w 3004957"/>
              <a:gd name="connsiteY1" fmla="*/ 0 h 5143500"/>
              <a:gd name="connsiteX2" fmla="*/ 52714 w 3004957"/>
              <a:gd name="connsiteY2" fmla="*/ 5143500 h 5143500"/>
              <a:gd name="connsiteX3" fmla="*/ 0 w 3004957"/>
              <a:gd name="connsiteY3" fmla="*/ 5143500 h 5143500"/>
              <a:gd name="connsiteX4" fmla="*/ 2952243 w 3004957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4957" h="5143500">
                <a:moveTo>
                  <a:pt x="2952243" y="0"/>
                </a:moveTo>
                <a:lnTo>
                  <a:pt x="3004957" y="0"/>
                </a:lnTo>
                <a:lnTo>
                  <a:pt x="52714" y="5143500"/>
                </a:lnTo>
                <a:lnTo>
                  <a:pt x="0" y="5143500"/>
                </a:lnTo>
                <a:lnTo>
                  <a:pt x="2952243" y="0"/>
                </a:lnTo>
                <a:close/>
              </a:path>
            </a:pathLst>
          </a:custGeom>
          <a:gradFill flip="none" rotWithShape="1">
            <a:gsLst>
              <a:gs pos="30000">
                <a:srgbClr val="3D5AAE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2E8F94DC-1ACF-544C-BF1F-4C5126BC46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310B4187-0EBC-5A45-8561-21E3AF78A755}"/>
              </a:ext>
            </a:extLst>
          </p:cNvPr>
          <p:cNvSpPr txBox="1"/>
          <p:nvPr userDrawn="1"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90C0E4-ECBA-5946-9BAC-DC37C67289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7058" y="0"/>
            <a:ext cx="6081885" cy="5143500"/>
          </a:xfrm>
          <a:custGeom>
            <a:avLst/>
            <a:gdLst>
              <a:gd name="connsiteX0" fmla="*/ 0 w 3125788"/>
              <a:gd name="connsiteY0" fmla="*/ 5143500 h 5143500"/>
              <a:gd name="connsiteX1" fmla="*/ 781447 w 3125788"/>
              <a:gd name="connsiteY1" fmla="*/ 0 h 5143500"/>
              <a:gd name="connsiteX2" fmla="*/ 2344341 w 3125788"/>
              <a:gd name="connsiteY2" fmla="*/ 0 h 5143500"/>
              <a:gd name="connsiteX3" fmla="*/ 3125788 w 3125788"/>
              <a:gd name="connsiteY3" fmla="*/ 5143500 h 5143500"/>
              <a:gd name="connsiteX4" fmla="*/ 0 w 3125788"/>
              <a:gd name="connsiteY4" fmla="*/ 5143500 h 5143500"/>
              <a:gd name="connsiteX0" fmla="*/ 0 w 6074828"/>
              <a:gd name="connsiteY0" fmla="*/ 5143500 h 5143500"/>
              <a:gd name="connsiteX1" fmla="*/ 781447 w 6074828"/>
              <a:gd name="connsiteY1" fmla="*/ 0 h 5143500"/>
              <a:gd name="connsiteX2" fmla="*/ 6074828 w 6074828"/>
              <a:gd name="connsiteY2" fmla="*/ 0 h 5143500"/>
              <a:gd name="connsiteX3" fmla="*/ 3125788 w 6074828"/>
              <a:gd name="connsiteY3" fmla="*/ 5143500 h 5143500"/>
              <a:gd name="connsiteX4" fmla="*/ 0 w 6074828"/>
              <a:gd name="connsiteY4" fmla="*/ 5143500 h 5143500"/>
              <a:gd name="connsiteX0" fmla="*/ 7057 w 6081885"/>
              <a:gd name="connsiteY0" fmla="*/ 5143500 h 5143500"/>
              <a:gd name="connsiteX1" fmla="*/ 0 w 6081885"/>
              <a:gd name="connsiteY1" fmla="*/ 0 h 5143500"/>
              <a:gd name="connsiteX2" fmla="*/ 6081885 w 6081885"/>
              <a:gd name="connsiteY2" fmla="*/ 0 h 5143500"/>
              <a:gd name="connsiteX3" fmla="*/ 3132845 w 6081885"/>
              <a:gd name="connsiteY3" fmla="*/ 5143500 h 5143500"/>
              <a:gd name="connsiteX4" fmla="*/ 7057 w 6081885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1885" h="5143500">
                <a:moveTo>
                  <a:pt x="7057" y="5143500"/>
                </a:moveTo>
                <a:cubicBezTo>
                  <a:pt x="4705" y="3429000"/>
                  <a:pt x="2352" y="1714500"/>
                  <a:pt x="0" y="0"/>
                </a:cubicBezTo>
                <a:lnTo>
                  <a:pt x="6081885" y="0"/>
                </a:lnTo>
                <a:lnTo>
                  <a:pt x="3132845" y="5143500"/>
                </a:lnTo>
                <a:lnTo>
                  <a:pt x="7057" y="514350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179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943238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S - Image Only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827EE352-7D2C-A441-A898-DDF88FC2D8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892" y="4758271"/>
            <a:ext cx="558779" cy="230961"/>
          </a:xfrm>
          <a:prstGeom prst="rect">
            <a:avLst/>
          </a:prstGeom>
        </p:spPr>
      </p:pic>
      <p:sp>
        <p:nvSpPr>
          <p:cNvPr id="4" name="TextBox 4">
            <a:extLst>
              <a:ext uri="{FF2B5EF4-FFF2-40B4-BE49-F238E27FC236}">
                <a16:creationId xmlns:a16="http://schemas.microsoft.com/office/drawing/2014/main" id="{FC61EEC8-0C67-4E4B-96F0-B7FBDEF4618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167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Black Background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351AFB0-E8BA-6E40-9F47-B58679E16989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CC8A4CC-C6DD-674E-9755-C2307DA101AD}"/>
              </a:ext>
            </a:extLst>
          </p:cNvPr>
          <p:cNvGrpSpPr/>
          <p:nvPr/>
        </p:nvGrpSpPr>
        <p:grpSpPr>
          <a:xfrm>
            <a:off x="8427835" y="4765184"/>
            <a:ext cx="526892" cy="220528"/>
            <a:chOff x="6145213" y="4384676"/>
            <a:chExt cx="1582738" cy="649287"/>
          </a:xfrm>
          <a:solidFill>
            <a:schemeClr val="bg2">
              <a:lumMod val="50000"/>
            </a:schemeClr>
          </a:solidFill>
        </p:grpSpPr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FC0936E0-05D4-D944-94E4-FBA36E861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5ACFC61-8225-8F4F-A539-DCE60FEB0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B029620-52DD-C540-9F66-FD8586A66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5F2C8F16-8DA0-6A49-A6A6-F8C208B72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F51FBB3-DAAD-0546-AF4C-840293C90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D4644BB-791F-6241-8C89-AFA3C1325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DAE9313-7E29-324E-B411-25184A85F9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Box 3">
            <a:extLst>
              <a:ext uri="{FF2B5EF4-FFF2-40B4-BE49-F238E27FC236}">
                <a16:creationId xmlns:a16="http://schemas.microsoft.com/office/drawing/2014/main" id="{ACAC6727-2088-4147-A38A-47850B89BAF6}"/>
              </a:ext>
            </a:extLst>
          </p:cNvPr>
          <p:cNvSpPr txBox="1">
            <a:spLocks noChangeAspect="1"/>
          </p:cNvSpPr>
          <p:nvPr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9725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A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640452-C0E9-BB4A-8CF5-CE4FAA54E306}"/>
              </a:ext>
            </a:extLst>
          </p:cNvPr>
          <p:cNvSpPr/>
          <p:nvPr/>
        </p:nvSpPr>
        <p:spPr>
          <a:xfrm>
            <a:off x="0" y="-6046"/>
            <a:ext cx="9122591" cy="51232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55DCED66-1892-224F-B3AD-DC1323E4C9A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228850" cy="5143500"/>
          </a:xfrm>
          <a:prstGeom prst="rect">
            <a:avLst/>
          </a:prstGeom>
        </p:spPr>
      </p:pic>
      <p:sp>
        <p:nvSpPr>
          <p:cNvPr id="9" name="Text Placeholder 32">
            <a:extLst>
              <a:ext uri="{FF2B5EF4-FFF2-40B4-BE49-F238E27FC236}">
                <a16:creationId xmlns:a16="http://schemas.microsoft.com/office/drawing/2014/main" id="{1231D9FA-7877-D144-875E-EB15705E83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76653" y="1793688"/>
            <a:ext cx="6390694" cy="1556124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2F4D0-EB0E-3842-9785-6EF69081820E}"/>
              </a:ext>
            </a:extLst>
          </p:cNvPr>
          <p:cNvSpPr/>
          <p:nvPr/>
        </p:nvSpPr>
        <p:spPr>
          <a:xfrm>
            <a:off x="0" y="0"/>
            <a:ext cx="2405925" cy="5148072"/>
          </a:xfrm>
          <a:prstGeom prst="rect">
            <a:avLst/>
          </a:prstGeom>
          <a:gradFill flip="none" rotWithShape="1">
            <a:gsLst>
              <a:gs pos="2000">
                <a:schemeClr val="tx2">
                  <a:alpha val="0"/>
                </a:schemeClr>
              </a:gs>
              <a:gs pos="100000">
                <a:schemeClr val="tx2">
                  <a:alpha val="36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64A8B58C-CD7F-6F4B-B6E8-178EEF4B15DC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DDF8B79-0449-724D-9AE1-DD5080E117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635" y="4475284"/>
            <a:ext cx="1112368" cy="6188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03DB4AB-A9DE-4660-939A-CBDF75AC178E}"/>
              </a:ext>
            </a:extLst>
          </p:cNvPr>
          <p:cNvSpPr txBox="1"/>
          <p:nvPr/>
        </p:nvSpPr>
        <p:spPr>
          <a:xfrm>
            <a:off x="4078010" y="4138459"/>
            <a:ext cx="10093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+mj-lt"/>
              </a:rPr>
              <a:t>sas.co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158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7006478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_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3674B8A7-CF90-4430-B184-516F8D5E0D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3" y="4746757"/>
            <a:ext cx="558779" cy="253991"/>
          </a:xfrm>
          <a:prstGeom prst="rect">
            <a:avLst/>
          </a:prstGeom>
        </p:spPr>
      </p:pic>
      <p:sp>
        <p:nvSpPr>
          <p:cNvPr id="5" name="TextBox 3">
            <a:extLst>
              <a:ext uri="{FF2B5EF4-FFF2-40B4-BE49-F238E27FC236}">
                <a16:creationId xmlns:a16="http://schemas.microsoft.com/office/drawing/2014/main" id="{5D40C3BD-F93B-485B-BB33-A3B617AF1D7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396665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5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S -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90ADF-F9C8-471B-A694-7C0B48436B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731838"/>
            <a:ext cx="7886700" cy="457200"/>
          </a:xfrm>
        </p:spPr>
        <p:txBody>
          <a:bodyPr anchor="t"/>
          <a:lstStyle>
            <a:lvl1pPr marL="0" indent="0" algn="ctr">
              <a:buNone/>
              <a:defRPr>
                <a:solidFill>
                  <a:srgbClr val="2AD1D1"/>
                </a:solidFill>
              </a:defRPr>
            </a:lvl1pPr>
            <a:lvl2pPr marL="182880" indent="0">
              <a:buNone/>
              <a:defRPr/>
            </a:lvl2pPr>
            <a:lvl3pPr marL="36576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673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EC4A3-8F17-4374-B217-972ACD775D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132762-7497-4DE0-81D3-8B89298E29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4C2590-E602-4D9B-B605-65C28353B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59252-6A98-4206-A494-E686D110B7F6}" type="datetimeFigureOut">
              <a:rPr lang="en-US" smtClean="0"/>
              <a:t>10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7D959B-6F96-4054-B10A-00A3E55FA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B4DC2C-2FE0-4E2C-9E3C-39CA0D629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26363F-FCAC-4F7F-8FAA-EE9BEC7CB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25081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S -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364" y="192024"/>
            <a:ext cx="7891272" cy="457200"/>
          </a:xfrm>
        </p:spPr>
        <p:txBody>
          <a:bodyPr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 flipH="1">
            <a:off x="626364" y="640080"/>
            <a:ext cx="7891272" cy="274320"/>
          </a:xfrm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2200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26364" y="1016459"/>
            <a:ext cx="7891272" cy="3642853"/>
          </a:xfrm>
        </p:spPr>
        <p:txBody>
          <a:bodyPr wrap="square" anchor="t" anchorCtr="0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tx1">
                  <a:lumMod val="65000"/>
                  <a:lumOff val="35000"/>
                </a:schemeClr>
              </a:buClr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add text or click an icon to add other content types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77575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alyst-Repo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BE950F7-21F2-2642-B96F-CC55F26E0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F473F5A-EADA-DC47-A5B0-28F86BD859C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01A33F-43E6-4942-8214-36A963117886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57000"/>
                </a:schemeClr>
              </a:gs>
              <a:gs pos="100000">
                <a:schemeClr val="tx2"/>
              </a:gs>
              <a:gs pos="33000">
                <a:schemeClr val="tx2">
                  <a:alpha val="72000"/>
                </a:schemeClr>
              </a:gs>
              <a:gs pos="75000">
                <a:schemeClr val="tx2">
                  <a:alpha val="49000"/>
                </a:schemeClr>
              </a:gs>
              <a:gs pos="52000">
                <a:schemeClr val="accent1">
                  <a:alpha val="58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768514B-9542-274C-9922-A454B431017D}"/>
              </a:ext>
            </a:extLst>
          </p:cNvPr>
          <p:cNvCxnSpPr>
            <a:cxnSpLocks/>
          </p:cNvCxnSpPr>
          <p:nvPr userDrawn="1"/>
        </p:nvCxnSpPr>
        <p:spPr>
          <a:xfrm>
            <a:off x="2163336" y="1134446"/>
            <a:ext cx="4817328" cy="0"/>
          </a:xfrm>
          <a:prstGeom prst="line">
            <a:avLst/>
          </a:prstGeom>
          <a:ln w="31750">
            <a:gradFill flip="none" rotWithShape="1">
              <a:gsLst>
                <a:gs pos="100000">
                  <a:schemeClr val="accent1">
                    <a:alpha val="0"/>
                  </a:schemeClr>
                </a:gs>
                <a:gs pos="50000">
                  <a:srgbClr val="33A3FF"/>
                </a:gs>
                <a:gs pos="0">
                  <a:schemeClr val="accent1"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8F45E29-4BCB-1145-806C-DC901D5752D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3" y="4746757"/>
            <a:ext cx="558779" cy="253991"/>
          </a:xfrm>
          <a:prstGeom prst="rect">
            <a:avLst/>
          </a:prstGeom>
        </p:spPr>
      </p:pic>
      <p:sp>
        <p:nvSpPr>
          <p:cNvPr id="8" name="TextBox 4">
            <a:extLst>
              <a:ext uri="{FF2B5EF4-FFF2-40B4-BE49-F238E27FC236}">
                <a16:creationId xmlns:a16="http://schemas.microsoft.com/office/drawing/2014/main" id="{C38C837A-B8EA-F645-BF77-2B77E29B81E2}"/>
              </a:ext>
            </a:extLst>
          </p:cNvPr>
          <p:cNvSpPr txBox="1"/>
          <p:nvPr userDrawn="1"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2F75EA-968C-2841-B10C-8B599B8E3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57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763A925-47A8-DC4C-93CF-91C7126EC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677246"/>
            <a:ext cx="7886700" cy="457200"/>
          </a:xfrm>
        </p:spPr>
        <p:txBody>
          <a:bodyPr anchor="t"/>
          <a:lstStyle>
            <a:lvl1pPr marL="0" indent="0" algn="ctr">
              <a:buNone/>
              <a:defRPr/>
            </a:lvl1pPr>
            <a:lvl2pPr marL="182876" indent="0">
              <a:buNone/>
              <a:defRPr/>
            </a:lvl2pPr>
            <a:lvl3pPr marL="365751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445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4"/>
          <p:cNvSpPr txBox="1"/>
          <p:nvPr/>
        </p:nvSpPr>
        <p:spPr>
          <a:xfrm>
            <a:off x="3310128" y="4941553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rgbClr val="08649C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C93CC8D-17CB-EB42-8C9A-F073717EB6AD}"/>
              </a:ext>
            </a:extLst>
          </p:cNvPr>
          <p:cNvCxnSpPr>
            <a:cxnSpLocks/>
          </p:cNvCxnSpPr>
          <p:nvPr userDrawn="1"/>
        </p:nvCxnSpPr>
        <p:spPr>
          <a:xfrm>
            <a:off x="1247750" y="360381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0DE5FC3-FAAB-4D40-85B7-1F9FD4AEAC9E}"/>
              </a:ext>
            </a:extLst>
          </p:cNvPr>
          <p:cNvCxnSpPr>
            <a:cxnSpLocks/>
          </p:cNvCxnSpPr>
          <p:nvPr userDrawn="1"/>
        </p:nvCxnSpPr>
        <p:spPr>
          <a:xfrm>
            <a:off x="1247750" y="796987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85FBA4E-2727-3D4D-8BD4-4A732C770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2155" y="418076"/>
            <a:ext cx="6478720" cy="414337"/>
          </a:xfrm>
        </p:spPr>
        <p:txBody>
          <a:bodyPr/>
          <a:lstStyle>
            <a:lvl1pPr algn="ctr">
              <a:buNone/>
              <a:defRPr spc="3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74755674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21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20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3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3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44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36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vmlDrawing" Target="../drawings/vmlDrawing5.v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heme" Target="../theme/theme5.xml"/><Relationship Id="rId30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77.xml"/><Relationship Id="rId21" Type="http://schemas.openxmlformats.org/officeDocument/2006/relationships/vmlDrawing" Target="../drawings/vmlDrawing6.v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oleObject" Target="../embeddings/oleObject6.bin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tags" Target="../tags/tag39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924959-70E4-4F59-A04F-4832077793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14524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2" imgW="425" imgH="424" progId="TCLayout.ActiveDocument.1">
                  <p:embed/>
                </p:oleObj>
              </mc:Choice>
              <mc:Fallback>
                <p:oleObj name="think-cell Slide" r:id="rId22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924959-70E4-4F59-A04F-483207779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A91A5FA-A578-714E-ABF1-30A4EBAEAE9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12036"/>
              </a:solidFill>
            </a:endParaRPr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50908C7C-E096-4B50-9AD8-7AF3F5E717FE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7308" y="4685582"/>
            <a:ext cx="693363" cy="31516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8" name="TextBox 3">
            <a:extLst>
              <a:ext uri="{FF2B5EF4-FFF2-40B4-BE49-F238E27FC236}">
                <a16:creationId xmlns:a16="http://schemas.microsoft.com/office/drawing/2014/main" id="{23087AA8-278B-6A45-B3EF-FE081B5E942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310128" y="4864608"/>
            <a:ext cx="2514600" cy="246221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mpany Confidential – For Internal Use Only</a:t>
            </a:r>
          </a:p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custDataLst>
      <p:tags r:id="rId20"/>
    </p:custDataLst>
    <p:extLst>
      <p:ext uri="{BB962C8B-B14F-4D97-AF65-F5344CB8AC3E}">
        <p14:creationId xmlns:p14="http://schemas.microsoft.com/office/powerpoint/2010/main" val="304231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81" r:id="rId4"/>
    <p:sldLayoutId id="2147483783" r:id="rId5"/>
    <p:sldLayoutId id="2147483782" r:id="rId6"/>
    <p:sldLayoutId id="2147483773" r:id="rId7"/>
    <p:sldLayoutId id="2147483784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69" r:id="rId14"/>
    <p:sldLayoutId id="2147483779" r:id="rId15"/>
    <p:sldLayoutId id="2147483780" r:id="rId16"/>
    <p:sldLayoutId id="214748378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85000"/>
        </a:lnSpc>
        <a:spcBef>
          <a:spcPts val="800"/>
        </a:spcBef>
        <a:buFont typeface="Calibri Light" panose="020F0302020204030204" pitchFamily="34" charset="0"/>
        <a:buChar char="–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EE0937-6167-43EB-B6D5-DCD9152A9F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7082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8" imgW="425" imgH="424" progId="TCLayout.ActiveDocument.1">
                  <p:embed/>
                </p:oleObj>
              </mc:Choice>
              <mc:Fallback>
                <p:oleObj name="think-cell Slide" r:id="rId18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EE0937-6167-43EB-B6D5-DCD9152A9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6">
            <a:extLst>
              <a:ext uri="{FF2B5EF4-FFF2-40B4-BE49-F238E27FC236}">
                <a16:creationId xmlns:a16="http://schemas.microsoft.com/office/drawing/2014/main" id="{50908C7C-E096-4B50-9AD8-7AF3F5E717FE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17" name="TextBox 4">
            <a:extLst>
              <a:ext uri="{FF2B5EF4-FFF2-40B4-BE49-F238E27FC236}">
                <a16:creationId xmlns:a16="http://schemas.microsoft.com/office/drawing/2014/main" id="{1E37FEA7-CA51-4399-92F6-AB705B7FF650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28E9C9DB-EB60-FD4A-AB5D-86A6DDF93363}"/>
              </a:ext>
            </a:extLst>
          </p:cNvPr>
          <p:cNvSpPr/>
          <p:nvPr/>
        </p:nvSpPr>
        <p:spPr>
          <a:xfrm>
            <a:off x="6717170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3" name="Freeform 82">
            <a:extLst>
              <a:ext uri="{FF2B5EF4-FFF2-40B4-BE49-F238E27FC236}">
                <a16:creationId xmlns:a16="http://schemas.microsoft.com/office/drawing/2014/main" id="{72DA3650-6307-5742-A8B7-F65D2E045EF9}"/>
              </a:ext>
            </a:extLst>
          </p:cNvPr>
          <p:cNvSpPr/>
          <p:nvPr/>
        </p:nvSpPr>
        <p:spPr>
          <a:xfrm>
            <a:off x="6966332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5D71E475-0C72-0A4B-9E83-D4F8682CCF9E}"/>
              </a:ext>
            </a:extLst>
          </p:cNvPr>
          <p:cNvSpPr/>
          <p:nvPr/>
        </p:nvSpPr>
        <p:spPr>
          <a:xfrm>
            <a:off x="7215493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Freeform 84">
            <a:extLst>
              <a:ext uri="{FF2B5EF4-FFF2-40B4-BE49-F238E27FC236}">
                <a16:creationId xmlns:a16="http://schemas.microsoft.com/office/drawing/2014/main" id="{119E67ED-5612-6E4C-9FEB-97F8BF6D2FB2}"/>
              </a:ext>
            </a:extLst>
          </p:cNvPr>
          <p:cNvSpPr/>
          <p:nvPr/>
        </p:nvSpPr>
        <p:spPr>
          <a:xfrm>
            <a:off x="7464654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6" name="Freeform 85">
            <a:extLst>
              <a:ext uri="{FF2B5EF4-FFF2-40B4-BE49-F238E27FC236}">
                <a16:creationId xmlns:a16="http://schemas.microsoft.com/office/drawing/2014/main" id="{7F786CC9-2F25-734F-983E-AFCA587D626B}"/>
              </a:ext>
            </a:extLst>
          </p:cNvPr>
          <p:cNvSpPr/>
          <p:nvPr/>
        </p:nvSpPr>
        <p:spPr>
          <a:xfrm>
            <a:off x="6966332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259F8CA0-60EE-8647-AF4F-6B77D6C4B963}"/>
              </a:ext>
            </a:extLst>
          </p:cNvPr>
          <p:cNvSpPr/>
          <p:nvPr/>
        </p:nvSpPr>
        <p:spPr>
          <a:xfrm>
            <a:off x="7464654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8" name="Freeform 87">
            <a:extLst>
              <a:ext uri="{FF2B5EF4-FFF2-40B4-BE49-F238E27FC236}">
                <a16:creationId xmlns:a16="http://schemas.microsoft.com/office/drawing/2014/main" id="{F02A52DA-8B8C-264F-877F-42F66B1C30F6}"/>
              </a:ext>
            </a:extLst>
          </p:cNvPr>
          <p:cNvSpPr/>
          <p:nvPr/>
        </p:nvSpPr>
        <p:spPr>
          <a:xfrm rot="16753102">
            <a:off x="7713703" y="329004"/>
            <a:ext cx="99460" cy="99461"/>
          </a:xfrm>
          <a:custGeom>
            <a:avLst/>
            <a:gdLst>
              <a:gd name="connsiteX0" fmla="*/ 99461 w 99460"/>
              <a:gd name="connsiteY0" fmla="*/ 49731 h 99461"/>
              <a:gd name="connsiteX1" fmla="*/ 49730 w 99460"/>
              <a:gd name="connsiteY1" fmla="*/ 99462 h 99461"/>
              <a:gd name="connsiteX2" fmla="*/ 0 w 99460"/>
              <a:gd name="connsiteY2" fmla="*/ 49731 h 99461"/>
              <a:gd name="connsiteX3" fmla="*/ 49730 w 99460"/>
              <a:gd name="connsiteY3" fmla="*/ 0 h 99461"/>
              <a:gd name="connsiteX4" fmla="*/ 99461 w 99460"/>
              <a:gd name="connsiteY4" fmla="*/ 49731 h 99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60" h="99461">
                <a:moveTo>
                  <a:pt x="99461" y="49731"/>
                </a:moveTo>
                <a:cubicBezTo>
                  <a:pt x="99461" y="77196"/>
                  <a:pt x="77196" y="99462"/>
                  <a:pt x="49730" y="99462"/>
                </a:cubicBezTo>
                <a:cubicBezTo>
                  <a:pt x="22265" y="99462"/>
                  <a:pt x="0" y="77196"/>
                  <a:pt x="0" y="49731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6" y="0"/>
                  <a:pt x="99461" y="22265"/>
                  <a:pt x="99461" y="49731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9" name="Freeform 88">
            <a:extLst>
              <a:ext uri="{FF2B5EF4-FFF2-40B4-BE49-F238E27FC236}">
                <a16:creationId xmlns:a16="http://schemas.microsoft.com/office/drawing/2014/main" id="{D2036A5F-121A-E149-BAB9-6E06E0E39343}"/>
              </a:ext>
            </a:extLst>
          </p:cNvPr>
          <p:cNvSpPr/>
          <p:nvPr/>
        </p:nvSpPr>
        <p:spPr>
          <a:xfrm>
            <a:off x="7464654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BCF0DED3-D5D0-CF4A-9C2B-7DFE2A602AEE}"/>
              </a:ext>
            </a:extLst>
          </p:cNvPr>
          <p:cNvSpPr/>
          <p:nvPr/>
        </p:nvSpPr>
        <p:spPr>
          <a:xfrm rot="16753102">
            <a:off x="7713706" y="578170"/>
            <a:ext cx="99460" cy="99461"/>
          </a:xfrm>
          <a:custGeom>
            <a:avLst/>
            <a:gdLst>
              <a:gd name="connsiteX0" fmla="*/ 99461 w 99460"/>
              <a:gd name="connsiteY0" fmla="*/ 49731 h 99461"/>
              <a:gd name="connsiteX1" fmla="*/ 49730 w 99460"/>
              <a:gd name="connsiteY1" fmla="*/ 99462 h 99461"/>
              <a:gd name="connsiteX2" fmla="*/ 0 w 99460"/>
              <a:gd name="connsiteY2" fmla="*/ 49731 h 99461"/>
              <a:gd name="connsiteX3" fmla="*/ 49730 w 99460"/>
              <a:gd name="connsiteY3" fmla="*/ 0 h 99461"/>
              <a:gd name="connsiteX4" fmla="*/ 99461 w 99460"/>
              <a:gd name="connsiteY4" fmla="*/ 49731 h 99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60" h="99461">
                <a:moveTo>
                  <a:pt x="99461" y="49731"/>
                </a:moveTo>
                <a:cubicBezTo>
                  <a:pt x="99461" y="77196"/>
                  <a:pt x="77196" y="99462"/>
                  <a:pt x="49730" y="99462"/>
                </a:cubicBezTo>
                <a:cubicBezTo>
                  <a:pt x="22265" y="99462"/>
                  <a:pt x="0" y="77196"/>
                  <a:pt x="0" y="49731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6" y="0"/>
                  <a:pt x="99461" y="22265"/>
                  <a:pt x="99461" y="49731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45B174D9-5533-0241-B420-5CDE83187945}"/>
              </a:ext>
            </a:extLst>
          </p:cNvPr>
          <p:cNvSpPr/>
          <p:nvPr/>
        </p:nvSpPr>
        <p:spPr>
          <a:xfrm>
            <a:off x="7962977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E5E8A156-1317-3742-B05E-569311DF62A5}"/>
              </a:ext>
            </a:extLst>
          </p:cNvPr>
          <p:cNvSpPr/>
          <p:nvPr/>
        </p:nvSpPr>
        <p:spPr>
          <a:xfrm>
            <a:off x="8212138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ED64574D-EFC6-364B-997D-3822C78B7DDA}"/>
              </a:ext>
            </a:extLst>
          </p:cNvPr>
          <p:cNvSpPr/>
          <p:nvPr/>
        </p:nvSpPr>
        <p:spPr>
          <a:xfrm>
            <a:off x="8710461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4" name="Freeform 93">
            <a:extLst>
              <a:ext uri="{FF2B5EF4-FFF2-40B4-BE49-F238E27FC236}">
                <a16:creationId xmlns:a16="http://schemas.microsoft.com/office/drawing/2014/main" id="{2E32684E-45ED-F540-B6E1-CA9A46C85404}"/>
              </a:ext>
            </a:extLst>
          </p:cNvPr>
          <p:cNvSpPr/>
          <p:nvPr/>
        </p:nvSpPr>
        <p:spPr>
          <a:xfrm>
            <a:off x="8461299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4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5" name="Freeform 94">
            <a:extLst>
              <a:ext uri="{FF2B5EF4-FFF2-40B4-BE49-F238E27FC236}">
                <a16:creationId xmlns:a16="http://schemas.microsoft.com/office/drawing/2014/main" id="{FAF9B900-34B5-D04E-A2B0-680BCAE79708}"/>
              </a:ext>
            </a:extLst>
          </p:cNvPr>
          <p:cNvSpPr/>
          <p:nvPr/>
        </p:nvSpPr>
        <p:spPr>
          <a:xfrm>
            <a:off x="8212138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6" name="Freeform 95">
            <a:extLst>
              <a:ext uri="{FF2B5EF4-FFF2-40B4-BE49-F238E27FC236}">
                <a16:creationId xmlns:a16="http://schemas.microsoft.com/office/drawing/2014/main" id="{69BB02AA-00B1-4D4A-AFD8-68A4BE0B04FE}"/>
              </a:ext>
            </a:extLst>
          </p:cNvPr>
          <p:cNvSpPr/>
          <p:nvPr/>
        </p:nvSpPr>
        <p:spPr>
          <a:xfrm>
            <a:off x="8212138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" name="Freeform 96">
            <a:extLst>
              <a:ext uri="{FF2B5EF4-FFF2-40B4-BE49-F238E27FC236}">
                <a16:creationId xmlns:a16="http://schemas.microsoft.com/office/drawing/2014/main" id="{C04F0CC8-D44B-AB45-AA17-D3AD761A08A8}"/>
              </a:ext>
            </a:extLst>
          </p:cNvPr>
          <p:cNvSpPr/>
          <p:nvPr/>
        </p:nvSpPr>
        <p:spPr>
          <a:xfrm>
            <a:off x="8461299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4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8" name="Freeform 97">
            <a:extLst>
              <a:ext uri="{FF2B5EF4-FFF2-40B4-BE49-F238E27FC236}">
                <a16:creationId xmlns:a16="http://schemas.microsoft.com/office/drawing/2014/main" id="{1773D5B2-17F9-3F4D-8BBE-C2EA05C60813}"/>
              </a:ext>
            </a:extLst>
          </p:cNvPr>
          <p:cNvSpPr/>
          <p:nvPr/>
        </p:nvSpPr>
        <p:spPr>
          <a:xfrm>
            <a:off x="8710461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9" name="Freeform 98">
            <a:extLst>
              <a:ext uri="{FF2B5EF4-FFF2-40B4-BE49-F238E27FC236}">
                <a16:creationId xmlns:a16="http://schemas.microsoft.com/office/drawing/2014/main" id="{F398E671-8204-9D4A-B924-0745B00504F1}"/>
              </a:ext>
            </a:extLst>
          </p:cNvPr>
          <p:cNvSpPr/>
          <p:nvPr/>
        </p:nvSpPr>
        <p:spPr>
          <a:xfrm>
            <a:off x="8212138" y="82729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0" name="Freeform 99">
            <a:extLst>
              <a:ext uri="{FF2B5EF4-FFF2-40B4-BE49-F238E27FC236}">
                <a16:creationId xmlns:a16="http://schemas.microsoft.com/office/drawing/2014/main" id="{DA042452-BCFC-5F46-ABEF-0923CA3AF459}"/>
              </a:ext>
            </a:extLst>
          </p:cNvPr>
          <p:cNvSpPr/>
          <p:nvPr/>
        </p:nvSpPr>
        <p:spPr>
          <a:xfrm>
            <a:off x="8212138" y="107645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1" name="Freeform 100">
            <a:extLst>
              <a:ext uri="{FF2B5EF4-FFF2-40B4-BE49-F238E27FC236}">
                <a16:creationId xmlns:a16="http://schemas.microsoft.com/office/drawing/2014/main" id="{06351593-861B-E04C-B112-38D55ED1A2EE}"/>
              </a:ext>
            </a:extLst>
          </p:cNvPr>
          <p:cNvSpPr/>
          <p:nvPr/>
        </p:nvSpPr>
        <p:spPr>
          <a:xfrm>
            <a:off x="8698156" y="814990"/>
            <a:ext cx="124067" cy="124068"/>
          </a:xfrm>
          <a:custGeom>
            <a:avLst/>
            <a:gdLst>
              <a:gd name="connsiteX0" fmla="*/ 124068 w 124067"/>
              <a:gd name="connsiteY0" fmla="*/ 62034 h 124068"/>
              <a:gd name="connsiteX1" fmla="*/ 62034 w 124067"/>
              <a:gd name="connsiteY1" fmla="*/ 124069 h 124068"/>
              <a:gd name="connsiteX2" fmla="*/ 0 w 124067"/>
              <a:gd name="connsiteY2" fmla="*/ 62034 h 124068"/>
              <a:gd name="connsiteX3" fmla="*/ 62034 w 124067"/>
              <a:gd name="connsiteY3" fmla="*/ 0 h 124068"/>
              <a:gd name="connsiteX4" fmla="*/ 124068 w 124067"/>
              <a:gd name="connsiteY4" fmla="*/ 62034 h 12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067" h="124068">
                <a:moveTo>
                  <a:pt x="124068" y="62034"/>
                </a:moveTo>
                <a:cubicBezTo>
                  <a:pt x="124068" y="96295"/>
                  <a:pt x="96294" y="124069"/>
                  <a:pt x="62034" y="124069"/>
                </a:cubicBezTo>
                <a:cubicBezTo>
                  <a:pt x="27773" y="124069"/>
                  <a:pt x="0" y="96295"/>
                  <a:pt x="0" y="62034"/>
                </a:cubicBezTo>
                <a:cubicBezTo>
                  <a:pt x="0" y="27774"/>
                  <a:pt x="27773" y="0"/>
                  <a:pt x="62034" y="0"/>
                </a:cubicBezTo>
                <a:cubicBezTo>
                  <a:pt x="96294" y="0"/>
                  <a:pt x="124068" y="27774"/>
                  <a:pt x="124068" y="62034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2" name="Freeform 101">
            <a:extLst>
              <a:ext uri="{FF2B5EF4-FFF2-40B4-BE49-F238E27FC236}">
                <a16:creationId xmlns:a16="http://schemas.microsoft.com/office/drawing/2014/main" id="{D3399C5D-791D-8C43-8239-04E408AB56AA}"/>
              </a:ext>
            </a:extLst>
          </p:cNvPr>
          <p:cNvSpPr/>
          <p:nvPr/>
        </p:nvSpPr>
        <p:spPr>
          <a:xfrm>
            <a:off x="7962977" y="82729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Freeform 106">
            <a:extLst>
              <a:ext uri="{FF2B5EF4-FFF2-40B4-BE49-F238E27FC236}">
                <a16:creationId xmlns:a16="http://schemas.microsoft.com/office/drawing/2014/main" id="{99F779EA-6472-FF42-885F-A0B8DB934CC7}"/>
              </a:ext>
            </a:extLst>
          </p:cNvPr>
          <p:cNvSpPr/>
          <p:nvPr/>
        </p:nvSpPr>
        <p:spPr>
          <a:xfrm>
            <a:off x="7700999" y="66989"/>
            <a:ext cx="125093" cy="125094"/>
          </a:xfrm>
          <a:custGeom>
            <a:avLst/>
            <a:gdLst>
              <a:gd name="connsiteX0" fmla="*/ 125093 w 125093"/>
              <a:gd name="connsiteY0" fmla="*/ 62547 h 125094"/>
              <a:gd name="connsiteX1" fmla="*/ 62547 w 125093"/>
              <a:gd name="connsiteY1" fmla="*/ 125094 h 125094"/>
              <a:gd name="connsiteX2" fmla="*/ 0 w 125093"/>
              <a:gd name="connsiteY2" fmla="*/ 62547 h 125094"/>
              <a:gd name="connsiteX3" fmla="*/ 62547 w 125093"/>
              <a:gd name="connsiteY3" fmla="*/ 0 h 125094"/>
              <a:gd name="connsiteX4" fmla="*/ 125093 w 125093"/>
              <a:gd name="connsiteY4" fmla="*/ 62547 h 12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093" h="125094">
                <a:moveTo>
                  <a:pt x="125093" y="62547"/>
                </a:moveTo>
                <a:cubicBezTo>
                  <a:pt x="125093" y="97091"/>
                  <a:pt x="97090" y="125094"/>
                  <a:pt x="62547" y="125094"/>
                </a:cubicBezTo>
                <a:cubicBezTo>
                  <a:pt x="28003" y="125094"/>
                  <a:pt x="0" y="97091"/>
                  <a:pt x="0" y="62547"/>
                </a:cubicBezTo>
                <a:cubicBezTo>
                  <a:pt x="0" y="28003"/>
                  <a:pt x="28003" y="0"/>
                  <a:pt x="62547" y="0"/>
                </a:cubicBezTo>
                <a:cubicBezTo>
                  <a:pt x="97090" y="0"/>
                  <a:pt x="125093" y="28003"/>
                  <a:pt x="125093" y="62547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4" name="Freeform 123">
            <a:extLst>
              <a:ext uri="{FF2B5EF4-FFF2-40B4-BE49-F238E27FC236}">
                <a16:creationId xmlns:a16="http://schemas.microsoft.com/office/drawing/2014/main" id="{FC8CCAED-F8CD-AE4A-86B3-CF9C9523B962}"/>
              </a:ext>
            </a:extLst>
          </p:cNvPr>
          <p:cNvSpPr/>
          <p:nvPr/>
        </p:nvSpPr>
        <p:spPr>
          <a:xfrm>
            <a:off x="8934501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9" name="Freeform 128">
            <a:extLst>
              <a:ext uri="{FF2B5EF4-FFF2-40B4-BE49-F238E27FC236}">
                <a16:creationId xmlns:a16="http://schemas.microsoft.com/office/drawing/2014/main" id="{C7E879DF-EE44-AA45-AE05-DD5B4FA49205}"/>
              </a:ext>
            </a:extLst>
          </p:cNvPr>
          <p:cNvSpPr/>
          <p:nvPr/>
        </p:nvSpPr>
        <p:spPr>
          <a:xfrm>
            <a:off x="8934501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8" name="Freeform 177">
            <a:extLst>
              <a:ext uri="{FF2B5EF4-FFF2-40B4-BE49-F238E27FC236}">
                <a16:creationId xmlns:a16="http://schemas.microsoft.com/office/drawing/2014/main" id="{285D0C28-DCE9-1946-93BF-94EBD76B7959}"/>
              </a:ext>
            </a:extLst>
          </p:cNvPr>
          <p:cNvSpPr/>
          <p:nvPr/>
        </p:nvSpPr>
        <p:spPr>
          <a:xfrm>
            <a:off x="1844259" y="4899787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0" name="Freeform 179">
            <a:extLst>
              <a:ext uri="{FF2B5EF4-FFF2-40B4-BE49-F238E27FC236}">
                <a16:creationId xmlns:a16="http://schemas.microsoft.com/office/drawing/2014/main" id="{293133EB-DE7C-8D41-8FFA-DD26B577D8C1}"/>
              </a:ext>
            </a:extLst>
          </p:cNvPr>
          <p:cNvSpPr/>
          <p:nvPr/>
        </p:nvSpPr>
        <p:spPr>
          <a:xfrm>
            <a:off x="1595097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1" name="Freeform 180">
            <a:extLst>
              <a:ext uri="{FF2B5EF4-FFF2-40B4-BE49-F238E27FC236}">
                <a16:creationId xmlns:a16="http://schemas.microsoft.com/office/drawing/2014/main" id="{34550379-B92D-8241-B540-0627AA0A921B}"/>
              </a:ext>
            </a:extLst>
          </p:cNvPr>
          <p:cNvSpPr/>
          <p:nvPr/>
        </p:nvSpPr>
        <p:spPr>
          <a:xfrm>
            <a:off x="1345936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2" name="Freeform 181">
            <a:extLst>
              <a:ext uri="{FF2B5EF4-FFF2-40B4-BE49-F238E27FC236}">
                <a16:creationId xmlns:a16="http://schemas.microsoft.com/office/drawing/2014/main" id="{C33ECA2F-821B-5F44-80D3-EA291967F056}"/>
              </a:ext>
            </a:extLst>
          </p:cNvPr>
          <p:cNvSpPr/>
          <p:nvPr/>
        </p:nvSpPr>
        <p:spPr>
          <a:xfrm>
            <a:off x="1096775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3" name="Freeform 182">
            <a:extLst>
              <a:ext uri="{FF2B5EF4-FFF2-40B4-BE49-F238E27FC236}">
                <a16:creationId xmlns:a16="http://schemas.microsoft.com/office/drawing/2014/main" id="{DF4643A6-1BE6-854C-9B0E-F821AD1BA95B}"/>
              </a:ext>
            </a:extLst>
          </p:cNvPr>
          <p:cNvSpPr/>
          <p:nvPr/>
        </p:nvSpPr>
        <p:spPr>
          <a:xfrm>
            <a:off x="1096775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4" name="Freeform 183">
            <a:extLst>
              <a:ext uri="{FF2B5EF4-FFF2-40B4-BE49-F238E27FC236}">
                <a16:creationId xmlns:a16="http://schemas.microsoft.com/office/drawing/2014/main" id="{6EE82805-A90B-A042-95FE-EDAEC75607FC}"/>
              </a:ext>
            </a:extLst>
          </p:cNvPr>
          <p:cNvSpPr/>
          <p:nvPr/>
        </p:nvSpPr>
        <p:spPr>
          <a:xfrm>
            <a:off x="847614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5" name="Freeform 184">
            <a:extLst>
              <a:ext uri="{FF2B5EF4-FFF2-40B4-BE49-F238E27FC236}">
                <a16:creationId xmlns:a16="http://schemas.microsoft.com/office/drawing/2014/main" id="{E0F43706-4963-5541-8BA1-5360C57199BD}"/>
              </a:ext>
            </a:extLst>
          </p:cNvPr>
          <p:cNvSpPr/>
          <p:nvPr/>
        </p:nvSpPr>
        <p:spPr>
          <a:xfrm>
            <a:off x="1096775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6" name="Freeform 185">
            <a:extLst>
              <a:ext uri="{FF2B5EF4-FFF2-40B4-BE49-F238E27FC236}">
                <a16:creationId xmlns:a16="http://schemas.microsoft.com/office/drawing/2014/main" id="{9CF17A4F-24D1-414E-85A4-79CAB802EDFE}"/>
              </a:ext>
            </a:extLst>
          </p:cNvPr>
          <p:cNvSpPr/>
          <p:nvPr/>
        </p:nvSpPr>
        <p:spPr>
          <a:xfrm>
            <a:off x="847614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7" name="Freeform 186">
            <a:extLst>
              <a:ext uri="{FF2B5EF4-FFF2-40B4-BE49-F238E27FC236}">
                <a16:creationId xmlns:a16="http://schemas.microsoft.com/office/drawing/2014/main" id="{F8D99D0D-2A3B-754A-909E-B11A8D9C982E}"/>
              </a:ext>
            </a:extLst>
          </p:cNvPr>
          <p:cNvSpPr/>
          <p:nvPr/>
        </p:nvSpPr>
        <p:spPr>
          <a:xfrm>
            <a:off x="598452" y="4899787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8" name="Freeform 187">
            <a:extLst>
              <a:ext uri="{FF2B5EF4-FFF2-40B4-BE49-F238E27FC236}">
                <a16:creationId xmlns:a16="http://schemas.microsoft.com/office/drawing/2014/main" id="{7A063DF6-3D26-8746-96A9-A68F23AC46EB}"/>
              </a:ext>
            </a:extLst>
          </p:cNvPr>
          <p:cNvSpPr/>
          <p:nvPr/>
        </p:nvSpPr>
        <p:spPr>
          <a:xfrm>
            <a:off x="349291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0" name="Freeform 189">
            <a:extLst>
              <a:ext uri="{FF2B5EF4-FFF2-40B4-BE49-F238E27FC236}">
                <a16:creationId xmlns:a16="http://schemas.microsoft.com/office/drawing/2014/main" id="{BFBD2FDE-BC73-8A4B-9055-8144DB5167A6}"/>
              </a:ext>
            </a:extLst>
          </p:cNvPr>
          <p:cNvSpPr/>
          <p:nvPr/>
        </p:nvSpPr>
        <p:spPr>
          <a:xfrm>
            <a:off x="100130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1" name="Freeform 190">
            <a:extLst>
              <a:ext uri="{FF2B5EF4-FFF2-40B4-BE49-F238E27FC236}">
                <a16:creationId xmlns:a16="http://schemas.microsoft.com/office/drawing/2014/main" id="{F21114F7-8C53-0C46-8032-4A441EFEC029}"/>
              </a:ext>
            </a:extLst>
          </p:cNvPr>
          <p:cNvSpPr/>
          <p:nvPr/>
        </p:nvSpPr>
        <p:spPr>
          <a:xfrm>
            <a:off x="349291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2" name="Freeform 191">
            <a:extLst>
              <a:ext uri="{FF2B5EF4-FFF2-40B4-BE49-F238E27FC236}">
                <a16:creationId xmlns:a16="http://schemas.microsoft.com/office/drawing/2014/main" id="{802624AF-2E76-4848-B378-0F6CA56E5D64}"/>
              </a:ext>
            </a:extLst>
          </p:cNvPr>
          <p:cNvSpPr/>
          <p:nvPr/>
        </p:nvSpPr>
        <p:spPr>
          <a:xfrm>
            <a:off x="349291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3" name="Freeform 192">
            <a:extLst>
              <a:ext uri="{FF2B5EF4-FFF2-40B4-BE49-F238E27FC236}">
                <a16:creationId xmlns:a16="http://schemas.microsoft.com/office/drawing/2014/main" id="{8D92ACBB-C8A4-F041-8849-AA788332613E}"/>
              </a:ext>
            </a:extLst>
          </p:cNvPr>
          <p:cNvSpPr/>
          <p:nvPr/>
        </p:nvSpPr>
        <p:spPr>
          <a:xfrm>
            <a:off x="100130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5" name="Freeform 194">
            <a:extLst>
              <a:ext uri="{FF2B5EF4-FFF2-40B4-BE49-F238E27FC236}">
                <a16:creationId xmlns:a16="http://schemas.microsoft.com/office/drawing/2014/main" id="{48879B34-D83A-D449-BC84-AF089636A307}"/>
              </a:ext>
            </a:extLst>
          </p:cNvPr>
          <p:cNvSpPr/>
          <p:nvPr/>
        </p:nvSpPr>
        <p:spPr>
          <a:xfrm>
            <a:off x="349291" y="4152298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6" name="Freeform 195">
            <a:extLst>
              <a:ext uri="{FF2B5EF4-FFF2-40B4-BE49-F238E27FC236}">
                <a16:creationId xmlns:a16="http://schemas.microsoft.com/office/drawing/2014/main" id="{6C9D0334-9555-DC43-96F0-34E1A057E2AC}"/>
              </a:ext>
            </a:extLst>
          </p:cNvPr>
          <p:cNvSpPr/>
          <p:nvPr/>
        </p:nvSpPr>
        <p:spPr>
          <a:xfrm>
            <a:off x="349291" y="390313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8" name="Freeform 197">
            <a:extLst>
              <a:ext uri="{FF2B5EF4-FFF2-40B4-BE49-F238E27FC236}">
                <a16:creationId xmlns:a16="http://schemas.microsoft.com/office/drawing/2014/main" id="{885549F4-767E-C847-874B-3624FA050C9A}"/>
              </a:ext>
            </a:extLst>
          </p:cNvPr>
          <p:cNvSpPr/>
          <p:nvPr/>
        </p:nvSpPr>
        <p:spPr>
          <a:xfrm>
            <a:off x="598452" y="4152298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3" name="Freeform 202">
            <a:extLst>
              <a:ext uri="{FF2B5EF4-FFF2-40B4-BE49-F238E27FC236}">
                <a16:creationId xmlns:a16="http://schemas.microsoft.com/office/drawing/2014/main" id="{E078AB53-08B6-5D4B-949A-B8FE2F42C2EB}"/>
              </a:ext>
            </a:extLst>
          </p:cNvPr>
          <p:cNvSpPr/>
          <p:nvPr/>
        </p:nvSpPr>
        <p:spPr>
          <a:xfrm>
            <a:off x="834797" y="4886970"/>
            <a:ext cx="125093" cy="125094"/>
          </a:xfrm>
          <a:custGeom>
            <a:avLst/>
            <a:gdLst>
              <a:gd name="connsiteX0" fmla="*/ 125093 w 125093"/>
              <a:gd name="connsiteY0" fmla="*/ 62547 h 125094"/>
              <a:gd name="connsiteX1" fmla="*/ 62547 w 125093"/>
              <a:gd name="connsiteY1" fmla="*/ 125094 h 125094"/>
              <a:gd name="connsiteX2" fmla="*/ 0 w 125093"/>
              <a:gd name="connsiteY2" fmla="*/ 62547 h 125094"/>
              <a:gd name="connsiteX3" fmla="*/ 62547 w 125093"/>
              <a:gd name="connsiteY3" fmla="*/ 0 h 125094"/>
              <a:gd name="connsiteX4" fmla="*/ 125093 w 125093"/>
              <a:gd name="connsiteY4" fmla="*/ 62547 h 12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093" h="125094">
                <a:moveTo>
                  <a:pt x="125093" y="62547"/>
                </a:moveTo>
                <a:cubicBezTo>
                  <a:pt x="125093" y="97091"/>
                  <a:pt x="97090" y="125094"/>
                  <a:pt x="62547" y="125094"/>
                </a:cubicBezTo>
                <a:cubicBezTo>
                  <a:pt x="28003" y="125094"/>
                  <a:pt x="0" y="97091"/>
                  <a:pt x="0" y="62547"/>
                </a:cubicBezTo>
                <a:cubicBezTo>
                  <a:pt x="0" y="28003"/>
                  <a:pt x="28003" y="0"/>
                  <a:pt x="62547" y="0"/>
                </a:cubicBezTo>
                <a:cubicBezTo>
                  <a:pt x="97090" y="0"/>
                  <a:pt x="125093" y="28003"/>
                  <a:pt x="125093" y="62547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6"/>
    </p:custDataLst>
    <p:extLst>
      <p:ext uri="{BB962C8B-B14F-4D97-AF65-F5344CB8AC3E}">
        <p14:creationId xmlns:p14="http://schemas.microsoft.com/office/powerpoint/2010/main" val="1692138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85000"/>
        </a:lnSpc>
        <a:spcBef>
          <a:spcPts val="800"/>
        </a:spcBef>
        <a:buFont typeface="Calibri Light" panose="020F0302020204030204" pitchFamily="34" charset="0"/>
        <a:buChar char="–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D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669CBF7-017B-464F-B0EC-D214EE588F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311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669CBF7-017B-464F-B0EC-D214EE588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/>
        </p:nvGrpSpPr>
        <p:grpSpPr>
          <a:xfrm>
            <a:off x="8425798" y="4765185"/>
            <a:ext cx="526892" cy="220528"/>
            <a:chOff x="6145213" y="4384676"/>
            <a:chExt cx="1582738" cy="649287"/>
          </a:xfrm>
          <a:solidFill>
            <a:schemeClr val="tx2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26364" y="219276"/>
            <a:ext cx="7886700" cy="4572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FF0FF0E-3EAA-416E-8BAD-04133C57707E}"/>
              </a:ext>
            </a:extLst>
          </p:cNvPr>
          <p:cNvCxnSpPr>
            <a:cxnSpLocks/>
          </p:cNvCxnSpPr>
          <p:nvPr userDrawn="1"/>
        </p:nvCxnSpPr>
        <p:spPr>
          <a:xfrm>
            <a:off x="1247750" y="223001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237F90E-B9AF-4872-B93F-52884E03BD8B}"/>
              </a:ext>
            </a:extLst>
          </p:cNvPr>
          <p:cNvCxnSpPr>
            <a:cxnSpLocks/>
          </p:cNvCxnSpPr>
          <p:nvPr userDrawn="1"/>
        </p:nvCxnSpPr>
        <p:spPr>
          <a:xfrm>
            <a:off x="1247750" y="668399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4">
            <a:extLst>
              <a:ext uri="{FF2B5EF4-FFF2-40B4-BE49-F238E27FC236}">
                <a16:creationId xmlns:a16="http://schemas.microsoft.com/office/drawing/2014/main" id="{D8FE1716-C84C-4AC5-AD96-E586B1EBCC90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259D83-1362-488E-8603-451957016B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4078" y="923191"/>
            <a:ext cx="7886700" cy="3703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3BC100-10B6-4AF6-AA3D-152F0CB97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4946352"/>
            <a:ext cx="572872" cy="1896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2C6608-0760-44B2-A765-8590C2087A49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ACE6AB2-9493-48A0-B03B-E92C2F3BC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4DF9159F-E1F8-4C4F-97A6-9F5853128F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713678B-A6E0-4A3A-9C23-8474CD864E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00D4FDDD-9982-4594-BAB3-BC27A983C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11607E14-CD76-4B83-8174-AC020DFB9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63E18055-1C89-479B-9BDE-9697DCA862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E4D4F82D-039A-4029-954D-1F9EA2E0C0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02701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</p:sldLayoutIdLst>
  <p:transition>
    <p:fade/>
  </p:transition>
  <p:hf sldNum="0" hdr="0" ftr="0" dt="0"/>
  <p:txStyles>
    <p:titleStyle>
      <a:lvl1pPr algn="ctr" defTabSz="182876" rtl="0" eaLnBrk="1" latinLnBrk="0" hangingPunct="1">
        <a:spcBef>
          <a:spcPct val="0"/>
        </a:spcBef>
        <a:buNone/>
        <a:defRPr lang="en-US" sz="1800" kern="1200" cap="all" spc="600" baseline="0" dirty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76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accent1"/>
        </a:buClr>
        <a:buSzPct val="80000"/>
        <a:buFont typeface="Arial" pitchFamily="34" charset="0"/>
        <a:buChar char="•"/>
        <a:defRPr sz="2000" b="0" kern="1200" cap="none" baseline="0">
          <a:solidFill>
            <a:schemeClr val="bg1"/>
          </a:solidFill>
          <a:latin typeface="+mn-lt"/>
          <a:ea typeface="+mn-ea"/>
          <a:cs typeface="+mn-cs"/>
        </a:defRPr>
      </a:lvl1pPr>
      <a:lvl2pPr marL="365751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bg1">
            <a:lumMod val="85000"/>
          </a:schemeClr>
        </a:buClr>
        <a:buSzPct val="80000"/>
        <a:buFont typeface="Arial" pitchFamily="34" charset="0"/>
        <a:buChar char="•"/>
        <a:tabLst/>
        <a:defRPr sz="1800" kern="1200" baseline="0">
          <a:solidFill>
            <a:schemeClr val="bg1">
              <a:lumMod val="85000"/>
            </a:schemeClr>
          </a:solidFill>
          <a:latin typeface="+mn-lt"/>
          <a:ea typeface="+mn-ea"/>
          <a:cs typeface="+mn-cs"/>
        </a:defRPr>
      </a:lvl2pPr>
      <a:lvl3pPr marL="548627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bg1">
            <a:lumMod val="75000"/>
          </a:schemeClr>
        </a:buClr>
        <a:buSzPct val="100000"/>
        <a:buFont typeface="Calibri" panose="020F0502020204030204" pitchFamily="34" charset="0"/>
        <a:buChar char="-"/>
        <a:defRPr sz="1400" kern="1200" baseline="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3pPr>
      <a:lvl4pPr marL="731502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2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4378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0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97252" indent="-182876" algn="l" defTabSz="3657509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1280128" indent="-182876" algn="l" defTabSz="3657509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463003" indent="-182876" algn="l" defTabSz="914378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645879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D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9B0979-0F2C-4C29-91F0-928C9F23A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04287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9B0979-0F2C-4C29-91F0-928C9F23A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/>
        </p:nvGrpSpPr>
        <p:grpSpPr>
          <a:xfrm>
            <a:off x="8425798" y="4765185"/>
            <a:ext cx="526892" cy="220528"/>
            <a:chOff x="6145213" y="4384676"/>
            <a:chExt cx="1582738" cy="649287"/>
          </a:xfrm>
          <a:solidFill>
            <a:schemeClr val="tx2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26364" y="219276"/>
            <a:ext cx="7886700" cy="4572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FF0FF0E-3EAA-416E-8BAD-04133C57707E}"/>
              </a:ext>
            </a:extLst>
          </p:cNvPr>
          <p:cNvCxnSpPr>
            <a:cxnSpLocks/>
          </p:cNvCxnSpPr>
          <p:nvPr userDrawn="1"/>
        </p:nvCxnSpPr>
        <p:spPr>
          <a:xfrm>
            <a:off x="1247750" y="223001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237F90E-B9AF-4872-B93F-52884E03BD8B}"/>
              </a:ext>
            </a:extLst>
          </p:cNvPr>
          <p:cNvCxnSpPr>
            <a:cxnSpLocks/>
          </p:cNvCxnSpPr>
          <p:nvPr userDrawn="1"/>
        </p:nvCxnSpPr>
        <p:spPr>
          <a:xfrm>
            <a:off x="1247750" y="668399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rgbClr val="6555A2"/>
                </a:gs>
                <a:gs pos="1000">
                  <a:srgbClr val="6555A2">
                    <a:alpha val="0"/>
                  </a:srgbClr>
                </a:gs>
                <a:gs pos="99000">
                  <a:srgbClr val="6555A2">
                    <a:alpha val="0"/>
                  </a:srgbClr>
                </a:gs>
                <a:gs pos="18000">
                  <a:srgbClr val="6555A2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4">
            <a:extLst>
              <a:ext uri="{FF2B5EF4-FFF2-40B4-BE49-F238E27FC236}">
                <a16:creationId xmlns:a16="http://schemas.microsoft.com/office/drawing/2014/main" id="{D8FE1716-C84C-4AC5-AD96-E586B1EBCC90}"/>
              </a:ext>
            </a:extLst>
          </p:cNvPr>
          <p:cNvSpPr txBox="1"/>
          <p:nvPr userDrawn="1"/>
        </p:nvSpPr>
        <p:spPr>
          <a:xfrm>
            <a:off x="3310128" y="4949247"/>
            <a:ext cx="2514600" cy="161583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0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300" cap="none" spc="5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259D83-1362-488E-8603-451957016B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4078" y="923191"/>
            <a:ext cx="7886700" cy="3703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3BC100-10B6-4AF6-AA3D-152F0CB97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4946352"/>
            <a:ext cx="572872" cy="1896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2F104E-062B-496A-BFC5-5906E8B9BE8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22C6608-0760-44B2-A765-8590C2087A49}"/>
              </a:ext>
            </a:extLst>
          </p:cNvPr>
          <p:cNvGrpSpPr/>
          <p:nvPr userDrawn="1"/>
        </p:nvGrpSpPr>
        <p:grpSpPr>
          <a:xfrm>
            <a:off x="8427835" y="4765185"/>
            <a:ext cx="526892" cy="220528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1ACE6AB2-9493-48A0-B03B-E92C2F3BCD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4DF9159F-E1F8-4C4F-97A6-9F5853128F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0713678B-A6E0-4A3A-9C23-8474CD864E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00D4FDDD-9982-4594-BAB3-BC27A983C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11607E14-CD76-4B83-8174-AC020DFB9D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63E18055-1C89-479B-9BDE-9697DCA862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E4D4F82D-039A-4029-954D-1F9EA2E0C0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832675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</p:sldLayoutIdLst>
  <p:transition>
    <p:fade/>
  </p:transition>
  <p:hf sldNum="0" hdr="0" ftr="0" dt="0"/>
  <p:txStyles>
    <p:titleStyle>
      <a:lvl1pPr algn="ctr" defTabSz="182876" rtl="0" eaLnBrk="1" latinLnBrk="0" hangingPunct="1">
        <a:spcBef>
          <a:spcPct val="0"/>
        </a:spcBef>
        <a:buNone/>
        <a:defRPr lang="en-US" sz="1800" kern="1200" cap="all" spc="600" baseline="0" dirty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76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accent1"/>
        </a:buClr>
        <a:buSzPct val="80000"/>
        <a:buFont typeface="Arial" pitchFamily="34" charset="0"/>
        <a:buChar char="•"/>
        <a:defRPr sz="2000" b="0" kern="1200" cap="none" baseline="0">
          <a:solidFill>
            <a:schemeClr val="bg1"/>
          </a:solidFill>
          <a:latin typeface="+mn-lt"/>
          <a:ea typeface="+mn-ea"/>
          <a:cs typeface="+mn-cs"/>
        </a:defRPr>
      </a:lvl1pPr>
      <a:lvl2pPr marL="365751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bg1">
            <a:lumMod val="85000"/>
          </a:schemeClr>
        </a:buClr>
        <a:buSzPct val="80000"/>
        <a:buFont typeface="Arial" pitchFamily="34" charset="0"/>
        <a:buChar char="•"/>
        <a:tabLst/>
        <a:defRPr sz="1800" kern="1200" baseline="0">
          <a:solidFill>
            <a:schemeClr val="bg1">
              <a:lumMod val="85000"/>
            </a:schemeClr>
          </a:solidFill>
          <a:latin typeface="+mn-lt"/>
          <a:ea typeface="+mn-ea"/>
          <a:cs typeface="+mn-cs"/>
        </a:defRPr>
      </a:lvl2pPr>
      <a:lvl3pPr marL="548627" indent="-182876" algn="l" defTabSz="365751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bg1">
            <a:lumMod val="75000"/>
          </a:schemeClr>
        </a:buClr>
        <a:buSzPct val="100000"/>
        <a:buFont typeface="Calibri" panose="020F0502020204030204" pitchFamily="34" charset="0"/>
        <a:buChar char="-"/>
        <a:defRPr sz="1400" kern="1200" baseline="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3pPr>
      <a:lvl4pPr marL="731502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2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4378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0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97252" indent="-182876" algn="l" defTabSz="3657509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1280128" indent="-182876" algn="l" defTabSz="3657509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463003" indent="-182876" algn="l" defTabSz="914378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645879" indent="-182876" algn="l" defTabSz="365751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D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34C563-C917-46F7-87CE-F53BF97FE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708213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30" imgW="425" imgH="424" progId="TCLayout.ActiveDocument.1">
                  <p:embed/>
                </p:oleObj>
              </mc:Choice>
              <mc:Fallback>
                <p:oleObj name="think-cell Slide" r:id="rId30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34C563-C917-46F7-87CE-F53BF97FE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/>
        </p:nvGrpSpPr>
        <p:grpSpPr>
          <a:xfrm>
            <a:off x="8425797" y="4765184"/>
            <a:ext cx="526892" cy="220528"/>
            <a:chOff x="6145213" y="4384676"/>
            <a:chExt cx="1582738" cy="649287"/>
          </a:xfrm>
          <a:solidFill>
            <a:schemeClr val="tx2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626364" y="192024"/>
            <a:ext cx="7891272" cy="45720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6364" y="1014984"/>
            <a:ext cx="7891272" cy="36393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add text or click an icon to add other content types.	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114800" y="4754880"/>
            <a:ext cx="914400" cy="230832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ctr" defTabSz="182880"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4976208B-6111-490B-8CEC-FFB249DB210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4"/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2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13132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  <p:sldLayoutId id="2147483842" r:id="rId19"/>
    <p:sldLayoutId id="2147483843" r:id="rId20"/>
    <p:sldLayoutId id="2147483844" r:id="rId21"/>
    <p:sldLayoutId id="2147483845" r:id="rId22"/>
    <p:sldLayoutId id="2147483846" r:id="rId23"/>
    <p:sldLayoutId id="2147483847" r:id="rId24"/>
    <p:sldLayoutId id="2147483848" r:id="rId25"/>
    <p:sldLayoutId id="2147483849" r:id="rId26"/>
  </p:sldLayoutIdLst>
  <p:transition>
    <p:fade/>
  </p:transition>
  <p:hf sldNum="0" hdr="0" ftr="0" dt="0"/>
  <p:txStyles>
    <p:titleStyle>
      <a:lvl1pPr algn="ctr" defTabSz="182880" rtl="0" eaLnBrk="1" latinLnBrk="0" hangingPunct="1">
        <a:spcBef>
          <a:spcPct val="0"/>
        </a:spcBef>
        <a:buNone/>
        <a:defRPr lang="en-US" sz="2800" kern="1200" cap="none" baseline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365760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accent1"/>
        </a:buClr>
        <a:buSzPct val="80000"/>
        <a:buFont typeface="Arial" pitchFamily="34" charset="0"/>
        <a:buChar char="•"/>
        <a:defRPr sz="20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365760" indent="-182880" algn="l" defTabSz="365760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80000"/>
        <a:buFont typeface="Arial" pitchFamily="34" charset="0"/>
        <a:buChar char="•"/>
        <a:tabLst/>
        <a:defRPr sz="18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48640" indent="-182880" algn="l" defTabSz="365760" rtl="0" eaLnBrk="1" latinLnBrk="0" hangingPunct="1">
        <a:lnSpc>
          <a:spcPct val="85000"/>
        </a:lnSpc>
        <a:spcBef>
          <a:spcPts val="800"/>
        </a:spcBef>
        <a:spcAft>
          <a:spcPts val="0"/>
        </a:spcAft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4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31520" indent="-182880" algn="l" defTabSz="365760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2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914400" indent="-182880" algn="l" defTabSz="365760" rtl="0" eaLnBrk="1" latinLnBrk="0" hangingPunct="1">
        <a:lnSpc>
          <a:spcPct val="120000"/>
        </a:lnSpc>
        <a:spcBef>
          <a:spcPts val="0"/>
        </a:spcBef>
        <a:buClr>
          <a:schemeClr val="tx1">
            <a:lumMod val="65000"/>
            <a:lumOff val="35000"/>
          </a:schemeClr>
        </a:buClr>
        <a:buSzPct val="100000"/>
        <a:buFont typeface="Calibri" panose="020F0502020204030204" pitchFamily="34" charset="0"/>
        <a:buChar char="-"/>
        <a:defRPr sz="1000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97280" indent="-182880" algn="l" defTabSz="36576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1280160" indent="-182880" algn="l" defTabSz="36576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463040" indent="-182880" algn="l" defTabSz="91440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645920" indent="-182880" algn="l" defTabSz="365760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SzPct val="8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92C55E-D2CF-4B20-B520-817A4751C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2323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24" imgW="425" imgH="424" progId="TCLayout.ActiveDocument.1">
                  <p:embed/>
                </p:oleObj>
              </mc:Choice>
              <mc:Fallback>
                <p:oleObj name="think-cell Slide" r:id="rId2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92C55E-D2CF-4B20-B520-817A4751C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6">
            <a:extLst>
              <a:ext uri="{FF2B5EF4-FFF2-40B4-BE49-F238E27FC236}">
                <a16:creationId xmlns:a16="http://schemas.microsoft.com/office/drawing/2014/main" id="{50908C7C-E096-4B50-9AD8-7AF3F5E717FE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1892" y="4746756"/>
            <a:ext cx="558779" cy="253991"/>
          </a:xfrm>
          <a:prstGeom prst="rect">
            <a:avLst/>
          </a:prstGeom>
        </p:spPr>
      </p:pic>
      <p:sp>
        <p:nvSpPr>
          <p:cNvPr id="17" name="TextBox 4">
            <a:extLst>
              <a:ext uri="{FF2B5EF4-FFF2-40B4-BE49-F238E27FC236}">
                <a16:creationId xmlns:a16="http://schemas.microsoft.com/office/drawing/2014/main" id="{1E37FEA7-CA51-4399-92F6-AB705B7FF650}"/>
              </a:ext>
            </a:extLst>
          </p:cNvPr>
          <p:cNvSpPr txBox="1"/>
          <p:nvPr/>
        </p:nvSpPr>
        <p:spPr>
          <a:xfrm>
            <a:off x="3310128" y="4941552"/>
            <a:ext cx="2514600" cy="169277"/>
          </a:xfrm>
          <a:prstGeom prst="rect">
            <a:avLst/>
          </a:prstGeom>
          <a:noFill/>
        </p:spPr>
        <p:txBody>
          <a:bodyPr wrap="square" anchor="b" anchorCtr="0">
            <a:spAutoFit/>
          </a:bodyPr>
          <a:lstStyle/>
          <a:p>
            <a:pPr marL="0" marR="0" lvl="0" indent="0" algn="ctr" defTabSz="2743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300" cap="none" spc="5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Calibri" charset="0"/>
                <a:cs typeface="Arial" panose="020B0604020202020204" pitchFamily="34" charset="0"/>
              </a:rPr>
              <a:t>Copyright © SAS Institute Inc. All rights reserved.</a:t>
            </a:r>
          </a:p>
        </p:txBody>
      </p:sp>
      <p:sp>
        <p:nvSpPr>
          <p:cNvPr id="81" name="Freeform 80">
            <a:extLst>
              <a:ext uri="{FF2B5EF4-FFF2-40B4-BE49-F238E27FC236}">
                <a16:creationId xmlns:a16="http://schemas.microsoft.com/office/drawing/2014/main" id="{28E9C9DB-EB60-FD4A-AB5D-86A6DDF93363}"/>
              </a:ext>
            </a:extLst>
          </p:cNvPr>
          <p:cNvSpPr/>
          <p:nvPr/>
        </p:nvSpPr>
        <p:spPr>
          <a:xfrm>
            <a:off x="6717170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3" name="Freeform 82">
            <a:extLst>
              <a:ext uri="{FF2B5EF4-FFF2-40B4-BE49-F238E27FC236}">
                <a16:creationId xmlns:a16="http://schemas.microsoft.com/office/drawing/2014/main" id="{72DA3650-6307-5742-A8B7-F65D2E045EF9}"/>
              </a:ext>
            </a:extLst>
          </p:cNvPr>
          <p:cNvSpPr/>
          <p:nvPr/>
        </p:nvSpPr>
        <p:spPr>
          <a:xfrm>
            <a:off x="6966332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id="{5D71E475-0C72-0A4B-9E83-D4F8682CCF9E}"/>
              </a:ext>
            </a:extLst>
          </p:cNvPr>
          <p:cNvSpPr/>
          <p:nvPr/>
        </p:nvSpPr>
        <p:spPr>
          <a:xfrm>
            <a:off x="7215493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5" name="Freeform 84">
            <a:extLst>
              <a:ext uri="{FF2B5EF4-FFF2-40B4-BE49-F238E27FC236}">
                <a16:creationId xmlns:a16="http://schemas.microsoft.com/office/drawing/2014/main" id="{119E67ED-5612-6E4C-9FEB-97F8BF6D2FB2}"/>
              </a:ext>
            </a:extLst>
          </p:cNvPr>
          <p:cNvSpPr/>
          <p:nvPr/>
        </p:nvSpPr>
        <p:spPr>
          <a:xfrm>
            <a:off x="7464654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6" name="Freeform 85">
            <a:extLst>
              <a:ext uri="{FF2B5EF4-FFF2-40B4-BE49-F238E27FC236}">
                <a16:creationId xmlns:a16="http://schemas.microsoft.com/office/drawing/2014/main" id="{7F786CC9-2F25-734F-983E-AFCA587D626B}"/>
              </a:ext>
            </a:extLst>
          </p:cNvPr>
          <p:cNvSpPr/>
          <p:nvPr/>
        </p:nvSpPr>
        <p:spPr>
          <a:xfrm>
            <a:off x="6966332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id="{259F8CA0-60EE-8647-AF4F-6B77D6C4B963}"/>
              </a:ext>
            </a:extLst>
          </p:cNvPr>
          <p:cNvSpPr/>
          <p:nvPr/>
        </p:nvSpPr>
        <p:spPr>
          <a:xfrm>
            <a:off x="7464654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8" name="Freeform 87">
            <a:extLst>
              <a:ext uri="{FF2B5EF4-FFF2-40B4-BE49-F238E27FC236}">
                <a16:creationId xmlns:a16="http://schemas.microsoft.com/office/drawing/2014/main" id="{F02A52DA-8B8C-264F-877F-42F66B1C30F6}"/>
              </a:ext>
            </a:extLst>
          </p:cNvPr>
          <p:cNvSpPr/>
          <p:nvPr/>
        </p:nvSpPr>
        <p:spPr>
          <a:xfrm rot="16753102">
            <a:off x="7713703" y="329004"/>
            <a:ext cx="99460" cy="99461"/>
          </a:xfrm>
          <a:custGeom>
            <a:avLst/>
            <a:gdLst>
              <a:gd name="connsiteX0" fmla="*/ 99461 w 99460"/>
              <a:gd name="connsiteY0" fmla="*/ 49731 h 99461"/>
              <a:gd name="connsiteX1" fmla="*/ 49730 w 99460"/>
              <a:gd name="connsiteY1" fmla="*/ 99462 h 99461"/>
              <a:gd name="connsiteX2" fmla="*/ 0 w 99460"/>
              <a:gd name="connsiteY2" fmla="*/ 49731 h 99461"/>
              <a:gd name="connsiteX3" fmla="*/ 49730 w 99460"/>
              <a:gd name="connsiteY3" fmla="*/ 0 h 99461"/>
              <a:gd name="connsiteX4" fmla="*/ 99461 w 99460"/>
              <a:gd name="connsiteY4" fmla="*/ 49731 h 99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60" h="99461">
                <a:moveTo>
                  <a:pt x="99461" y="49731"/>
                </a:moveTo>
                <a:cubicBezTo>
                  <a:pt x="99461" y="77196"/>
                  <a:pt x="77196" y="99462"/>
                  <a:pt x="49730" y="99462"/>
                </a:cubicBezTo>
                <a:cubicBezTo>
                  <a:pt x="22265" y="99462"/>
                  <a:pt x="0" y="77196"/>
                  <a:pt x="0" y="49731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6" y="0"/>
                  <a:pt x="99461" y="22265"/>
                  <a:pt x="99461" y="49731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89" name="Freeform 88">
            <a:extLst>
              <a:ext uri="{FF2B5EF4-FFF2-40B4-BE49-F238E27FC236}">
                <a16:creationId xmlns:a16="http://schemas.microsoft.com/office/drawing/2014/main" id="{D2036A5F-121A-E149-BAB9-6E06E0E39343}"/>
              </a:ext>
            </a:extLst>
          </p:cNvPr>
          <p:cNvSpPr/>
          <p:nvPr/>
        </p:nvSpPr>
        <p:spPr>
          <a:xfrm>
            <a:off x="7464654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0" name="Freeform 89">
            <a:extLst>
              <a:ext uri="{FF2B5EF4-FFF2-40B4-BE49-F238E27FC236}">
                <a16:creationId xmlns:a16="http://schemas.microsoft.com/office/drawing/2014/main" id="{BCF0DED3-D5D0-CF4A-9C2B-7DFE2A602AEE}"/>
              </a:ext>
            </a:extLst>
          </p:cNvPr>
          <p:cNvSpPr/>
          <p:nvPr/>
        </p:nvSpPr>
        <p:spPr>
          <a:xfrm rot="16753102">
            <a:off x="7713706" y="578170"/>
            <a:ext cx="99460" cy="99461"/>
          </a:xfrm>
          <a:custGeom>
            <a:avLst/>
            <a:gdLst>
              <a:gd name="connsiteX0" fmla="*/ 99461 w 99460"/>
              <a:gd name="connsiteY0" fmla="*/ 49731 h 99461"/>
              <a:gd name="connsiteX1" fmla="*/ 49730 w 99460"/>
              <a:gd name="connsiteY1" fmla="*/ 99462 h 99461"/>
              <a:gd name="connsiteX2" fmla="*/ 0 w 99460"/>
              <a:gd name="connsiteY2" fmla="*/ 49731 h 99461"/>
              <a:gd name="connsiteX3" fmla="*/ 49730 w 99460"/>
              <a:gd name="connsiteY3" fmla="*/ 0 h 99461"/>
              <a:gd name="connsiteX4" fmla="*/ 99461 w 99460"/>
              <a:gd name="connsiteY4" fmla="*/ 49731 h 994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60" h="99461">
                <a:moveTo>
                  <a:pt x="99461" y="49731"/>
                </a:moveTo>
                <a:cubicBezTo>
                  <a:pt x="99461" y="77196"/>
                  <a:pt x="77196" y="99462"/>
                  <a:pt x="49730" y="99462"/>
                </a:cubicBezTo>
                <a:cubicBezTo>
                  <a:pt x="22265" y="99462"/>
                  <a:pt x="0" y="77196"/>
                  <a:pt x="0" y="49731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6" y="0"/>
                  <a:pt x="99461" y="22265"/>
                  <a:pt x="99461" y="49731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1" name="Freeform 90">
            <a:extLst>
              <a:ext uri="{FF2B5EF4-FFF2-40B4-BE49-F238E27FC236}">
                <a16:creationId xmlns:a16="http://schemas.microsoft.com/office/drawing/2014/main" id="{45B174D9-5533-0241-B420-5CDE83187945}"/>
              </a:ext>
            </a:extLst>
          </p:cNvPr>
          <p:cNvSpPr/>
          <p:nvPr/>
        </p:nvSpPr>
        <p:spPr>
          <a:xfrm>
            <a:off x="7962977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2" name="Freeform 91">
            <a:extLst>
              <a:ext uri="{FF2B5EF4-FFF2-40B4-BE49-F238E27FC236}">
                <a16:creationId xmlns:a16="http://schemas.microsoft.com/office/drawing/2014/main" id="{E5E8A156-1317-3742-B05E-569311DF62A5}"/>
              </a:ext>
            </a:extLst>
          </p:cNvPr>
          <p:cNvSpPr/>
          <p:nvPr/>
        </p:nvSpPr>
        <p:spPr>
          <a:xfrm>
            <a:off x="8212138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3" name="Freeform 92">
            <a:extLst>
              <a:ext uri="{FF2B5EF4-FFF2-40B4-BE49-F238E27FC236}">
                <a16:creationId xmlns:a16="http://schemas.microsoft.com/office/drawing/2014/main" id="{ED64574D-EFC6-364B-997D-3822C78B7DDA}"/>
              </a:ext>
            </a:extLst>
          </p:cNvPr>
          <p:cNvSpPr/>
          <p:nvPr/>
        </p:nvSpPr>
        <p:spPr>
          <a:xfrm>
            <a:off x="8710461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4" name="Freeform 93">
            <a:extLst>
              <a:ext uri="{FF2B5EF4-FFF2-40B4-BE49-F238E27FC236}">
                <a16:creationId xmlns:a16="http://schemas.microsoft.com/office/drawing/2014/main" id="{2E32684E-45ED-F540-B6E1-CA9A46C85404}"/>
              </a:ext>
            </a:extLst>
          </p:cNvPr>
          <p:cNvSpPr/>
          <p:nvPr/>
        </p:nvSpPr>
        <p:spPr>
          <a:xfrm>
            <a:off x="8461299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4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5" name="Freeform 94">
            <a:extLst>
              <a:ext uri="{FF2B5EF4-FFF2-40B4-BE49-F238E27FC236}">
                <a16:creationId xmlns:a16="http://schemas.microsoft.com/office/drawing/2014/main" id="{FAF9B900-34B5-D04E-A2B0-680BCAE79708}"/>
              </a:ext>
            </a:extLst>
          </p:cNvPr>
          <p:cNvSpPr/>
          <p:nvPr/>
        </p:nvSpPr>
        <p:spPr>
          <a:xfrm>
            <a:off x="8212138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6" name="Freeform 95">
            <a:extLst>
              <a:ext uri="{FF2B5EF4-FFF2-40B4-BE49-F238E27FC236}">
                <a16:creationId xmlns:a16="http://schemas.microsoft.com/office/drawing/2014/main" id="{69BB02AA-00B1-4D4A-AFD8-68A4BE0B04FE}"/>
              </a:ext>
            </a:extLst>
          </p:cNvPr>
          <p:cNvSpPr/>
          <p:nvPr/>
        </p:nvSpPr>
        <p:spPr>
          <a:xfrm>
            <a:off x="8212138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7" name="Freeform 96">
            <a:extLst>
              <a:ext uri="{FF2B5EF4-FFF2-40B4-BE49-F238E27FC236}">
                <a16:creationId xmlns:a16="http://schemas.microsoft.com/office/drawing/2014/main" id="{C04F0CC8-D44B-AB45-AA17-D3AD761A08A8}"/>
              </a:ext>
            </a:extLst>
          </p:cNvPr>
          <p:cNvSpPr/>
          <p:nvPr/>
        </p:nvSpPr>
        <p:spPr>
          <a:xfrm>
            <a:off x="8461299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4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8" name="Freeform 97">
            <a:extLst>
              <a:ext uri="{FF2B5EF4-FFF2-40B4-BE49-F238E27FC236}">
                <a16:creationId xmlns:a16="http://schemas.microsoft.com/office/drawing/2014/main" id="{1773D5B2-17F9-3F4D-8BBE-C2EA05C60813}"/>
              </a:ext>
            </a:extLst>
          </p:cNvPr>
          <p:cNvSpPr/>
          <p:nvPr/>
        </p:nvSpPr>
        <p:spPr>
          <a:xfrm>
            <a:off x="8710461" y="578132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99" name="Freeform 98">
            <a:extLst>
              <a:ext uri="{FF2B5EF4-FFF2-40B4-BE49-F238E27FC236}">
                <a16:creationId xmlns:a16="http://schemas.microsoft.com/office/drawing/2014/main" id="{F398E671-8204-9D4A-B924-0745B00504F1}"/>
              </a:ext>
            </a:extLst>
          </p:cNvPr>
          <p:cNvSpPr/>
          <p:nvPr/>
        </p:nvSpPr>
        <p:spPr>
          <a:xfrm>
            <a:off x="8212138" y="82729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0" name="Freeform 99">
            <a:extLst>
              <a:ext uri="{FF2B5EF4-FFF2-40B4-BE49-F238E27FC236}">
                <a16:creationId xmlns:a16="http://schemas.microsoft.com/office/drawing/2014/main" id="{DA042452-BCFC-5F46-ABEF-0923CA3AF459}"/>
              </a:ext>
            </a:extLst>
          </p:cNvPr>
          <p:cNvSpPr/>
          <p:nvPr/>
        </p:nvSpPr>
        <p:spPr>
          <a:xfrm>
            <a:off x="8212138" y="107645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1" name="Freeform 100">
            <a:extLst>
              <a:ext uri="{FF2B5EF4-FFF2-40B4-BE49-F238E27FC236}">
                <a16:creationId xmlns:a16="http://schemas.microsoft.com/office/drawing/2014/main" id="{06351593-861B-E04C-B112-38D55ED1A2EE}"/>
              </a:ext>
            </a:extLst>
          </p:cNvPr>
          <p:cNvSpPr/>
          <p:nvPr/>
        </p:nvSpPr>
        <p:spPr>
          <a:xfrm>
            <a:off x="8698156" y="814990"/>
            <a:ext cx="124067" cy="124068"/>
          </a:xfrm>
          <a:custGeom>
            <a:avLst/>
            <a:gdLst>
              <a:gd name="connsiteX0" fmla="*/ 124068 w 124067"/>
              <a:gd name="connsiteY0" fmla="*/ 62034 h 124068"/>
              <a:gd name="connsiteX1" fmla="*/ 62034 w 124067"/>
              <a:gd name="connsiteY1" fmla="*/ 124069 h 124068"/>
              <a:gd name="connsiteX2" fmla="*/ 0 w 124067"/>
              <a:gd name="connsiteY2" fmla="*/ 62034 h 124068"/>
              <a:gd name="connsiteX3" fmla="*/ 62034 w 124067"/>
              <a:gd name="connsiteY3" fmla="*/ 0 h 124068"/>
              <a:gd name="connsiteX4" fmla="*/ 124068 w 124067"/>
              <a:gd name="connsiteY4" fmla="*/ 62034 h 124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067" h="124068">
                <a:moveTo>
                  <a:pt x="124068" y="62034"/>
                </a:moveTo>
                <a:cubicBezTo>
                  <a:pt x="124068" y="96295"/>
                  <a:pt x="96294" y="124069"/>
                  <a:pt x="62034" y="124069"/>
                </a:cubicBezTo>
                <a:cubicBezTo>
                  <a:pt x="27773" y="124069"/>
                  <a:pt x="0" y="96295"/>
                  <a:pt x="0" y="62034"/>
                </a:cubicBezTo>
                <a:cubicBezTo>
                  <a:pt x="0" y="27774"/>
                  <a:pt x="27773" y="0"/>
                  <a:pt x="62034" y="0"/>
                </a:cubicBezTo>
                <a:cubicBezTo>
                  <a:pt x="96294" y="0"/>
                  <a:pt x="124068" y="27774"/>
                  <a:pt x="124068" y="62034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2" name="Freeform 101">
            <a:extLst>
              <a:ext uri="{FF2B5EF4-FFF2-40B4-BE49-F238E27FC236}">
                <a16:creationId xmlns:a16="http://schemas.microsoft.com/office/drawing/2014/main" id="{D3399C5D-791D-8C43-8239-04E408AB56AA}"/>
              </a:ext>
            </a:extLst>
          </p:cNvPr>
          <p:cNvSpPr/>
          <p:nvPr/>
        </p:nvSpPr>
        <p:spPr>
          <a:xfrm>
            <a:off x="7962977" y="82729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Freeform 106">
            <a:extLst>
              <a:ext uri="{FF2B5EF4-FFF2-40B4-BE49-F238E27FC236}">
                <a16:creationId xmlns:a16="http://schemas.microsoft.com/office/drawing/2014/main" id="{99F779EA-6472-FF42-885F-A0B8DB934CC7}"/>
              </a:ext>
            </a:extLst>
          </p:cNvPr>
          <p:cNvSpPr/>
          <p:nvPr/>
        </p:nvSpPr>
        <p:spPr>
          <a:xfrm>
            <a:off x="7700999" y="66989"/>
            <a:ext cx="125093" cy="125094"/>
          </a:xfrm>
          <a:custGeom>
            <a:avLst/>
            <a:gdLst>
              <a:gd name="connsiteX0" fmla="*/ 125093 w 125093"/>
              <a:gd name="connsiteY0" fmla="*/ 62547 h 125094"/>
              <a:gd name="connsiteX1" fmla="*/ 62547 w 125093"/>
              <a:gd name="connsiteY1" fmla="*/ 125094 h 125094"/>
              <a:gd name="connsiteX2" fmla="*/ 0 w 125093"/>
              <a:gd name="connsiteY2" fmla="*/ 62547 h 125094"/>
              <a:gd name="connsiteX3" fmla="*/ 62547 w 125093"/>
              <a:gd name="connsiteY3" fmla="*/ 0 h 125094"/>
              <a:gd name="connsiteX4" fmla="*/ 125093 w 125093"/>
              <a:gd name="connsiteY4" fmla="*/ 62547 h 12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093" h="125094">
                <a:moveTo>
                  <a:pt x="125093" y="62547"/>
                </a:moveTo>
                <a:cubicBezTo>
                  <a:pt x="125093" y="97091"/>
                  <a:pt x="97090" y="125094"/>
                  <a:pt x="62547" y="125094"/>
                </a:cubicBezTo>
                <a:cubicBezTo>
                  <a:pt x="28003" y="125094"/>
                  <a:pt x="0" y="97091"/>
                  <a:pt x="0" y="62547"/>
                </a:cubicBezTo>
                <a:cubicBezTo>
                  <a:pt x="0" y="28003"/>
                  <a:pt x="28003" y="0"/>
                  <a:pt x="62547" y="0"/>
                </a:cubicBezTo>
                <a:cubicBezTo>
                  <a:pt x="97090" y="0"/>
                  <a:pt x="125093" y="28003"/>
                  <a:pt x="125093" y="62547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4" name="Freeform 123">
            <a:extLst>
              <a:ext uri="{FF2B5EF4-FFF2-40B4-BE49-F238E27FC236}">
                <a16:creationId xmlns:a16="http://schemas.microsoft.com/office/drawing/2014/main" id="{FC8CCAED-F8CD-AE4A-86B3-CF9C9523B962}"/>
              </a:ext>
            </a:extLst>
          </p:cNvPr>
          <p:cNvSpPr/>
          <p:nvPr/>
        </p:nvSpPr>
        <p:spPr>
          <a:xfrm>
            <a:off x="8934501" y="328969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9" name="Freeform 128">
            <a:extLst>
              <a:ext uri="{FF2B5EF4-FFF2-40B4-BE49-F238E27FC236}">
                <a16:creationId xmlns:a16="http://schemas.microsoft.com/office/drawing/2014/main" id="{C7E879DF-EE44-AA45-AE05-DD5B4FA49205}"/>
              </a:ext>
            </a:extLst>
          </p:cNvPr>
          <p:cNvSpPr/>
          <p:nvPr/>
        </p:nvSpPr>
        <p:spPr>
          <a:xfrm>
            <a:off x="8934501" y="7980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78" name="Freeform 177">
            <a:extLst>
              <a:ext uri="{FF2B5EF4-FFF2-40B4-BE49-F238E27FC236}">
                <a16:creationId xmlns:a16="http://schemas.microsoft.com/office/drawing/2014/main" id="{285D0C28-DCE9-1946-93BF-94EBD76B7959}"/>
              </a:ext>
            </a:extLst>
          </p:cNvPr>
          <p:cNvSpPr/>
          <p:nvPr/>
        </p:nvSpPr>
        <p:spPr>
          <a:xfrm>
            <a:off x="1844259" y="4899787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0" name="Freeform 179">
            <a:extLst>
              <a:ext uri="{FF2B5EF4-FFF2-40B4-BE49-F238E27FC236}">
                <a16:creationId xmlns:a16="http://schemas.microsoft.com/office/drawing/2014/main" id="{293133EB-DE7C-8D41-8FFA-DD26B577D8C1}"/>
              </a:ext>
            </a:extLst>
          </p:cNvPr>
          <p:cNvSpPr/>
          <p:nvPr/>
        </p:nvSpPr>
        <p:spPr>
          <a:xfrm>
            <a:off x="1595097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1" name="Freeform 180">
            <a:extLst>
              <a:ext uri="{FF2B5EF4-FFF2-40B4-BE49-F238E27FC236}">
                <a16:creationId xmlns:a16="http://schemas.microsoft.com/office/drawing/2014/main" id="{34550379-B92D-8241-B540-0627AA0A921B}"/>
              </a:ext>
            </a:extLst>
          </p:cNvPr>
          <p:cNvSpPr/>
          <p:nvPr/>
        </p:nvSpPr>
        <p:spPr>
          <a:xfrm>
            <a:off x="1345936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2" name="Freeform 181">
            <a:extLst>
              <a:ext uri="{FF2B5EF4-FFF2-40B4-BE49-F238E27FC236}">
                <a16:creationId xmlns:a16="http://schemas.microsoft.com/office/drawing/2014/main" id="{C33ECA2F-821B-5F44-80D3-EA291967F056}"/>
              </a:ext>
            </a:extLst>
          </p:cNvPr>
          <p:cNvSpPr/>
          <p:nvPr/>
        </p:nvSpPr>
        <p:spPr>
          <a:xfrm>
            <a:off x="1096775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3" name="Freeform 182">
            <a:extLst>
              <a:ext uri="{FF2B5EF4-FFF2-40B4-BE49-F238E27FC236}">
                <a16:creationId xmlns:a16="http://schemas.microsoft.com/office/drawing/2014/main" id="{DF4643A6-1BE6-854C-9B0E-F821AD1BA95B}"/>
              </a:ext>
            </a:extLst>
          </p:cNvPr>
          <p:cNvSpPr/>
          <p:nvPr/>
        </p:nvSpPr>
        <p:spPr>
          <a:xfrm>
            <a:off x="1096775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4" name="Freeform 183">
            <a:extLst>
              <a:ext uri="{FF2B5EF4-FFF2-40B4-BE49-F238E27FC236}">
                <a16:creationId xmlns:a16="http://schemas.microsoft.com/office/drawing/2014/main" id="{6EE82805-A90B-A042-95FE-EDAEC75607FC}"/>
              </a:ext>
            </a:extLst>
          </p:cNvPr>
          <p:cNvSpPr/>
          <p:nvPr/>
        </p:nvSpPr>
        <p:spPr>
          <a:xfrm>
            <a:off x="847614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5" name="Freeform 184">
            <a:extLst>
              <a:ext uri="{FF2B5EF4-FFF2-40B4-BE49-F238E27FC236}">
                <a16:creationId xmlns:a16="http://schemas.microsoft.com/office/drawing/2014/main" id="{E0F43706-4963-5541-8BA1-5360C57199BD}"/>
              </a:ext>
            </a:extLst>
          </p:cNvPr>
          <p:cNvSpPr/>
          <p:nvPr/>
        </p:nvSpPr>
        <p:spPr>
          <a:xfrm>
            <a:off x="1096775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4" y="99460"/>
                  <a:pt x="0" y="77195"/>
                  <a:pt x="0" y="49730"/>
                </a:cubicBezTo>
                <a:cubicBezTo>
                  <a:pt x="0" y="22265"/>
                  <a:pt x="22264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6" name="Freeform 185">
            <a:extLst>
              <a:ext uri="{FF2B5EF4-FFF2-40B4-BE49-F238E27FC236}">
                <a16:creationId xmlns:a16="http://schemas.microsoft.com/office/drawing/2014/main" id="{9CF17A4F-24D1-414E-85A4-79CAB802EDFE}"/>
              </a:ext>
            </a:extLst>
          </p:cNvPr>
          <p:cNvSpPr/>
          <p:nvPr/>
        </p:nvSpPr>
        <p:spPr>
          <a:xfrm>
            <a:off x="847614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7" name="Freeform 186">
            <a:extLst>
              <a:ext uri="{FF2B5EF4-FFF2-40B4-BE49-F238E27FC236}">
                <a16:creationId xmlns:a16="http://schemas.microsoft.com/office/drawing/2014/main" id="{F8D99D0D-2A3B-754A-909E-B11A8D9C982E}"/>
              </a:ext>
            </a:extLst>
          </p:cNvPr>
          <p:cNvSpPr/>
          <p:nvPr/>
        </p:nvSpPr>
        <p:spPr>
          <a:xfrm>
            <a:off x="598452" y="4899787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8" name="Freeform 187">
            <a:extLst>
              <a:ext uri="{FF2B5EF4-FFF2-40B4-BE49-F238E27FC236}">
                <a16:creationId xmlns:a16="http://schemas.microsoft.com/office/drawing/2014/main" id="{7A063DF6-3D26-8746-96A9-A68F23AC46EB}"/>
              </a:ext>
            </a:extLst>
          </p:cNvPr>
          <p:cNvSpPr/>
          <p:nvPr/>
        </p:nvSpPr>
        <p:spPr>
          <a:xfrm>
            <a:off x="349291" y="4899787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0" name="Freeform 189">
            <a:extLst>
              <a:ext uri="{FF2B5EF4-FFF2-40B4-BE49-F238E27FC236}">
                <a16:creationId xmlns:a16="http://schemas.microsoft.com/office/drawing/2014/main" id="{BFBD2FDE-BC73-8A4B-9055-8144DB5167A6}"/>
              </a:ext>
            </a:extLst>
          </p:cNvPr>
          <p:cNvSpPr/>
          <p:nvPr/>
        </p:nvSpPr>
        <p:spPr>
          <a:xfrm>
            <a:off x="100130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1" name="Freeform 190">
            <a:extLst>
              <a:ext uri="{FF2B5EF4-FFF2-40B4-BE49-F238E27FC236}">
                <a16:creationId xmlns:a16="http://schemas.microsoft.com/office/drawing/2014/main" id="{F21114F7-8C53-0C46-8032-4A441EFEC029}"/>
              </a:ext>
            </a:extLst>
          </p:cNvPr>
          <p:cNvSpPr/>
          <p:nvPr/>
        </p:nvSpPr>
        <p:spPr>
          <a:xfrm>
            <a:off x="349291" y="4650624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2" name="Freeform 191">
            <a:extLst>
              <a:ext uri="{FF2B5EF4-FFF2-40B4-BE49-F238E27FC236}">
                <a16:creationId xmlns:a16="http://schemas.microsoft.com/office/drawing/2014/main" id="{802624AF-2E76-4848-B378-0F6CA56E5D64}"/>
              </a:ext>
            </a:extLst>
          </p:cNvPr>
          <p:cNvSpPr/>
          <p:nvPr/>
        </p:nvSpPr>
        <p:spPr>
          <a:xfrm>
            <a:off x="349291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3" name="Freeform 192">
            <a:extLst>
              <a:ext uri="{FF2B5EF4-FFF2-40B4-BE49-F238E27FC236}">
                <a16:creationId xmlns:a16="http://schemas.microsoft.com/office/drawing/2014/main" id="{8D92ACBB-C8A4-F041-8849-AA788332613E}"/>
              </a:ext>
            </a:extLst>
          </p:cNvPr>
          <p:cNvSpPr/>
          <p:nvPr/>
        </p:nvSpPr>
        <p:spPr>
          <a:xfrm>
            <a:off x="100130" y="4401461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5" name="Freeform 194">
            <a:extLst>
              <a:ext uri="{FF2B5EF4-FFF2-40B4-BE49-F238E27FC236}">
                <a16:creationId xmlns:a16="http://schemas.microsoft.com/office/drawing/2014/main" id="{48879B34-D83A-D449-BC84-AF089636A307}"/>
              </a:ext>
            </a:extLst>
          </p:cNvPr>
          <p:cNvSpPr/>
          <p:nvPr/>
        </p:nvSpPr>
        <p:spPr>
          <a:xfrm>
            <a:off x="349291" y="4152298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6" name="Freeform 195">
            <a:extLst>
              <a:ext uri="{FF2B5EF4-FFF2-40B4-BE49-F238E27FC236}">
                <a16:creationId xmlns:a16="http://schemas.microsoft.com/office/drawing/2014/main" id="{6C9D0334-9555-DC43-96F0-34E1A057E2AC}"/>
              </a:ext>
            </a:extLst>
          </p:cNvPr>
          <p:cNvSpPr/>
          <p:nvPr/>
        </p:nvSpPr>
        <p:spPr>
          <a:xfrm>
            <a:off x="349291" y="3903136"/>
            <a:ext cx="99459" cy="99460"/>
          </a:xfrm>
          <a:custGeom>
            <a:avLst/>
            <a:gdLst>
              <a:gd name="connsiteX0" fmla="*/ 99459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59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59" y="49730"/>
                </a:moveTo>
                <a:cubicBezTo>
                  <a:pt x="99459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59" y="22265"/>
                  <a:pt x="99459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98" name="Freeform 197">
            <a:extLst>
              <a:ext uri="{FF2B5EF4-FFF2-40B4-BE49-F238E27FC236}">
                <a16:creationId xmlns:a16="http://schemas.microsoft.com/office/drawing/2014/main" id="{885549F4-767E-C847-874B-3624FA050C9A}"/>
              </a:ext>
            </a:extLst>
          </p:cNvPr>
          <p:cNvSpPr/>
          <p:nvPr/>
        </p:nvSpPr>
        <p:spPr>
          <a:xfrm>
            <a:off x="598452" y="4152298"/>
            <a:ext cx="99459" cy="99460"/>
          </a:xfrm>
          <a:custGeom>
            <a:avLst/>
            <a:gdLst>
              <a:gd name="connsiteX0" fmla="*/ 99460 w 99459"/>
              <a:gd name="connsiteY0" fmla="*/ 49730 h 99460"/>
              <a:gd name="connsiteX1" fmla="*/ 49730 w 99459"/>
              <a:gd name="connsiteY1" fmla="*/ 99460 h 99460"/>
              <a:gd name="connsiteX2" fmla="*/ 0 w 99459"/>
              <a:gd name="connsiteY2" fmla="*/ 49730 h 99460"/>
              <a:gd name="connsiteX3" fmla="*/ 49730 w 99459"/>
              <a:gd name="connsiteY3" fmla="*/ 0 h 99460"/>
              <a:gd name="connsiteX4" fmla="*/ 99460 w 99459"/>
              <a:gd name="connsiteY4" fmla="*/ 49730 h 99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459" h="99460">
                <a:moveTo>
                  <a:pt x="99460" y="49730"/>
                </a:moveTo>
                <a:cubicBezTo>
                  <a:pt x="99460" y="77195"/>
                  <a:pt x="77195" y="99460"/>
                  <a:pt x="49730" y="99460"/>
                </a:cubicBezTo>
                <a:cubicBezTo>
                  <a:pt x="22265" y="99460"/>
                  <a:pt x="0" y="77195"/>
                  <a:pt x="0" y="49730"/>
                </a:cubicBezTo>
                <a:cubicBezTo>
                  <a:pt x="0" y="22265"/>
                  <a:pt x="22265" y="0"/>
                  <a:pt x="49730" y="0"/>
                </a:cubicBezTo>
                <a:cubicBezTo>
                  <a:pt x="77195" y="0"/>
                  <a:pt x="99460" y="22265"/>
                  <a:pt x="99460" y="49730"/>
                </a:cubicBezTo>
                <a:close/>
              </a:path>
            </a:pathLst>
          </a:custGeom>
          <a:solidFill>
            <a:srgbClr val="5CB5FF">
              <a:alpha val="14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03" name="Freeform 202">
            <a:extLst>
              <a:ext uri="{FF2B5EF4-FFF2-40B4-BE49-F238E27FC236}">
                <a16:creationId xmlns:a16="http://schemas.microsoft.com/office/drawing/2014/main" id="{E078AB53-08B6-5D4B-949A-B8FE2F42C2EB}"/>
              </a:ext>
            </a:extLst>
          </p:cNvPr>
          <p:cNvSpPr/>
          <p:nvPr/>
        </p:nvSpPr>
        <p:spPr>
          <a:xfrm>
            <a:off x="834797" y="4886970"/>
            <a:ext cx="125093" cy="125094"/>
          </a:xfrm>
          <a:custGeom>
            <a:avLst/>
            <a:gdLst>
              <a:gd name="connsiteX0" fmla="*/ 125093 w 125093"/>
              <a:gd name="connsiteY0" fmla="*/ 62547 h 125094"/>
              <a:gd name="connsiteX1" fmla="*/ 62547 w 125093"/>
              <a:gd name="connsiteY1" fmla="*/ 125094 h 125094"/>
              <a:gd name="connsiteX2" fmla="*/ 0 w 125093"/>
              <a:gd name="connsiteY2" fmla="*/ 62547 h 125094"/>
              <a:gd name="connsiteX3" fmla="*/ 62547 w 125093"/>
              <a:gd name="connsiteY3" fmla="*/ 0 h 125094"/>
              <a:gd name="connsiteX4" fmla="*/ 125093 w 125093"/>
              <a:gd name="connsiteY4" fmla="*/ 62547 h 125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093" h="125094">
                <a:moveTo>
                  <a:pt x="125093" y="62547"/>
                </a:moveTo>
                <a:cubicBezTo>
                  <a:pt x="125093" y="97091"/>
                  <a:pt x="97090" y="125094"/>
                  <a:pt x="62547" y="125094"/>
                </a:cubicBezTo>
                <a:cubicBezTo>
                  <a:pt x="28003" y="125094"/>
                  <a:pt x="0" y="97091"/>
                  <a:pt x="0" y="62547"/>
                </a:cubicBezTo>
                <a:cubicBezTo>
                  <a:pt x="0" y="28003"/>
                  <a:pt x="28003" y="0"/>
                  <a:pt x="62547" y="0"/>
                </a:cubicBezTo>
                <a:cubicBezTo>
                  <a:pt x="97090" y="0"/>
                  <a:pt x="125093" y="28003"/>
                  <a:pt x="125093" y="62547"/>
                </a:cubicBezTo>
                <a:close/>
              </a:path>
            </a:pathLst>
          </a:custGeom>
          <a:solidFill>
            <a:srgbClr val="5CB5FF">
              <a:alpha val="10000"/>
            </a:srgbClr>
          </a:solidFill>
          <a:ln w="20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8714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j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85000"/>
        </a:lnSpc>
        <a:spcBef>
          <a:spcPts val="800"/>
        </a:spcBef>
        <a:buFont typeface="Calibri Light" panose="020F0302020204030204" pitchFamily="34" charset="0"/>
        <a:buChar char="–"/>
        <a:defRPr sz="1800" kern="1200">
          <a:solidFill>
            <a:schemeClr val="bg1"/>
          </a:solidFill>
          <a:latin typeface="+mj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85000"/>
        </a:lnSpc>
        <a:spcBef>
          <a:spcPts val="800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j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+mj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1.png"/><Relationship Id="rId2" Type="http://schemas.openxmlformats.org/officeDocument/2006/relationships/tags" Target="../tags/tag7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hyperlink" Target="https://www.sas.com/sas/offers/21/experience-disrupted-is-covid-19-continuing-to-change-customer-behaviour.html" TargetMode="External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5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gif"/><Relationship Id="rId18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5.png"/><Relationship Id="rId7" Type="http://schemas.openxmlformats.org/officeDocument/2006/relationships/hyperlink" Target="http://www.socialmediatoday.com/" TargetMode="External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53.xml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19" Type="http://schemas.openxmlformats.org/officeDocument/2006/relationships/image" Target="../media/image3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Relationship Id="rId22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www.sas.com/sv_se/solutions/customer-intelligence.html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46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45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19BBB13-9A99-A544-A366-E7DBFBA1263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6" t="22125" r="14155" b="1421"/>
          <a:stretch/>
        </p:blipFill>
        <p:spPr>
          <a:xfrm>
            <a:off x="2776952" y="0"/>
            <a:ext cx="6367048" cy="361695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AF269A9-8B81-47AF-A304-B7F9AA6C1060}"/>
              </a:ext>
            </a:extLst>
          </p:cNvPr>
          <p:cNvSpPr/>
          <p:nvPr/>
        </p:nvSpPr>
        <p:spPr>
          <a:xfrm>
            <a:off x="2776952" y="2326334"/>
            <a:ext cx="6367048" cy="1290623"/>
          </a:xfrm>
          <a:prstGeom prst="rect">
            <a:avLst/>
          </a:prstGeom>
          <a:gradFill>
            <a:gsLst>
              <a:gs pos="0">
                <a:srgbClr val="1F1C49">
                  <a:alpha val="0"/>
                </a:srgbClr>
              </a:gs>
              <a:gs pos="100000">
                <a:srgbClr val="1F1C4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23">
            <a:extLst>
              <a:ext uri="{FF2B5EF4-FFF2-40B4-BE49-F238E27FC236}">
                <a16:creationId xmlns:a16="http://schemas.microsoft.com/office/drawing/2014/main" id="{277230DB-5E5F-AE4E-91A4-3AA7BDCBF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17" y="579119"/>
            <a:ext cx="1019001" cy="414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Thomas Thorning Guldborg">
            <a:extLst>
              <a:ext uri="{FF2B5EF4-FFF2-40B4-BE49-F238E27FC236}">
                <a16:creationId xmlns:a16="http://schemas.microsoft.com/office/drawing/2014/main" id="{61D27AEB-5250-470F-8272-446207068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17" y="4081336"/>
            <a:ext cx="825923" cy="825923"/>
          </a:xfrm>
          <a:prstGeom prst="ellipse">
            <a:avLst/>
          </a:prstGeom>
          <a:ln w="6350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4EF9160-56E2-4AF5-BD77-3628A28E9620}"/>
              </a:ext>
            </a:extLst>
          </p:cNvPr>
          <p:cNvGrpSpPr/>
          <p:nvPr/>
        </p:nvGrpSpPr>
        <p:grpSpPr>
          <a:xfrm>
            <a:off x="1956963" y="4101882"/>
            <a:ext cx="4430023" cy="784830"/>
            <a:chOff x="1956963" y="3867365"/>
            <a:chExt cx="4430023" cy="78483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BABF779-8925-4919-858F-B0735A7B9FBA}"/>
                </a:ext>
              </a:extLst>
            </p:cNvPr>
            <p:cNvSpPr txBox="1"/>
            <p:nvPr/>
          </p:nvSpPr>
          <p:spPr>
            <a:xfrm>
              <a:off x="1964533" y="3867365"/>
              <a:ext cx="4422453" cy="7848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</a:pPr>
              <a:r>
                <a:rPr lang="da-DK" b="1">
                  <a:solidFill>
                    <a:schemeClr val="bg1"/>
                  </a:solidFill>
                </a:rPr>
                <a:t>Thomas Thorning</a:t>
              </a:r>
            </a:p>
            <a:p>
              <a:pPr>
                <a:spcAft>
                  <a:spcPts val="300"/>
                </a:spcAft>
              </a:pPr>
              <a:r>
                <a:rPr lang="da-DK" sz="1400">
                  <a:solidFill>
                    <a:schemeClr val="bg1"/>
                  </a:solidFill>
                  <a:latin typeface="+mj-lt"/>
                </a:rPr>
                <a:t>Business Solutions Manager - EMEA</a:t>
              </a:r>
            </a:p>
            <a:p>
              <a:pPr>
                <a:spcAft>
                  <a:spcPts val="300"/>
                </a:spcAft>
              </a:pPr>
              <a:r>
                <a:rPr lang="da-DK" sz="1400">
                  <a:solidFill>
                    <a:schemeClr val="bg1"/>
                  </a:solidFill>
                  <a:latin typeface="+mj-lt"/>
                </a:rPr>
                <a:t>       thomas-thorning-guldborg</a:t>
              </a:r>
            </a:p>
          </p:txBody>
        </p:sp>
        <p:pic>
          <p:nvPicPr>
            <p:cNvPr id="14" name="Picture 4" descr="Billedresultat for linkedin logo">
              <a:extLst>
                <a:ext uri="{FF2B5EF4-FFF2-40B4-BE49-F238E27FC236}">
                  <a16:creationId xmlns:a16="http://schemas.microsoft.com/office/drawing/2014/main" id="{300ABE7D-DD03-40DD-A62C-66C3BF1607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6963" y="4427330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7906D46-0585-44CF-804B-0DE72A1CCD62}"/>
              </a:ext>
            </a:extLst>
          </p:cNvPr>
          <p:cNvSpPr/>
          <p:nvPr/>
        </p:nvSpPr>
        <p:spPr>
          <a:xfrm rot="5400000">
            <a:off x="1613785" y="1163169"/>
            <a:ext cx="3616957" cy="1290623"/>
          </a:xfrm>
          <a:prstGeom prst="rect">
            <a:avLst/>
          </a:prstGeom>
          <a:gradFill>
            <a:gsLst>
              <a:gs pos="0">
                <a:srgbClr val="1F1C49">
                  <a:alpha val="0"/>
                </a:srgbClr>
              </a:gs>
              <a:gs pos="100000">
                <a:srgbClr val="1F1C4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B57737-FC68-1B44-96A0-6CD9B8DCE349}"/>
              </a:ext>
            </a:extLst>
          </p:cNvPr>
          <p:cNvCxnSpPr>
            <a:cxnSpLocks/>
          </p:cNvCxnSpPr>
          <p:nvPr/>
        </p:nvCxnSpPr>
        <p:spPr>
          <a:xfrm>
            <a:off x="540210" y="3922774"/>
            <a:ext cx="80449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66536A2-07B5-47B5-BAF5-F19699F933E7}"/>
              </a:ext>
            </a:extLst>
          </p:cNvPr>
          <p:cNvSpPr txBox="1"/>
          <p:nvPr/>
        </p:nvSpPr>
        <p:spPr>
          <a:xfrm>
            <a:off x="540210" y="1095143"/>
            <a:ext cx="4833041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+mj-lt"/>
              </a:rPr>
              <a:t>Mastering the Customer </a:t>
            </a:r>
            <a:r>
              <a:rPr lang="en-US" sz="2800" b="1" dirty="0">
                <a:solidFill>
                  <a:schemeClr val="bg1"/>
                </a:solidFill>
              </a:rPr>
              <a:t>Journey 2022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D734B51-1677-4F1E-AB5A-5E737561EFF9}"/>
              </a:ext>
            </a:extLst>
          </p:cNvPr>
          <p:cNvSpPr txBox="1"/>
          <p:nvPr/>
        </p:nvSpPr>
        <p:spPr>
          <a:xfrm>
            <a:off x="261787" y="2124003"/>
            <a:ext cx="860183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Data before and during Covid-19 </a:t>
            </a:r>
          </a:p>
          <a:p>
            <a:r>
              <a:rPr lang="en-US" dirty="0">
                <a:solidFill>
                  <a:schemeClr val="bg1"/>
                </a:solidFill>
              </a:rPr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EMEA Poll - To better understand how customers has acted under Covid–19 and what is expected in the futu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ow do we use this insight to master the customer journey and how do we get started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CC5E20C-F57B-471B-9C1C-E6F84CEF26BA}"/>
              </a:ext>
            </a:extLst>
          </p:cNvPr>
          <p:cNvCxnSpPr>
            <a:cxnSpLocks/>
          </p:cNvCxnSpPr>
          <p:nvPr/>
        </p:nvCxnSpPr>
        <p:spPr>
          <a:xfrm>
            <a:off x="540210" y="2072951"/>
            <a:ext cx="52509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00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903C08-7944-4CDF-BBE9-206B486768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389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903C08-7944-4CDF-BBE9-206B48676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DCF3FB67-B815-4A9B-A8C6-074C6B01D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13131"/>
            <a:ext cx="8515350" cy="867930"/>
          </a:xfrm>
        </p:spPr>
        <p:txBody>
          <a:bodyPr vert="horz"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Data Alone Doesn’t Drive Your Organization….   Decisions Do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C58CB0-3567-46B5-B20C-2A8339C66FB4}"/>
              </a:ext>
            </a:extLst>
          </p:cNvPr>
          <p:cNvSpPr txBox="1"/>
          <p:nvPr/>
        </p:nvSpPr>
        <p:spPr>
          <a:xfrm>
            <a:off x="525463" y="3916692"/>
            <a:ext cx="8020050" cy="491581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nalytically Driven Decisions are Better</a:t>
            </a:r>
          </a:p>
        </p:txBody>
      </p:sp>
      <p:sp>
        <p:nvSpPr>
          <p:cNvPr id="32" name="Freeform 13">
            <a:extLst>
              <a:ext uri="{FF2B5EF4-FFF2-40B4-BE49-F238E27FC236}">
                <a16:creationId xmlns:a16="http://schemas.microsoft.com/office/drawing/2014/main" id="{74288A4F-4115-45FF-8D6C-0C6D3A2D93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78593" y="2445294"/>
            <a:ext cx="416673" cy="433702"/>
          </a:xfrm>
          <a:custGeom>
            <a:avLst/>
            <a:gdLst>
              <a:gd name="T0" fmla="*/ 1531 w 4608"/>
              <a:gd name="T1" fmla="*/ 3267 h 4799"/>
              <a:gd name="T2" fmla="*/ 3112 w 4608"/>
              <a:gd name="T3" fmla="*/ 3034 h 4799"/>
              <a:gd name="T4" fmla="*/ 3158 w 4608"/>
              <a:gd name="T5" fmla="*/ 3558 h 4799"/>
              <a:gd name="T6" fmla="*/ 1531 w 4608"/>
              <a:gd name="T7" fmla="*/ 3746 h 4799"/>
              <a:gd name="T8" fmla="*/ 1550 w 4608"/>
              <a:gd name="T9" fmla="*/ 3513 h 4799"/>
              <a:gd name="T10" fmla="*/ 3158 w 4608"/>
              <a:gd name="T11" fmla="*/ 3558 h 4799"/>
              <a:gd name="T12" fmla="*/ 3158 w 4608"/>
              <a:gd name="T13" fmla="*/ 4179 h 4799"/>
              <a:gd name="T14" fmla="*/ 1485 w 4608"/>
              <a:gd name="T15" fmla="*/ 4037 h 4799"/>
              <a:gd name="T16" fmla="*/ 3158 w 4608"/>
              <a:gd name="T17" fmla="*/ 4037 h 4799"/>
              <a:gd name="T18" fmla="*/ 3112 w 4608"/>
              <a:gd name="T19" fmla="*/ 4704 h 4799"/>
              <a:gd name="T20" fmla="*/ 1531 w 4608"/>
              <a:gd name="T21" fmla="*/ 4470 h 4799"/>
              <a:gd name="T22" fmla="*/ 1598 w 4608"/>
              <a:gd name="T23" fmla="*/ 4320 h 4799"/>
              <a:gd name="T24" fmla="*/ 1598 w 4608"/>
              <a:gd name="T25" fmla="*/ 4376 h 4799"/>
              <a:gd name="T26" fmla="*/ 3042 w 4608"/>
              <a:gd name="T27" fmla="*/ 3841 h 4799"/>
              <a:gd name="T28" fmla="*/ 1598 w 4608"/>
              <a:gd name="T29" fmla="*/ 3362 h 4799"/>
              <a:gd name="T30" fmla="*/ 1598 w 4608"/>
              <a:gd name="T31" fmla="*/ 3418 h 4799"/>
              <a:gd name="T32" fmla="*/ 1531 w 4608"/>
              <a:gd name="T33" fmla="*/ 2939 h 4799"/>
              <a:gd name="T34" fmla="*/ 1504 w 4608"/>
              <a:gd name="T35" fmla="*/ 3421 h 4799"/>
              <a:gd name="T36" fmla="*/ 1504 w 4608"/>
              <a:gd name="T37" fmla="*/ 3900 h 4799"/>
              <a:gd name="T38" fmla="*/ 1504 w 4608"/>
              <a:gd name="T39" fmla="*/ 4378 h 4799"/>
              <a:gd name="T40" fmla="*/ 3112 w 4608"/>
              <a:gd name="T41" fmla="*/ 4799 h 4799"/>
              <a:gd name="T42" fmla="*/ 3137 w 4608"/>
              <a:gd name="T43" fmla="*/ 4317 h 4799"/>
              <a:gd name="T44" fmla="*/ 3137 w 4608"/>
              <a:gd name="T45" fmla="*/ 3838 h 4799"/>
              <a:gd name="T46" fmla="*/ 3137 w 4608"/>
              <a:gd name="T47" fmla="*/ 3360 h 4799"/>
              <a:gd name="T48" fmla="*/ 3112 w 4608"/>
              <a:gd name="T49" fmla="*/ 2939 h 4799"/>
              <a:gd name="T50" fmla="*/ 4305 w 4608"/>
              <a:gd name="T51" fmla="*/ 2041 h 4799"/>
              <a:gd name="T52" fmla="*/ 302 w 4608"/>
              <a:gd name="T53" fmla="*/ 1345 h 4799"/>
              <a:gd name="T54" fmla="*/ 4305 w 4608"/>
              <a:gd name="T55" fmla="*/ 1345 h 4799"/>
              <a:gd name="T56" fmla="*/ 421 w 4608"/>
              <a:gd name="T57" fmla="*/ 2175 h 4799"/>
              <a:gd name="T58" fmla="*/ 421 w 4608"/>
              <a:gd name="T59" fmla="*/ 2175 h 4799"/>
              <a:gd name="T60" fmla="*/ 302 w 4608"/>
              <a:gd name="T61" fmla="*/ 133 h 4799"/>
              <a:gd name="T62" fmla="*/ 4305 w 4608"/>
              <a:gd name="T63" fmla="*/ 829 h 4799"/>
              <a:gd name="T64" fmla="*/ 421 w 4608"/>
              <a:gd name="T65" fmla="*/ 963 h 4799"/>
              <a:gd name="T66" fmla="*/ 421 w 4608"/>
              <a:gd name="T67" fmla="*/ 1210 h 4799"/>
              <a:gd name="T68" fmla="*/ 4608 w 4608"/>
              <a:gd name="T69" fmla="*/ 301 h 4799"/>
              <a:gd name="T70" fmla="*/ 0 w 4608"/>
              <a:gd name="T71" fmla="*/ 661 h 4799"/>
              <a:gd name="T72" fmla="*/ 0 w 4608"/>
              <a:gd name="T73" fmla="*/ 1873 h 4799"/>
              <a:gd name="T74" fmla="*/ 0 w 4608"/>
              <a:gd name="T75" fmla="*/ 3055 h 4799"/>
              <a:gd name="T76" fmla="*/ 0 w 4608"/>
              <a:gd name="T77" fmla="*/ 4267 h 4799"/>
              <a:gd name="T78" fmla="*/ 1170 w 4608"/>
              <a:gd name="T79" fmla="*/ 4465 h 4799"/>
              <a:gd name="T80" fmla="*/ 331 w 4608"/>
              <a:gd name="T81" fmla="*/ 3768 h 4799"/>
              <a:gd name="T82" fmla="*/ 421 w 4608"/>
              <a:gd name="T83" fmla="*/ 3634 h 4799"/>
              <a:gd name="T84" fmla="*/ 1188 w 4608"/>
              <a:gd name="T85" fmla="*/ 3253 h 4799"/>
              <a:gd name="T86" fmla="*/ 331 w 4608"/>
              <a:gd name="T87" fmla="*/ 2556 h 4799"/>
              <a:gd name="T88" fmla="*/ 4276 w 4608"/>
              <a:gd name="T89" fmla="*/ 3253 h 4799"/>
              <a:gd name="T90" fmla="*/ 4181 w 4608"/>
              <a:gd name="T91" fmla="*/ 3387 h 4799"/>
              <a:gd name="T92" fmla="*/ 3468 w 4608"/>
              <a:gd name="T93" fmla="*/ 3768 h 4799"/>
              <a:gd name="T94" fmla="*/ 4276 w 4608"/>
              <a:gd name="T95" fmla="*/ 4465 h 4799"/>
              <a:gd name="T96" fmla="*/ 4276 w 4608"/>
              <a:gd name="T97" fmla="*/ 4599 h 4799"/>
              <a:gd name="T98" fmla="*/ 4315 w 4608"/>
              <a:gd name="T99" fmla="*/ 3383 h 4799"/>
              <a:gd name="T100" fmla="*/ 4315 w 4608"/>
              <a:gd name="T101" fmla="*/ 2174 h 4799"/>
              <a:gd name="T102" fmla="*/ 4315 w 4608"/>
              <a:gd name="T103" fmla="*/ 962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608" h="4799">
                <a:moveTo>
                  <a:pt x="3158" y="3222"/>
                </a:moveTo>
                <a:lnTo>
                  <a:pt x="3158" y="3222"/>
                </a:lnTo>
                <a:cubicBezTo>
                  <a:pt x="3158" y="3247"/>
                  <a:pt x="3137" y="3267"/>
                  <a:pt x="3112" y="3267"/>
                </a:cubicBezTo>
                <a:lnTo>
                  <a:pt x="1531" y="3267"/>
                </a:lnTo>
                <a:cubicBezTo>
                  <a:pt x="1505" y="3267"/>
                  <a:pt x="1485" y="3247"/>
                  <a:pt x="1485" y="3222"/>
                </a:cubicBezTo>
                <a:lnTo>
                  <a:pt x="1485" y="3080"/>
                </a:lnTo>
                <a:cubicBezTo>
                  <a:pt x="1485" y="3054"/>
                  <a:pt x="1505" y="3034"/>
                  <a:pt x="1531" y="3034"/>
                </a:cubicBezTo>
                <a:lnTo>
                  <a:pt x="3112" y="3034"/>
                </a:lnTo>
                <a:cubicBezTo>
                  <a:pt x="3137" y="3034"/>
                  <a:pt x="3158" y="3054"/>
                  <a:pt x="3158" y="3080"/>
                </a:cubicBezTo>
                <a:lnTo>
                  <a:pt x="3158" y="3222"/>
                </a:lnTo>
                <a:lnTo>
                  <a:pt x="3158" y="3222"/>
                </a:lnTo>
                <a:close/>
                <a:moveTo>
                  <a:pt x="3158" y="3558"/>
                </a:moveTo>
                <a:lnTo>
                  <a:pt x="3158" y="3558"/>
                </a:lnTo>
                <a:lnTo>
                  <a:pt x="3158" y="3701"/>
                </a:lnTo>
                <a:cubicBezTo>
                  <a:pt x="3158" y="3726"/>
                  <a:pt x="3137" y="3746"/>
                  <a:pt x="3112" y="3746"/>
                </a:cubicBezTo>
                <a:lnTo>
                  <a:pt x="1531" y="3746"/>
                </a:lnTo>
                <a:cubicBezTo>
                  <a:pt x="1505" y="3746"/>
                  <a:pt x="1485" y="3726"/>
                  <a:pt x="1485" y="3701"/>
                </a:cubicBezTo>
                <a:lnTo>
                  <a:pt x="1485" y="3558"/>
                </a:lnTo>
                <a:cubicBezTo>
                  <a:pt x="1485" y="3533"/>
                  <a:pt x="1505" y="3513"/>
                  <a:pt x="1531" y="3513"/>
                </a:cubicBezTo>
                <a:lnTo>
                  <a:pt x="1550" y="3513"/>
                </a:lnTo>
                <a:cubicBezTo>
                  <a:pt x="1551" y="3513"/>
                  <a:pt x="1551" y="3513"/>
                  <a:pt x="1551" y="3513"/>
                </a:cubicBezTo>
                <a:lnTo>
                  <a:pt x="1552" y="3513"/>
                </a:lnTo>
                <a:lnTo>
                  <a:pt x="3112" y="3513"/>
                </a:lnTo>
                <a:cubicBezTo>
                  <a:pt x="3137" y="3513"/>
                  <a:pt x="3158" y="3533"/>
                  <a:pt x="3158" y="3558"/>
                </a:cubicBezTo>
                <a:lnTo>
                  <a:pt x="3158" y="3558"/>
                </a:lnTo>
                <a:close/>
                <a:moveTo>
                  <a:pt x="3158" y="4037"/>
                </a:moveTo>
                <a:lnTo>
                  <a:pt x="3158" y="4037"/>
                </a:lnTo>
                <a:lnTo>
                  <a:pt x="3158" y="4179"/>
                </a:lnTo>
                <a:cubicBezTo>
                  <a:pt x="3158" y="4205"/>
                  <a:pt x="3137" y="4225"/>
                  <a:pt x="3112" y="4225"/>
                </a:cubicBezTo>
                <a:lnTo>
                  <a:pt x="1531" y="4225"/>
                </a:lnTo>
                <a:cubicBezTo>
                  <a:pt x="1505" y="4225"/>
                  <a:pt x="1485" y="4205"/>
                  <a:pt x="1485" y="4179"/>
                </a:cubicBezTo>
                <a:lnTo>
                  <a:pt x="1485" y="4037"/>
                </a:lnTo>
                <a:cubicBezTo>
                  <a:pt x="1485" y="4012"/>
                  <a:pt x="1505" y="3992"/>
                  <a:pt x="1531" y="3992"/>
                </a:cubicBezTo>
                <a:lnTo>
                  <a:pt x="3112" y="3992"/>
                </a:lnTo>
                <a:cubicBezTo>
                  <a:pt x="3137" y="3992"/>
                  <a:pt x="3158" y="4012"/>
                  <a:pt x="3158" y="4037"/>
                </a:cubicBezTo>
                <a:lnTo>
                  <a:pt x="3158" y="4037"/>
                </a:lnTo>
                <a:close/>
                <a:moveTo>
                  <a:pt x="3158" y="4516"/>
                </a:moveTo>
                <a:lnTo>
                  <a:pt x="3158" y="4516"/>
                </a:lnTo>
                <a:lnTo>
                  <a:pt x="3158" y="4658"/>
                </a:lnTo>
                <a:cubicBezTo>
                  <a:pt x="3158" y="4683"/>
                  <a:pt x="3137" y="4704"/>
                  <a:pt x="3112" y="4704"/>
                </a:cubicBezTo>
                <a:lnTo>
                  <a:pt x="1531" y="4704"/>
                </a:lnTo>
                <a:cubicBezTo>
                  <a:pt x="1505" y="4704"/>
                  <a:pt x="1485" y="4683"/>
                  <a:pt x="1485" y="4658"/>
                </a:cubicBezTo>
                <a:lnTo>
                  <a:pt x="1485" y="4516"/>
                </a:lnTo>
                <a:cubicBezTo>
                  <a:pt x="1485" y="4491"/>
                  <a:pt x="1505" y="4470"/>
                  <a:pt x="1531" y="4470"/>
                </a:cubicBezTo>
                <a:lnTo>
                  <a:pt x="3112" y="4470"/>
                </a:lnTo>
                <a:cubicBezTo>
                  <a:pt x="3137" y="4470"/>
                  <a:pt x="3158" y="4491"/>
                  <a:pt x="3158" y="4516"/>
                </a:cubicBezTo>
                <a:lnTo>
                  <a:pt x="3158" y="4516"/>
                </a:lnTo>
                <a:close/>
                <a:moveTo>
                  <a:pt x="1598" y="4320"/>
                </a:moveTo>
                <a:lnTo>
                  <a:pt x="1598" y="4320"/>
                </a:lnTo>
                <a:lnTo>
                  <a:pt x="3042" y="4320"/>
                </a:lnTo>
                <a:lnTo>
                  <a:pt x="3042" y="4376"/>
                </a:lnTo>
                <a:lnTo>
                  <a:pt x="1598" y="4376"/>
                </a:lnTo>
                <a:lnTo>
                  <a:pt x="1598" y="4320"/>
                </a:lnTo>
                <a:close/>
                <a:moveTo>
                  <a:pt x="1598" y="3841"/>
                </a:moveTo>
                <a:lnTo>
                  <a:pt x="1598" y="3841"/>
                </a:lnTo>
                <a:lnTo>
                  <a:pt x="3042" y="3841"/>
                </a:lnTo>
                <a:lnTo>
                  <a:pt x="3042" y="3897"/>
                </a:lnTo>
                <a:lnTo>
                  <a:pt x="1598" y="3897"/>
                </a:lnTo>
                <a:lnTo>
                  <a:pt x="1598" y="3841"/>
                </a:lnTo>
                <a:close/>
                <a:moveTo>
                  <a:pt x="1598" y="3362"/>
                </a:moveTo>
                <a:lnTo>
                  <a:pt x="1598" y="3362"/>
                </a:lnTo>
                <a:lnTo>
                  <a:pt x="3042" y="3362"/>
                </a:lnTo>
                <a:lnTo>
                  <a:pt x="3042" y="3418"/>
                </a:lnTo>
                <a:lnTo>
                  <a:pt x="1598" y="3418"/>
                </a:lnTo>
                <a:lnTo>
                  <a:pt x="1598" y="3362"/>
                </a:lnTo>
                <a:close/>
                <a:moveTo>
                  <a:pt x="3112" y="2939"/>
                </a:moveTo>
                <a:lnTo>
                  <a:pt x="3112" y="2939"/>
                </a:lnTo>
                <a:lnTo>
                  <a:pt x="1531" y="2939"/>
                </a:lnTo>
                <a:cubicBezTo>
                  <a:pt x="1453" y="2939"/>
                  <a:pt x="1390" y="3002"/>
                  <a:pt x="1390" y="3080"/>
                </a:cubicBezTo>
                <a:lnTo>
                  <a:pt x="1390" y="3222"/>
                </a:lnTo>
                <a:cubicBezTo>
                  <a:pt x="1390" y="3290"/>
                  <a:pt x="1439" y="3347"/>
                  <a:pt x="1504" y="3359"/>
                </a:cubicBezTo>
                <a:lnTo>
                  <a:pt x="1504" y="3421"/>
                </a:lnTo>
                <a:cubicBezTo>
                  <a:pt x="1439" y="3433"/>
                  <a:pt x="1390" y="3490"/>
                  <a:pt x="1390" y="3558"/>
                </a:cubicBezTo>
                <a:lnTo>
                  <a:pt x="1390" y="3701"/>
                </a:lnTo>
                <a:cubicBezTo>
                  <a:pt x="1390" y="3769"/>
                  <a:pt x="1439" y="3826"/>
                  <a:pt x="1504" y="3838"/>
                </a:cubicBezTo>
                <a:lnTo>
                  <a:pt x="1504" y="3900"/>
                </a:lnTo>
                <a:cubicBezTo>
                  <a:pt x="1439" y="3912"/>
                  <a:pt x="1390" y="3969"/>
                  <a:pt x="1390" y="4037"/>
                </a:cubicBezTo>
                <a:lnTo>
                  <a:pt x="1390" y="4179"/>
                </a:lnTo>
                <a:cubicBezTo>
                  <a:pt x="1390" y="4248"/>
                  <a:pt x="1439" y="4304"/>
                  <a:pt x="1504" y="4317"/>
                </a:cubicBezTo>
                <a:lnTo>
                  <a:pt x="1504" y="4378"/>
                </a:lnTo>
                <a:cubicBezTo>
                  <a:pt x="1439" y="4391"/>
                  <a:pt x="1390" y="4448"/>
                  <a:pt x="1390" y="4516"/>
                </a:cubicBezTo>
                <a:lnTo>
                  <a:pt x="1390" y="4658"/>
                </a:lnTo>
                <a:cubicBezTo>
                  <a:pt x="1390" y="4736"/>
                  <a:pt x="1453" y="4799"/>
                  <a:pt x="1531" y="4799"/>
                </a:cubicBezTo>
                <a:lnTo>
                  <a:pt x="3112" y="4799"/>
                </a:lnTo>
                <a:cubicBezTo>
                  <a:pt x="3190" y="4799"/>
                  <a:pt x="3253" y="4736"/>
                  <a:pt x="3253" y="4658"/>
                </a:cubicBezTo>
                <a:lnTo>
                  <a:pt x="3253" y="4516"/>
                </a:lnTo>
                <a:cubicBezTo>
                  <a:pt x="3253" y="4447"/>
                  <a:pt x="3203" y="4390"/>
                  <a:pt x="3137" y="4378"/>
                </a:cubicBezTo>
                <a:lnTo>
                  <a:pt x="3137" y="4317"/>
                </a:lnTo>
                <a:cubicBezTo>
                  <a:pt x="3203" y="4305"/>
                  <a:pt x="3253" y="4248"/>
                  <a:pt x="3253" y="4179"/>
                </a:cubicBezTo>
                <a:lnTo>
                  <a:pt x="3253" y="4037"/>
                </a:lnTo>
                <a:cubicBezTo>
                  <a:pt x="3253" y="3968"/>
                  <a:pt x="3203" y="3911"/>
                  <a:pt x="3137" y="3899"/>
                </a:cubicBezTo>
                <a:lnTo>
                  <a:pt x="3137" y="3838"/>
                </a:lnTo>
                <a:cubicBezTo>
                  <a:pt x="3203" y="3827"/>
                  <a:pt x="3253" y="3769"/>
                  <a:pt x="3253" y="3701"/>
                </a:cubicBezTo>
                <a:lnTo>
                  <a:pt x="3253" y="3558"/>
                </a:lnTo>
                <a:cubicBezTo>
                  <a:pt x="3253" y="3490"/>
                  <a:pt x="3203" y="3432"/>
                  <a:pt x="3137" y="3421"/>
                </a:cubicBezTo>
                <a:lnTo>
                  <a:pt x="3137" y="3360"/>
                </a:lnTo>
                <a:cubicBezTo>
                  <a:pt x="3203" y="3348"/>
                  <a:pt x="3253" y="3291"/>
                  <a:pt x="3253" y="3222"/>
                </a:cubicBezTo>
                <a:lnTo>
                  <a:pt x="3253" y="3080"/>
                </a:lnTo>
                <a:cubicBezTo>
                  <a:pt x="3253" y="3002"/>
                  <a:pt x="3190" y="2939"/>
                  <a:pt x="3112" y="2939"/>
                </a:cubicBezTo>
                <a:lnTo>
                  <a:pt x="3112" y="2939"/>
                </a:lnTo>
                <a:close/>
                <a:moveTo>
                  <a:pt x="4474" y="1513"/>
                </a:moveTo>
                <a:lnTo>
                  <a:pt x="4474" y="1513"/>
                </a:lnTo>
                <a:lnTo>
                  <a:pt x="4474" y="1873"/>
                </a:lnTo>
                <a:cubicBezTo>
                  <a:pt x="4474" y="1965"/>
                  <a:pt x="4398" y="2041"/>
                  <a:pt x="4305" y="2041"/>
                </a:cubicBezTo>
                <a:lnTo>
                  <a:pt x="302" y="2041"/>
                </a:lnTo>
                <a:cubicBezTo>
                  <a:pt x="209" y="2041"/>
                  <a:pt x="134" y="1965"/>
                  <a:pt x="134" y="1873"/>
                </a:cubicBezTo>
                <a:lnTo>
                  <a:pt x="134" y="1513"/>
                </a:lnTo>
                <a:cubicBezTo>
                  <a:pt x="134" y="1420"/>
                  <a:pt x="209" y="1345"/>
                  <a:pt x="302" y="1345"/>
                </a:cubicBezTo>
                <a:lnTo>
                  <a:pt x="351" y="1345"/>
                </a:lnTo>
                <a:cubicBezTo>
                  <a:pt x="352" y="1345"/>
                  <a:pt x="353" y="1345"/>
                  <a:pt x="354" y="1345"/>
                </a:cubicBezTo>
                <a:cubicBezTo>
                  <a:pt x="355" y="1345"/>
                  <a:pt x="356" y="1345"/>
                  <a:pt x="357" y="1345"/>
                </a:cubicBezTo>
                <a:lnTo>
                  <a:pt x="4305" y="1345"/>
                </a:lnTo>
                <a:cubicBezTo>
                  <a:pt x="4398" y="1345"/>
                  <a:pt x="4474" y="1420"/>
                  <a:pt x="4474" y="1513"/>
                </a:cubicBezTo>
                <a:lnTo>
                  <a:pt x="4474" y="1513"/>
                </a:lnTo>
                <a:close/>
                <a:moveTo>
                  <a:pt x="421" y="2175"/>
                </a:moveTo>
                <a:lnTo>
                  <a:pt x="421" y="2175"/>
                </a:lnTo>
                <a:lnTo>
                  <a:pt x="4181" y="2175"/>
                </a:lnTo>
                <a:lnTo>
                  <a:pt x="4181" y="2422"/>
                </a:lnTo>
                <a:lnTo>
                  <a:pt x="421" y="2422"/>
                </a:lnTo>
                <a:lnTo>
                  <a:pt x="421" y="2175"/>
                </a:lnTo>
                <a:close/>
                <a:moveTo>
                  <a:pt x="134" y="661"/>
                </a:moveTo>
                <a:lnTo>
                  <a:pt x="134" y="661"/>
                </a:lnTo>
                <a:lnTo>
                  <a:pt x="134" y="301"/>
                </a:lnTo>
                <a:cubicBezTo>
                  <a:pt x="134" y="208"/>
                  <a:pt x="209" y="133"/>
                  <a:pt x="302" y="133"/>
                </a:cubicBezTo>
                <a:lnTo>
                  <a:pt x="4305" y="133"/>
                </a:lnTo>
                <a:cubicBezTo>
                  <a:pt x="4398" y="133"/>
                  <a:pt x="4474" y="208"/>
                  <a:pt x="4474" y="301"/>
                </a:cubicBezTo>
                <a:lnTo>
                  <a:pt x="4474" y="661"/>
                </a:lnTo>
                <a:cubicBezTo>
                  <a:pt x="4474" y="754"/>
                  <a:pt x="4398" y="829"/>
                  <a:pt x="4305" y="829"/>
                </a:cubicBezTo>
                <a:lnTo>
                  <a:pt x="302" y="829"/>
                </a:lnTo>
                <a:cubicBezTo>
                  <a:pt x="209" y="829"/>
                  <a:pt x="134" y="754"/>
                  <a:pt x="134" y="661"/>
                </a:cubicBezTo>
                <a:lnTo>
                  <a:pt x="134" y="661"/>
                </a:lnTo>
                <a:close/>
                <a:moveTo>
                  <a:pt x="421" y="963"/>
                </a:moveTo>
                <a:lnTo>
                  <a:pt x="421" y="963"/>
                </a:lnTo>
                <a:lnTo>
                  <a:pt x="4181" y="963"/>
                </a:lnTo>
                <a:lnTo>
                  <a:pt x="4181" y="1210"/>
                </a:lnTo>
                <a:lnTo>
                  <a:pt x="421" y="1210"/>
                </a:lnTo>
                <a:lnTo>
                  <a:pt x="421" y="963"/>
                </a:lnTo>
                <a:close/>
                <a:moveTo>
                  <a:pt x="4608" y="661"/>
                </a:moveTo>
                <a:lnTo>
                  <a:pt x="4608" y="661"/>
                </a:lnTo>
                <a:lnTo>
                  <a:pt x="4608" y="301"/>
                </a:lnTo>
                <a:cubicBezTo>
                  <a:pt x="4608" y="134"/>
                  <a:pt x="4472" y="0"/>
                  <a:pt x="4305" y="0"/>
                </a:cubicBezTo>
                <a:lnTo>
                  <a:pt x="302" y="0"/>
                </a:lnTo>
                <a:cubicBezTo>
                  <a:pt x="135" y="0"/>
                  <a:pt x="0" y="134"/>
                  <a:pt x="0" y="301"/>
                </a:cubicBezTo>
                <a:lnTo>
                  <a:pt x="0" y="661"/>
                </a:lnTo>
                <a:cubicBezTo>
                  <a:pt x="0" y="822"/>
                  <a:pt x="127" y="954"/>
                  <a:pt x="287" y="962"/>
                </a:cubicBezTo>
                <a:lnTo>
                  <a:pt x="287" y="1212"/>
                </a:lnTo>
                <a:cubicBezTo>
                  <a:pt x="127" y="1220"/>
                  <a:pt x="0" y="1351"/>
                  <a:pt x="0" y="1513"/>
                </a:cubicBezTo>
                <a:lnTo>
                  <a:pt x="0" y="1873"/>
                </a:lnTo>
                <a:cubicBezTo>
                  <a:pt x="0" y="2034"/>
                  <a:pt x="127" y="2166"/>
                  <a:pt x="287" y="2174"/>
                </a:cubicBezTo>
                <a:lnTo>
                  <a:pt x="287" y="2427"/>
                </a:lnTo>
                <a:cubicBezTo>
                  <a:pt x="125" y="2449"/>
                  <a:pt x="0" y="2586"/>
                  <a:pt x="0" y="2754"/>
                </a:cubicBezTo>
                <a:lnTo>
                  <a:pt x="0" y="3055"/>
                </a:lnTo>
                <a:cubicBezTo>
                  <a:pt x="0" y="3223"/>
                  <a:pt x="125" y="3361"/>
                  <a:pt x="287" y="3382"/>
                </a:cubicBezTo>
                <a:lnTo>
                  <a:pt x="287" y="3639"/>
                </a:lnTo>
                <a:cubicBezTo>
                  <a:pt x="125" y="3660"/>
                  <a:pt x="0" y="3798"/>
                  <a:pt x="0" y="3966"/>
                </a:cubicBezTo>
                <a:lnTo>
                  <a:pt x="0" y="4267"/>
                </a:lnTo>
                <a:cubicBezTo>
                  <a:pt x="0" y="4450"/>
                  <a:pt x="148" y="4599"/>
                  <a:pt x="331" y="4599"/>
                </a:cubicBezTo>
                <a:lnTo>
                  <a:pt x="1170" y="4599"/>
                </a:lnTo>
                <a:cubicBezTo>
                  <a:pt x="1207" y="4599"/>
                  <a:pt x="1237" y="4569"/>
                  <a:pt x="1237" y="4532"/>
                </a:cubicBezTo>
                <a:cubicBezTo>
                  <a:pt x="1237" y="4495"/>
                  <a:pt x="1207" y="4465"/>
                  <a:pt x="1170" y="4465"/>
                </a:cubicBezTo>
                <a:lnTo>
                  <a:pt x="331" y="4465"/>
                </a:lnTo>
                <a:cubicBezTo>
                  <a:pt x="222" y="4465"/>
                  <a:pt x="134" y="4376"/>
                  <a:pt x="134" y="4267"/>
                </a:cubicBezTo>
                <a:lnTo>
                  <a:pt x="134" y="3966"/>
                </a:lnTo>
                <a:cubicBezTo>
                  <a:pt x="134" y="3857"/>
                  <a:pt x="222" y="3768"/>
                  <a:pt x="331" y="3768"/>
                </a:cubicBezTo>
                <a:lnTo>
                  <a:pt x="1188" y="3768"/>
                </a:lnTo>
                <a:cubicBezTo>
                  <a:pt x="1225" y="3768"/>
                  <a:pt x="1255" y="3738"/>
                  <a:pt x="1255" y="3701"/>
                </a:cubicBezTo>
                <a:cubicBezTo>
                  <a:pt x="1255" y="3664"/>
                  <a:pt x="1225" y="3634"/>
                  <a:pt x="1188" y="3634"/>
                </a:cubicBezTo>
                <a:lnTo>
                  <a:pt x="421" y="3634"/>
                </a:lnTo>
                <a:lnTo>
                  <a:pt x="421" y="3387"/>
                </a:lnTo>
                <a:lnTo>
                  <a:pt x="1188" y="3387"/>
                </a:lnTo>
                <a:cubicBezTo>
                  <a:pt x="1225" y="3387"/>
                  <a:pt x="1255" y="3357"/>
                  <a:pt x="1255" y="3320"/>
                </a:cubicBezTo>
                <a:cubicBezTo>
                  <a:pt x="1255" y="3283"/>
                  <a:pt x="1225" y="3253"/>
                  <a:pt x="1188" y="3253"/>
                </a:cubicBezTo>
                <a:lnTo>
                  <a:pt x="331" y="3253"/>
                </a:lnTo>
                <a:cubicBezTo>
                  <a:pt x="222" y="3253"/>
                  <a:pt x="134" y="3164"/>
                  <a:pt x="134" y="3055"/>
                </a:cubicBezTo>
                <a:lnTo>
                  <a:pt x="134" y="2754"/>
                </a:lnTo>
                <a:cubicBezTo>
                  <a:pt x="134" y="2645"/>
                  <a:pt x="222" y="2556"/>
                  <a:pt x="331" y="2556"/>
                </a:cubicBezTo>
                <a:lnTo>
                  <a:pt x="4276" y="2556"/>
                </a:lnTo>
                <a:cubicBezTo>
                  <a:pt x="4385" y="2556"/>
                  <a:pt x="4474" y="2645"/>
                  <a:pt x="4474" y="2754"/>
                </a:cubicBezTo>
                <a:lnTo>
                  <a:pt x="4474" y="3055"/>
                </a:lnTo>
                <a:cubicBezTo>
                  <a:pt x="4474" y="3164"/>
                  <a:pt x="4385" y="3253"/>
                  <a:pt x="4276" y="3253"/>
                </a:cubicBezTo>
                <a:lnTo>
                  <a:pt x="3459" y="3253"/>
                </a:lnTo>
                <a:cubicBezTo>
                  <a:pt x="3422" y="3253"/>
                  <a:pt x="3392" y="3283"/>
                  <a:pt x="3392" y="3320"/>
                </a:cubicBezTo>
                <a:cubicBezTo>
                  <a:pt x="3392" y="3357"/>
                  <a:pt x="3422" y="3387"/>
                  <a:pt x="3459" y="3387"/>
                </a:cubicBezTo>
                <a:lnTo>
                  <a:pt x="4181" y="3387"/>
                </a:lnTo>
                <a:lnTo>
                  <a:pt x="4181" y="3634"/>
                </a:lnTo>
                <a:lnTo>
                  <a:pt x="3468" y="3634"/>
                </a:lnTo>
                <a:cubicBezTo>
                  <a:pt x="3431" y="3634"/>
                  <a:pt x="3401" y="3664"/>
                  <a:pt x="3401" y="3701"/>
                </a:cubicBezTo>
                <a:cubicBezTo>
                  <a:pt x="3401" y="3738"/>
                  <a:pt x="3431" y="3768"/>
                  <a:pt x="3468" y="3768"/>
                </a:cubicBezTo>
                <a:lnTo>
                  <a:pt x="4276" y="3768"/>
                </a:lnTo>
                <a:cubicBezTo>
                  <a:pt x="4385" y="3768"/>
                  <a:pt x="4474" y="3857"/>
                  <a:pt x="4474" y="3966"/>
                </a:cubicBezTo>
                <a:lnTo>
                  <a:pt x="4474" y="4267"/>
                </a:lnTo>
                <a:cubicBezTo>
                  <a:pt x="4474" y="4376"/>
                  <a:pt x="4385" y="4465"/>
                  <a:pt x="4276" y="4465"/>
                </a:cubicBezTo>
                <a:lnTo>
                  <a:pt x="3468" y="4465"/>
                </a:lnTo>
                <a:cubicBezTo>
                  <a:pt x="3431" y="4465"/>
                  <a:pt x="3401" y="4495"/>
                  <a:pt x="3401" y="4532"/>
                </a:cubicBezTo>
                <a:cubicBezTo>
                  <a:pt x="3401" y="4569"/>
                  <a:pt x="3431" y="4599"/>
                  <a:pt x="3468" y="4599"/>
                </a:cubicBezTo>
                <a:lnTo>
                  <a:pt x="4276" y="4599"/>
                </a:lnTo>
                <a:cubicBezTo>
                  <a:pt x="4459" y="4599"/>
                  <a:pt x="4608" y="4450"/>
                  <a:pt x="4608" y="4267"/>
                </a:cubicBezTo>
                <a:lnTo>
                  <a:pt x="4608" y="3966"/>
                </a:lnTo>
                <a:cubicBezTo>
                  <a:pt x="4608" y="3796"/>
                  <a:pt x="4480" y="3658"/>
                  <a:pt x="4315" y="3638"/>
                </a:cubicBezTo>
                <a:lnTo>
                  <a:pt x="4315" y="3383"/>
                </a:lnTo>
                <a:cubicBezTo>
                  <a:pt x="4480" y="3363"/>
                  <a:pt x="4608" y="3225"/>
                  <a:pt x="4608" y="3055"/>
                </a:cubicBezTo>
                <a:lnTo>
                  <a:pt x="4608" y="2754"/>
                </a:lnTo>
                <a:cubicBezTo>
                  <a:pt x="4608" y="2585"/>
                  <a:pt x="4480" y="2446"/>
                  <a:pt x="4315" y="2426"/>
                </a:cubicBezTo>
                <a:lnTo>
                  <a:pt x="4315" y="2174"/>
                </a:lnTo>
                <a:cubicBezTo>
                  <a:pt x="4477" y="2169"/>
                  <a:pt x="4608" y="2036"/>
                  <a:pt x="4608" y="1873"/>
                </a:cubicBezTo>
                <a:lnTo>
                  <a:pt x="4608" y="1513"/>
                </a:lnTo>
                <a:cubicBezTo>
                  <a:pt x="4608" y="1349"/>
                  <a:pt x="4477" y="1217"/>
                  <a:pt x="4315" y="1211"/>
                </a:cubicBezTo>
                <a:lnTo>
                  <a:pt x="4315" y="962"/>
                </a:lnTo>
                <a:cubicBezTo>
                  <a:pt x="4477" y="957"/>
                  <a:pt x="4608" y="824"/>
                  <a:pt x="4608" y="66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3" name="Freeform 16">
            <a:extLst>
              <a:ext uri="{FF2B5EF4-FFF2-40B4-BE49-F238E27FC236}">
                <a16:creationId xmlns:a16="http://schemas.microsoft.com/office/drawing/2014/main" id="{BED8AC30-9845-47DD-B02B-A6782CB3308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51883" y="2394129"/>
            <a:ext cx="496949" cy="536033"/>
          </a:xfrm>
          <a:custGeom>
            <a:avLst/>
            <a:gdLst>
              <a:gd name="T0" fmla="*/ 1586 w 5340"/>
              <a:gd name="T1" fmla="*/ 4746 h 5760"/>
              <a:gd name="T2" fmla="*/ 1930 w 5340"/>
              <a:gd name="T3" fmla="*/ 5500 h 5760"/>
              <a:gd name="T4" fmla="*/ 3435 w 5340"/>
              <a:gd name="T5" fmla="*/ 5558 h 5760"/>
              <a:gd name="T6" fmla="*/ 4063 w 5340"/>
              <a:gd name="T7" fmla="*/ 5023 h 5760"/>
              <a:gd name="T8" fmla="*/ 3782 w 5340"/>
              <a:gd name="T9" fmla="*/ 4029 h 5760"/>
              <a:gd name="T10" fmla="*/ 2725 w 5340"/>
              <a:gd name="T11" fmla="*/ 4329 h 5760"/>
              <a:gd name="T12" fmla="*/ 4622 w 5340"/>
              <a:gd name="T13" fmla="*/ 2201 h 5760"/>
              <a:gd name="T14" fmla="*/ 3795 w 5340"/>
              <a:gd name="T15" fmla="*/ 2501 h 5760"/>
              <a:gd name="T16" fmla="*/ 3775 w 5340"/>
              <a:gd name="T17" fmla="*/ 3533 h 5760"/>
              <a:gd name="T18" fmla="*/ 5075 w 5340"/>
              <a:gd name="T19" fmla="*/ 3377 h 5760"/>
              <a:gd name="T20" fmla="*/ 5122 w 5340"/>
              <a:gd name="T21" fmla="*/ 2426 h 5760"/>
              <a:gd name="T22" fmla="*/ 2364 w 5340"/>
              <a:gd name="T23" fmla="*/ 2021 h 5760"/>
              <a:gd name="T24" fmla="*/ 1977 w 5340"/>
              <a:gd name="T25" fmla="*/ 3049 h 5760"/>
              <a:gd name="T26" fmla="*/ 2900 w 5340"/>
              <a:gd name="T27" fmla="*/ 3641 h 5760"/>
              <a:gd name="T28" fmla="*/ 3671 w 5340"/>
              <a:gd name="T29" fmla="*/ 2868 h 5760"/>
              <a:gd name="T30" fmla="*/ 3313 w 5340"/>
              <a:gd name="T31" fmla="*/ 2067 h 5760"/>
              <a:gd name="T32" fmla="*/ 1542 w 5340"/>
              <a:gd name="T33" fmla="*/ 1974 h 5760"/>
              <a:gd name="T34" fmla="*/ 1790 w 5340"/>
              <a:gd name="T35" fmla="*/ 2608 h 5760"/>
              <a:gd name="T36" fmla="*/ 1928 w 5340"/>
              <a:gd name="T37" fmla="*/ 1814 h 5760"/>
              <a:gd name="T38" fmla="*/ 890 w 5340"/>
              <a:gd name="T39" fmla="*/ 1601 h 5760"/>
              <a:gd name="T40" fmla="*/ 949 w 5340"/>
              <a:gd name="T41" fmla="*/ 2910 h 5760"/>
              <a:gd name="T42" fmla="*/ 1876 w 5340"/>
              <a:gd name="T43" fmla="*/ 3213 h 5760"/>
              <a:gd name="T44" fmla="*/ 1460 w 5340"/>
              <a:gd name="T45" fmla="*/ 2595 h 5760"/>
              <a:gd name="T46" fmla="*/ 1527 w 5340"/>
              <a:gd name="T47" fmla="*/ 1770 h 5760"/>
              <a:gd name="T48" fmla="*/ 2401 w 5340"/>
              <a:gd name="T49" fmla="*/ 1827 h 5760"/>
              <a:gd name="T50" fmla="*/ 2458 w 5340"/>
              <a:gd name="T51" fmla="*/ 1222 h 5760"/>
              <a:gd name="T52" fmla="*/ 2493 w 5340"/>
              <a:gd name="T53" fmla="*/ 1063 h 5760"/>
              <a:gd name="T54" fmla="*/ 3273 w 5340"/>
              <a:gd name="T55" fmla="*/ 1859 h 5760"/>
              <a:gd name="T56" fmla="*/ 4360 w 5340"/>
              <a:gd name="T57" fmla="*/ 2171 h 5760"/>
              <a:gd name="T58" fmla="*/ 4976 w 5340"/>
              <a:gd name="T59" fmla="*/ 1944 h 5760"/>
              <a:gd name="T60" fmla="*/ 5337 w 5340"/>
              <a:gd name="T61" fmla="*/ 2854 h 5760"/>
              <a:gd name="T62" fmla="*/ 5199 w 5340"/>
              <a:gd name="T63" fmla="*/ 3494 h 5760"/>
              <a:gd name="T64" fmla="*/ 4044 w 5340"/>
              <a:gd name="T65" fmla="*/ 3699 h 5760"/>
              <a:gd name="T66" fmla="*/ 2605 w 5340"/>
              <a:gd name="T67" fmla="*/ 3782 h 5760"/>
              <a:gd name="T68" fmla="*/ 1307 w 5340"/>
              <a:gd name="T69" fmla="*/ 3395 h 5760"/>
              <a:gd name="T70" fmla="*/ 560 w 5340"/>
              <a:gd name="T71" fmla="*/ 2211 h 5760"/>
              <a:gd name="T72" fmla="*/ 1307 w 5340"/>
              <a:gd name="T73" fmla="*/ 1030 h 5760"/>
              <a:gd name="T74" fmla="*/ 3472 w 5340"/>
              <a:gd name="T75" fmla="*/ 389 h 5760"/>
              <a:gd name="T76" fmla="*/ 3414 w 5340"/>
              <a:gd name="T77" fmla="*/ 1447 h 5760"/>
              <a:gd name="T78" fmla="*/ 4459 w 5340"/>
              <a:gd name="T79" fmla="*/ 1622 h 5760"/>
              <a:gd name="T80" fmla="*/ 4747 w 5340"/>
              <a:gd name="T81" fmla="*/ 600 h 5760"/>
              <a:gd name="T82" fmla="*/ 4226 w 5340"/>
              <a:gd name="T83" fmla="*/ 19 h 5760"/>
              <a:gd name="T84" fmla="*/ 4979 w 5340"/>
              <a:gd name="T85" fmla="*/ 854 h 5760"/>
              <a:gd name="T86" fmla="*/ 4403 w 5340"/>
              <a:gd name="T87" fmla="*/ 1826 h 5760"/>
              <a:gd name="T88" fmla="*/ 3287 w 5340"/>
              <a:gd name="T89" fmla="*/ 1536 h 5760"/>
              <a:gd name="T90" fmla="*/ 2682 w 5340"/>
              <a:gd name="T91" fmla="*/ 705 h 5760"/>
              <a:gd name="T92" fmla="*/ 1115 w 5340"/>
              <a:gd name="T93" fmla="*/ 674 h 5760"/>
              <a:gd name="T94" fmla="*/ 176 w 5340"/>
              <a:gd name="T95" fmla="*/ 1948 h 5760"/>
              <a:gd name="T96" fmla="*/ 674 w 5340"/>
              <a:gd name="T97" fmla="*/ 3440 h 5760"/>
              <a:gd name="T98" fmla="*/ 1799 w 5340"/>
              <a:gd name="T99" fmla="*/ 3878 h 5760"/>
              <a:gd name="T100" fmla="*/ 2402 w 5340"/>
              <a:gd name="T101" fmla="*/ 4074 h 5760"/>
              <a:gd name="T102" fmla="*/ 3449 w 5340"/>
              <a:gd name="T103" fmla="*/ 3920 h 5760"/>
              <a:gd name="T104" fmla="*/ 3988 w 5340"/>
              <a:gd name="T105" fmla="*/ 4025 h 5760"/>
              <a:gd name="T106" fmla="*/ 4219 w 5340"/>
              <a:gd name="T107" fmla="*/ 5044 h 5760"/>
              <a:gd name="T108" fmla="*/ 3990 w 5340"/>
              <a:gd name="T109" fmla="*/ 5573 h 5760"/>
              <a:gd name="T110" fmla="*/ 2673 w 5340"/>
              <a:gd name="T111" fmla="*/ 5758 h 5760"/>
              <a:gd name="T112" fmla="*/ 1558 w 5340"/>
              <a:gd name="T113" fmla="*/ 5535 h 5760"/>
              <a:gd name="T114" fmla="*/ 1429 w 5340"/>
              <a:gd name="T115" fmla="*/ 4798 h 5760"/>
              <a:gd name="T116" fmla="*/ 981 w 5340"/>
              <a:gd name="T117" fmla="*/ 3856 h 5760"/>
              <a:gd name="T118" fmla="*/ 21 w 5340"/>
              <a:gd name="T119" fmla="*/ 2489 h 5760"/>
              <a:gd name="T120" fmla="*/ 548 w 5340"/>
              <a:gd name="T121" fmla="*/ 892 h 5760"/>
              <a:gd name="T122" fmla="*/ 2137 w 5340"/>
              <a:gd name="T123" fmla="*/ 363 h 5760"/>
              <a:gd name="T124" fmla="*/ 3283 w 5340"/>
              <a:gd name="T125" fmla="*/ 370 h 5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40" h="5760">
                <a:moveTo>
                  <a:pt x="1994" y="3931"/>
                </a:moveTo>
                <a:lnTo>
                  <a:pt x="1923" y="3978"/>
                </a:lnTo>
                <a:lnTo>
                  <a:pt x="1862" y="4029"/>
                </a:lnTo>
                <a:lnTo>
                  <a:pt x="1808" y="4083"/>
                </a:lnTo>
                <a:lnTo>
                  <a:pt x="1760" y="4142"/>
                </a:lnTo>
                <a:lnTo>
                  <a:pt x="1720" y="4205"/>
                </a:lnTo>
                <a:lnTo>
                  <a:pt x="1687" y="4271"/>
                </a:lnTo>
                <a:lnTo>
                  <a:pt x="1659" y="4343"/>
                </a:lnTo>
                <a:lnTo>
                  <a:pt x="1637" y="4416"/>
                </a:lnTo>
                <a:lnTo>
                  <a:pt x="1617" y="4495"/>
                </a:lnTo>
                <a:lnTo>
                  <a:pt x="1603" y="4575"/>
                </a:lnTo>
                <a:lnTo>
                  <a:pt x="1593" y="4659"/>
                </a:lnTo>
                <a:lnTo>
                  <a:pt x="1586" y="4746"/>
                </a:lnTo>
                <a:lnTo>
                  <a:pt x="1583" y="4835"/>
                </a:lnTo>
                <a:lnTo>
                  <a:pt x="1579" y="4929"/>
                </a:lnTo>
                <a:lnTo>
                  <a:pt x="1579" y="5023"/>
                </a:lnTo>
                <a:lnTo>
                  <a:pt x="1579" y="5123"/>
                </a:lnTo>
                <a:lnTo>
                  <a:pt x="1581" y="5222"/>
                </a:lnTo>
                <a:lnTo>
                  <a:pt x="1581" y="5373"/>
                </a:lnTo>
                <a:lnTo>
                  <a:pt x="1607" y="5385"/>
                </a:lnTo>
                <a:lnTo>
                  <a:pt x="1642" y="5400"/>
                </a:lnTo>
                <a:lnTo>
                  <a:pt x="1684" y="5420"/>
                </a:lnTo>
                <a:lnTo>
                  <a:pt x="1733" y="5439"/>
                </a:lnTo>
                <a:lnTo>
                  <a:pt x="1790" y="5458"/>
                </a:lnTo>
                <a:lnTo>
                  <a:pt x="1856" y="5479"/>
                </a:lnTo>
                <a:lnTo>
                  <a:pt x="1930" y="5500"/>
                </a:lnTo>
                <a:lnTo>
                  <a:pt x="2010" y="5521"/>
                </a:lnTo>
                <a:lnTo>
                  <a:pt x="2101" y="5540"/>
                </a:lnTo>
                <a:lnTo>
                  <a:pt x="2198" y="5558"/>
                </a:lnTo>
                <a:lnTo>
                  <a:pt x="2305" y="5573"/>
                </a:lnTo>
                <a:lnTo>
                  <a:pt x="2418" y="5585"/>
                </a:lnTo>
                <a:lnTo>
                  <a:pt x="2542" y="5596"/>
                </a:lnTo>
                <a:lnTo>
                  <a:pt x="2675" y="5603"/>
                </a:lnTo>
                <a:lnTo>
                  <a:pt x="2814" y="5605"/>
                </a:lnTo>
                <a:lnTo>
                  <a:pt x="2955" y="5603"/>
                </a:lnTo>
                <a:lnTo>
                  <a:pt x="3088" y="5596"/>
                </a:lnTo>
                <a:lnTo>
                  <a:pt x="3212" y="5585"/>
                </a:lnTo>
                <a:lnTo>
                  <a:pt x="3327" y="5573"/>
                </a:lnTo>
                <a:lnTo>
                  <a:pt x="3435" y="5558"/>
                </a:lnTo>
                <a:lnTo>
                  <a:pt x="3533" y="5540"/>
                </a:lnTo>
                <a:lnTo>
                  <a:pt x="3624" y="5521"/>
                </a:lnTo>
                <a:lnTo>
                  <a:pt x="3707" y="5500"/>
                </a:lnTo>
                <a:lnTo>
                  <a:pt x="3781" y="5479"/>
                </a:lnTo>
                <a:lnTo>
                  <a:pt x="3847" y="5458"/>
                </a:lnTo>
                <a:lnTo>
                  <a:pt x="3906" y="5437"/>
                </a:lnTo>
                <a:lnTo>
                  <a:pt x="3957" y="5418"/>
                </a:lnTo>
                <a:lnTo>
                  <a:pt x="3999" y="5400"/>
                </a:lnTo>
                <a:lnTo>
                  <a:pt x="4034" y="5385"/>
                </a:lnTo>
                <a:lnTo>
                  <a:pt x="4062" y="5371"/>
                </a:lnTo>
                <a:lnTo>
                  <a:pt x="4063" y="5222"/>
                </a:lnTo>
                <a:lnTo>
                  <a:pt x="4063" y="5123"/>
                </a:lnTo>
                <a:lnTo>
                  <a:pt x="4063" y="5023"/>
                </a:lnTo>
                <a:lnTo>
                  <a:pt x="4063" y="4927"/>
                </a:lnTo>
                <a:lnTo>
                  <a:pt x="4062" y="4835"/>
                </a:lnTo>
                <a:lnTo>
                  <a:pt x="4056" y="4746"/>
                </a:lnTo>
                <a:lnTo>
                  <a:pt x="4049" y="4659"/>
                </a:lnTo>
                <a:lnTo>
                  <a:pt x="4039" y="4575"/>
                </a:lnTo>
                <a:lnTo>
                  <a:pt x="4025" y="4495"/>
                </a:lnTo>
                <a:lnTo>
                  <a:pt x="4007" y="4416"/>
                </a:lnTo>
                <a:lnTo>
                  <a:pt x="3985" y="4343"/>
                </a:lnTo>
                <a:lnTo>
                  <a:pt x="3957" y="4273"/>
                </a:lnTo>
                <a:lnTo>
                  <a:pt x="3922" y="4205"/>
                </a:lnTo>
                <a:lnTo>
                  <a:pt x="3882" y="4142"/>
                </a:lnTo>
                <a:lnTo>
                  <a:pt x="3836" y="4083"/>
                </a:lnTo>
                <a:lnTo>
                  <a:pt x="3782" y="4029"/>
                </a:lnTo>
                <a:lnTo>
                  <a:pt x="3720" y="3978"/>
                </a:lnTo>
                <a:lnTo>
                  <a:pt x="3650" y="3931"/>
                </a:lnTo>
                <a:lnTo>
                  <a:pt x="3587" y="4004"/>
                </a:lnTo>
                <a:lnTo>
                  <a:pt x="3517" y="4070"/>
                </a:lnTo>
                <a:lnTo>
                  <a:pt x="3444" y="4130"/>
                </a:lnTo>
                <a:lnTo>
                  <a:pt x="3365" y="4182"/>
                </a:lnTo>
                <a:lnTo>
                  <a:pt x="3282" y="4226"/>
                </a:lnTo>
                <a:lnTo>
                  <a:pt x="3196" y="4264"/>
                </a:lnTo>
                <a:lnTo>
                  <a:pt x="3106" y="4294"/>
                </a:lnTo>
                <a:lnTo>
                  <a:pt x="3013" y="4315"/>
                </a:lnTo>
                <a:lnTo>
                  <a:pt x="2917" y="4329"/>
                </a:lnTo>
                <a:lnTo>
                  <a:pt x="2821" y="4332"/>
                </a:lnTo>
                <a:lnTo>
                  <a:pt x="2725" y="4329"/>
                </a:lnTo>
                <a:lnTo>
                  <a:pt x="2629" y="4315"/>
                </a:lnTo>
                <a:lnTo>
                  <a:pt x="2537" y="4294"/>
                </a:lnTo>
                <a:lnTo>
                  <a:pt x="2448" y="4264"/>
                </a:lnTo>
                <a:lnTo>
                  <a:pt x="2361" y="4226"/>
                </a:lnTo>
                <a:lnTo>
                  <a:pt x="2277" y="4182"/>
                </a:lnTo>
                <a:lnTo>
                  <a:pt x="2198" y="4130"/>
                </a:lnTo>
                <a:lnTo>
                  <a:pt x="2125" y="4069"/>
                </a:lnTo>
                <a:lnTo>
                  <a:pt x="2057" y="4004"/>
                </a:lnTo>
                <a:lnTo>
                  <a:pt x="1994" y="3931"/>
                </a:lnTo>
                <a:close/>
                <a:moveTo>
                  <a:pt x="4812" y="2021"/>
                </a:moveTo>
                <a:lnTo>
                  <a:pt x="4754" y="2088"/>
                </a:lnTo>
                <a:lnTo>
                  <a:pt x="4690" y="2147"/>
                </a:lnTo>
                <a:lnTo>
                  <a:pt x="4622" y="2201"/>
                </a:lnTo>
                <a:lnTo>
                  <a:pt x="4550" y="2250"/>
                </a:lnTo>
                <a:lnTo>
                  <a:pt x="4473" y="2290"/>
                </a:lnTo>
                <a:lnTo>
                  <a:pt x="4393" y="2325"/>
                </a:lnTo>
                <a:lnTo>
                  <a:pt x="4311" y="2351"/>
                </a:lnTo>
                <a:lnTo>
                  <a:pt x="4226" y="2372"/>
                </a:lnTo>
                <a:lnTo>
                  <a:pt x="4138" y="2384"/>
                </a:lnTo>
                <a:lnTo>
                  <a:pt x="4049" y="2388"/>
                </a:lnTo>
                <a:lnTo>
                  <a:pt x="3969" y="2384"/>
                </a:lnTo>
                <a:lnTo>
                  <a:pt x="3889" y="2374"/>
                </a:lnTo>
                <a:lnTo>
                  <a:pt x="3809" y="2356"/>
                </a:lnTo>
                <a:lnTo>
                  <a:pt x="3732" y="2334"/>
                </a:lnTo>
                <a:lnTo>
                  <a:pt x="3767" y="2416"/>
                </a:lnTo>
                <a:lnTo>
                  <a:pt x="3795" y="2501"/>
                </a:lnTo>
                <a:lnTo>
                  <a:pt x="3816" y="2589"/>
                </a:lnTo>
                <a:lnTo>
                  <a:pt x="3828" y="2681"/>
                </a:lnTo>
                <a:lnTo>
                  <a:pt x="3831" y="2774"/>
                </a:lnTo>
                <a:lnTo>
                  <a:pt x="3826" y="2878"/>
                </a:lnTo>
                <a:lnTo>
                  <a:pt x="3810" y="2983"/>
                </a:lnTo>
                <a:lnTo>
                  <a:pt x="3784" y="3082"/>
                </a:lnTo>
                <a:lnTo>
                  <a:pt x="3749" y="3177"/>
                </a:lnTo>
                <a:lnTo>
                  <a:pt x="3706" y="3267"/>
                </a:lnTo>
                <a:lnTo>
                  <a:pt x="3652" y="3353"/>
                </a:lnTo>
                <a:lnTo>
                  <a:pt x="3592" y="3433"/>
                </a:lnTo>
                <a:lnTo>
                  <a:pt x="3524" y="3507"/>
                </a:lnTo>
                <a:lnTo>
                  <a:pt x="3648" y="3522"/>
                </a:lnTo>
                <a:lnTo>
                  <a:pt x="3775" y="3533"/>
                </a:lnTo>
                <a:lnTo>
                  <a:pt x="3908" y="3540"/>
                </a:lnTo>
                <a:lnTo>
                  <a:pt x="4044" y="3542"/>
                </a:lnTo>
                <a:lnTo>
                  <a:pt x="4180" y="3540"/>
                </a:lnTo>
                <a:lnTo>
                  <a:pt x="4307" y="3533"/>
                </a:lnTo>
                <a:lnTo>
                  <a:pt x="4428" y="3524"/>
                </a:lnTo>
                <a:lnTo>
                  <a:pt x="4538" y="3510"/>
                </a:lnTo>
                <a:lnTo>
                  <a:pt x="4639" y="3494"/>
                </a:lnTo>
                <a:lnTo>
                  <a:pt x="4733" y="3477"/>
                </a:lnTo>
                <a:lnTo>
                  <a:pt x="4819" y="3458"/>
                </a:lnTo>
                <a:lnTo>
                  <a:pt x="4895" y="3437"/>
                </a:lnTo>
                <a:lnTo>
                  <a:pt x="4963" y="3418"/>
                </a:lnTo>
                <a:lnTo>
                  <a:pt x="5023" y="3397"/>
                </a:lnTo>
                <a:lnTo>
                  <a:pt x="5075" y="3377"/>
                </a:lnTo>
                <a:lnTo>
                  <a:pt x="5119" y="3360"/>
                </a:lnTo>
                <a:lnTo>
                  <a:pt x="5154" y="3344"/>
                </a:lnTo>
                <a:lnTo>
                  <a:pt x="5182" y="3330"/>
                </a:lnTo>
                <a:lnTo>
                  <a:pt x="5183" y="3198"/>
                </a:lnTo>
                <a:lnTo>
                  <a:pt x="5183" y="3102"/>
                </a:lnTo>
                <a:lnTo>
                  <a:pt x="5183" y="3006"/>
                </a:lnTo>
                <a:lnTo>
                  <a:pt x="5183" y="2913"/>
                </a:lnTo>
                <a:lnTo>
                  <a:pt x="5180" y="2824"/>
                </a:lnTo>
                <a:lnTo>
                  <a:pt x="5176" y="2739"/>
                </a:lnTo>
                <a:lnTo>
                  <a:pt x="5168" y="2655"/>
                </a:lnTo>
                <a:lnTo>
                  <a:pt x="5157" y="2575"/>
                </a:lnTo>
                <a:lnTo>
                  <a:pt x="5141" y="2498"/>
                </a:lnTo>
                <a:lnTo>
                  <a:pt x="5122" y="2426"/>
                </a:lnTo>
                <a:lnTo>
                  <a:pt x="5098" y="2356"/>
                </a:lnTo>
                <a:lnTo>
                  <a:pt x="5066" y="2290"/>
                </a:lnTo>
                <a:lnTo>
                  <a:pt x="5031" y="2227"/>
                </a:lnTo>
                <a:lnTo>
                  <a:pt x="4988" y="2170"/>
                </a:lnTo>
                <a:lnTo>
                  <a:pt x="4937" y="2115"/>
                </a:lnTo>
                <a:lnTo>
                  <a:pt x="4878" y="2067"/>
                </a:lnTo>
                <a:lnTo>
                  <a:pt x="4812" y="2021"/>
                </a:lnTo>
                <a:close/>
                <a:moveTo>
                  <a:pt x="2804" y="1901"/>
                </a:moveTo>
                <a:lnTo>
                  <a:pt x="2710" y="1906"/>
                </a:lnTo>
                <a:lnTo>
                  <a:pt x="2617" y="1922"/>
                </a:lnTo>
                <a:lnTo>
                  <a:pt x="2528" y="1946"/>
                </a:lnTo>
                <a:lnTo>
                  <a:pt x="2444" y="1979"/>
                </a:lnTo>
                <a:lnTo>
                  <a:pt x="2364" y="2021"/>
                </a:lnTo>
                <a:lnTo>
                  <a:pt x="2289" y="2070"/>
                </a:lnTo>
                <a:lnTo>
                  <a:pt x="2219" y="2126"/>
                </a:lnTo>
                <a:lnTo>
                  <a:pt x="2156" y="2189"/>
                </a:lnTo>
                <a:lnTo>
                  <a:pt x="2101" y="2259"/>
                </a:lnTo>
                <a:lnTo>
                  <a:pt x="2052" y="2334"/>
                </a:lnTo>
                <a:lnTo>
                  <a:pt x="2010" y="2414"/>
                </a:lnTo>
                <a:lnTo>
                  <a:pt x="1977" y="2498"/>
                </a:lnTo>
                <a:lnTo>
                  <a:pt x="1952" y="2587"/>
                </a:lnTo>
                <a:lnTo>
                  <a:pt x="1937" y="2679"/>
                </a:lnTo>
                <a:lnTo>
                  <a:pt x="1931" y="2774"/>
                </a:lnTo>
                <a:lnTo>
                  <a:pt x="1937" y="2868"/>
                </a:lnTo>
                <a:lnTo>
                  <a:pt x="1952" y="2960"/>
                </a:lnTo>
                <a:lnTo>
                  <a:pt x="1977" y="3049"/>
                </a:lnTo>
                <a:lnTo>
                  <a:pt x="2010" y="3133"/>
                </a:lnTo>
                <a:lnTo>
                  <a:pt x="2052" y="3213"/>
                </a:lnTo>
                <a:lnTo>
                  <a:pt x="2101" y="3288"/>
                </a:lnTo>
                <a:lnTo>
                  <a:pt x="2156" y="3358"/>
                </a:lnTo>
                <a:lnTo>
                  <a:pt x="2219" y="3421"/>
                </a:lnTo>
                <a:lnTo>
                  <a:pt x="2289" y="3477"/>
                </a:lnTo>
                <a:lnTo>
                  <a:pt x="2364" y="3528"/>
                </a:lnTo>
                <a:lnTo>
                  <a:pt x="2444" y="3569"/>
                </a:lnTo>
                <a:lnTo>
                  <a:pt x="2528" y="3603"/>
                </a:lnTo>
                <a:lnTo>
                  <a:pt x="2617" y="3627"/>
                </a:lnTo>
                <a:lnTo>
                  <a:pt x="2710" y="3641"/>
                </a:lnTo>
                <a:lnTo>
                  <a:pt x="2804" y="3646"/>
                </a:lnTo>
                <a:lnTo>
                  <a:pt x="2900" y="3641"/>
                </a:lnTo>
                <a:lnTo>
                  <a:pt x="2990" y="3627"/>
                </a:lnTo>
                <a:lnTo>
                  <a:pt x="3079" y="3603"/>
                </a:lnTo>
                <a:lnTo>
                  <a:pt x="3163" y="3569"/>
                </a:lnTo>
                <a:lnTo>
                  <a:pt x="3243" y="3528"/>
                </a:lnTo>
                <a:lnTo>
                  <a:pt x="3318" y="3477"/>
                </a:lnTo>
                <a:lnTo>
                  <a:pt x="3388" y="3421"/>
                </a:lnTo>
                <a:lnTo>
                  <a:pt x="3451" y="3358"/>
                </a:lnTo>
                <a:lnTo>
                  <a:pt x="3509" y="3288"/>
                </a:lnTo>
                <a:lnTo>
                  <a:pt x="3557" y="3213"/>
                </a:lnTo>
                <a:lnTo>
                  <a:pt x="3599" y="3133"/>
                </a:lnTo>
                <a:lnTo>
                  <a:pt x="3632" y="3049"/>
                </a:lnTo>
                <a:lnTo>
                  <a:pt x="3657" y="2960"/>
                </a:lnTo>
                <a:lnTo>
                  <a:pt x="3671" y="2868"/>
                </a:lnTo>
                <a:lnTo>
                  <a:pt x="3676" y="2774"/>
                </a:lnTo>
                <a:lnTo>
                  <a:pt x="3671" y="2679"/>
                </a:lnTo>
                <a:lnTo>
                  <a:pt x="3657" y="2589"/>
                </a:lnTo>
                <a:lnTo>
                  <a:pt x="3632" y="2501"/>
                </a:lnTo>
                <a:lnTo>
                  <a:pt x="3599" y="2417"/>
                </a:lnTo>
                <a:lnTo>
                  <a:pt x="3559" y="2339"/>
                </a:lnTo>
                <a:lnTo>
                  <a:pt x="3510" y="2264"/>
                </a:lnTo>
                <a:lnTo>
                  <a:pt x="3456" y="2196"/>
                </a:lnTo>
                <a:lnTo>
                  <a:pt x="3393" y="2133"/>
                </a:lnTo>
                <a:lnTo>
                  <a:pt x="3386" y="2128"/>
                </a:lnTo>
                <a:lnTo>
                  <a:pt x="3385" y="2126"/>
                </a:lnTo>
                <a:lnTo>
                  <a:pt x="3383" y="2122"/>
                </a:lnTo>
                <a:lnTo>
                  <a:pt x="3313" y="2067"/>
                </a:lnTo>
                <a:lnTo>
                  <a:pt x="3240" y="2018"/>
                </a:lnTo>
                <a:lnTo>
                  <a:pt x="3160" y="1978"/>
                </a:lnTo>
                <a:lnTo>
                  <a:pt x="3076" y="1944"/>
                </a:lnTo>
                <a:lnTo>
                  <a:pt x="2989" y="1922"/>
                </a:lnTo>
                <a:lnTo>
                  <a:pt x="2898" y="1906"/>
                </a:lnTo>
                <a:lnTo>
                  <a:pt x="2804" y="1901"/>
                </a:lnTo>
                <a:close/>
                <a:moveTo>
                  <a:pt x="1867" y="1808"/>
                </a:moveTo>
                <a:lnTo>
                  <a:pt x="1802" y="1814"/>
                </a:lnTo>
                <a:lnTo>
                  <a:pt x="1740" y="1829"/>
                </a:lnTo>
                <a:lnTo>
                  <a:pt x="1682" y="1854"/>
                </a:lnTo>
                <a:lnTo>
                  <a:pt x="1630" y="1887"/>
                </a:lnTo>
                <a:lnTo>
                  <a:pt x="1583" y="1927"/>
                </a:lnTo>
                <a:lnTo>
                  <a:pt x="1542" y="1974"/>
                </a:lnTo>
                <a:lnTo>
                  <a:pt x="1509" y="2026"/>
                </a:lnTo>
                <a:lnTo>
                  <a:pt x="1485" y="2084"/>
                </a:lnTo>
                <a:lnTo>
                  <a:pt x="1469" y="2147"/>
                </a:lnTo>
                <a:lnTo>
                  <a:pt x="1464" y="2211"/>
                </a:lnTo>
                <a:lnTo>
                  <a:pt x="1469" y="2276"/>
                </a:lnTo>
                <a:lnTo>
                  <a:pt x="1483" y="2335"/>
                </a:lnTo>
                <a:lnTo>
                  <a:pt x="1508" y="2393"/>
                </a:lnTo>
                <a:lnTo>
                  <a:pt x="1539" y="2445"/>
                </a:lnTo>
                <a:lnTo>
                  <a:pt x="1577" y="2493"/>
                </a:lnTo>
                <a:lnTo>
                  <a:pt x="1623" y="2533"/>
                </a:lnTo>
                <a:lnTo>
                  <a:pt x="1673" y="2566"/>
                </a:lnTo>
                <a:lnTo>
                  <a:pt x="1729" y="2592"/>
                </a:lnTo>
                <a:lnTo>
                  <a:pt x="1790" y="2608"/>
                </a:lnTo>
                <a:lnTo>
                  <a:pt x="1811" y="2512"/>
                </a:lnTo>
                <a:lnTo>
                  <a:pt x="1841" y="2417"/>
                </a:lnTo>
                <a:lnTo>
                  <a:pt x="1879" y="2328"/>
                </a:lnTo>
                <a:lnTo>
                  <a:pt x="1926" y="2243"/>
                </a:lnTo>
                <a:lnTo>
                  <a:pt x="1979" y="2163"/>
                </a:lnTo>
                <a:lnTo>
                  <a:pt x="2040" y="2089"/>
                </a:lnTo>
                <a:lnTo>
                  <a:pt x="2108" y="2021"/>
                </a:lnTo>
                <a:lnTo>
                  <a:pt x="2181" y="1958"/>
                </a:lnTo>
                <a:lnTo>
                  <a:pt x="2139" y="1915"/>
                </a:lnTo>
                <a:lnTo>
                  <a:pt x="2092" y="1878"/>
                </a:lnTo>
                <a:lnTo>
                  <a:pt x="2041" y="1848"/>
                </a:lnTo>
                <a:lnTo>
                  <a:pt x="1986" y="1827"/>
                </a:lnTo>
                <a:lnTo>
                  <a:pt x="1928" y="1814"/>
                </a:lnTo>
                <a:lnTo>
                  <a:pt x="1867" y="1808"/>
                </a:lnTo>
                <a:close/>
                <a:moveTo>
                  <a:pt x="1867" y="1059"/>
                </a:moveTo>
                <a:lnTo>
                  <a:pt x="1757" y="1065"/>
                </a:lnTo>
                <a:lnTo>
                  <a:pt x="1649" y="1080"/>
                </a:lnTo>
                <a:lnTo>
                  <a:pt x="1544" y="1105"/>
                </a:lnTo>
                <a:lnTo>
                  <a:pt x="1445" y="1140"/>
                </a:lnTo>
                <a:lnTo>
                  <a:pt x="1347" y="1183"/>
                </a:lnTo>
                <a:lnTo>
                  <a:pt x="1256" y="1234"/>
                </a:lnTo>
                <a:lnTo>
                  <a:pt x="1171" y="1293"/>
                </a:lnTo>
                <a:lnTo>
                  <a:pt x="1091" y="1361"/>
                </a:lnTo>
                <a:lnTo>
                  <a:pt x="1017" y="1435"/>
                </a:lnTo>
                <a:lnTo>
                  <a:pt x="949" y="1515"/>
                </a:lnTo>
                <a:lnTo>
                  <a:pt x="890" y="1601"/>
                </a:lnTo>
                <a:lnTo>
                  <a:pt x="839" y="1691"/>
                </a:lnTo>
                <a:lnTo>
                  <a:pt x="796" y="1789"/>
                </a:lnTo>
                <a:lnTo>
                  <a:pt x="761" y="1889"/>
                </a:lnTo>
                <a:lnTo>
                  <a:pt x="736" y="1993"/>
                </a:lnTo>
                <a:lnTo>
                  <a:pt x="721" y="2102"/>
                </a:lnTo>
                <a:lnTo>
                  <a:pt x="716" y="2211"/>
                </a:lnTo>
                <a:lnTo>
                  <a:pt x="721" y="2323"/>
                </a:lnTo>
                <a:lnTo>
                  <a:pt x="736" y="2431"/>
                </a:lnTo>
                <a:lnTo>
                  <a:pt x="761" y="2536"/>
                </a:lnTo>
                <a:lnTo>
                  <a:pt x="796" y="2636"/>
                </a:lnTo>
                <a:lnTo>
                  <a:pt x="839" y="2732"/>
                </a:lnTo>
                <a:lnTo>
                  <a:pt x="890" y="2824"/>
                </a:lnTo>
                <a:lnTo>
                  <a:pt x="949" y="2910"/>
                </a:lnTo>
                <a:lnTo>
                  <a:pt x="1017" y="2990"/>
                </a:lnTo>
                <a:lnTo>
                  <a:pt x="1091" y="3063"/>
                </a:lnTo>
                <a:lnTo>
                  <a:pt x="1171" y="3130"/>
                </a:lnTo>
                <a:lnTo>
                  <a:pt x="1256" y="3191"/>
                </a:lnTo>
                <a:lnTo>
                  <a:pt x="1347" y="3241"/>
                </a:lnTo>
                <a:lnTo>
                  <a:pt x="1445" y="3285"/>
                </a:lnTo>
                <a:lnTo>
                  <a:pt x="1544" y="3320"/>
                </a:lnTo>
                <a:lnTo>
                  <a:pt x="1649" y="3344"/>
                </a:lnTo>
                <a:lnTo>
                  <a:pt x="1757" y="3360"/>
                </a:lnTo>
                <a:lnTo>
                  <a:pt x="1867" y="3365"/>
                </a:lnTo>
                <a:lnTo>
                  <a:pt x="1965" y="3365"/>
                </a:lnTo>
                <a:lnTo>
                  <a:pt x="1917" y="3292"/>
                </a:lnTo>
                <a:lnTo>
                  <a:pt x="1876" y="3213"/>
                </a:lnTo>
                <a:lnTo>
                  <a:pt x="1841" y="3131"/>
                </a:lnTo>
                <a:lnTo>
                  <a:pt x="1813" y="3046"/>
                </a:lnTo>
                <a:lnTo>
                  <a:pt x="1794" y="2959"/>
                </a:lnTo>
                <a:lnTo>
                  <a:pt x="1781" y="2868"/>
                </a:lnTo>
                <a:lnTo>
                  <a:pt x="1776" y="2774"/>
                </a:lnTo>
                <a:lnTo>
                  <a:pt x="1776" y="2768"/>
                </a:lnTo>
                <a:lnTo>
                  <a:pt x="1776" y="2763"/>
                </a:lnTo>
                <a:lnTo>
                  <a:pt x="1766" y="2761"/>
                </a:lnTo>
                <a:lnTo>
                  <a:pt x="1696" y="2744"/>
                </a:lnTo>
                <a:lnTo>
                  <a:pt x="1630" y="2718"/>
                </a:lnTo>
                <a:lnTo>
                  <a:pt x="1569" y="2685"/>
                </a:lnTo>
                <a:lnTo>
                  <a:pt x="1511" y="2643"/>
                </a:lnTo>
                <a:lnTo>
                  <a:pt x="1460" y="2595"/>
                </a:lnTo>
                <a:lnTo>
                  <a:pt x="1417" y="2543"/>
                </a:lnTo>
                <a:lnTo>
                  <a:pt x="1380" y="2484"/>
                </a:lnTo>
                <a:lnTo>
                  <a:pt x="1349" y="2421"/>
                </a:lnTo>
                <a:lnTo>
                  <a:pt x="1328" y="2355"/>
                </a:lnTo>
                <a:lnTo>
                  <a:pt x="1314" y="2285"/>
                </a:lnTo>
                <a:lnTo>
                  <a:pt x="1309" y="2211"/>
                </a:lnTo>
                <a:lnTo>
                  <a:pt x="1314" y="2136"/>
                </a:lnTo>
                <a:lnTo>
                  <a:pt x="1330" y="2063"/>
                </a:lnTo>
                <a:lnTo>
                  <a:pt x="1352" y="1995"/>
                </a:lnTo>
                <a:lnTo>
                  <a:pt x="1385" y="1930"/>
                </a:lnTo>
                <a:lnTo>
                  <a:pt x="1426" y="1871"/>
                </a:lnTo>
                <a:lnTo>
                  <a:pt x="1473" y="1817"/>
                </a:lnTo>
                <a:lnTo>
                  <a:pt x="1527" y="1770"/>
                </a:lnTo>
                <a:lnTo>
                  <a:pt x="1586" y="1730"/>
                </a:lnTo>
                <a:lnTo>
                  <a:pt x="1651" y="1697"/>
                </a:lnTo>
                <a:lnTo>
                  <a:pt x="1719" y="1674"/>
                </a:lnTo>
                <a:lnTo>
                  <a:pt x="1792" y="1658"/>
                </a:lnTo>
                <a:lnTo>
                  <a:pt x="1867" y="1653"/>
                </a:lnTo>
                <a:lnTo>
                  <a:pt x="1942" y="1658"/>
                </a:lnTo>
                <a:lnTo>
                  <a:pt x="2013" y="1672"/>
                </a:lnTo>
                <a:lnTo>
                  <a:pt x="2081" y="1697"/>
                </a:lnTo>
                <a:lnTo>
                  <a:pt x="2146" y="1728"/>
                </a:lnTo>
                <a:lnTo>
                  <a:pt x="2207" y="1768"/>
                </a:lnTo>
                <a:lnTo>
                  <a:pt x="2261" y="1817"/>
                </a:lnTo>
                <a:lnTo>
                  <a:pt x="2310" y="1873"/>
                </a:lnTo>
                <a:lnTo>
                  <a:pt x="2401" y="1827"/>
                </a:lnTo>
                <a:lnTo>
                  <a:pt x="2497" y="1793"/>
                </a:lnTo>
                <a:lnTo>
                  <a:pt x="2594" y="1766"/>
                </a:lnTo>
                <a:lnTo>
                  <a:pt x="2697" y="1751"/>
                </a:lnTo>
                <a:lnTo>
                  <a:pt x="2804" y="1745"/>
                </a:lnTo>
                <a:lnTo>
                  <a:pt x="2865" y="1747"/>
                </a:lnTo>
                <a:lnTo>
                  <a:pt x="2926" y="1754"/>
                </a:lnTo>
                <a:lnTo>
                  <a:pt x="2880" y="1660"/>
                </a:lnTo>
                <a:lnTo>
                  <a:pt x="2826" y="1571"/>
                </a:lnTo>
                <a:lnTo>
                  <a:pt x="2765" y="1487"/>
                </a:lnTo>
                <a:lnTo>
                  <a:pt x="2697" y="1412"/>
                </a:lnTo>
                <a:lnTo>
                  <a:pt x="2624" y="1341"/>
                </a:lnTo>
                <a:lnTo>
                  <a:pt x="2544" y="1278"/>
                </a:lnTo>
                <a:lnTo>
                  <a:pt x="2458" y="1222"/>
                </a:lnTo>
                <a:lnTo>
                  <a:pt x="2369" y="1173"/>
                </a:lnTo>
                <a:lnTo>
                  <a:pt x="2275" y="1133"/>
                </a:lnTo>
                <a:lnTo>
                  <a:pt x="2177" y="1101"/>
                </a:lnTo>
                <a:lnTo>
                  <a:pt x="2076" y="1079"/>
                </a:lnTo>
                <a:lnTo>
                  <a:pt x="1973" y="1063"/>
                </a:lnTo>
                <a:lnTo>
                  <a:pt x="1867" y="1059"/>
                </a:lnTo>
                <a:close/>
                <a:moveTo>
                  <a:pt x="1867" y="904"/>
                </a:moveTo>
                <a:lnTo>
                  <a:pt x="1979" y="908"/>
                </a:lnTo>
                <a:lnTo>
                  <a:pt x="2087" y="922"/>
                </a:lnTo>
                <a:lnTo>
                  <a:pt x="2193" y="944"/>
                </a:lnTo>
                <a:lnTo>
                  <a:pt x="2296" y="976"/>
                </a:lnTo>
                <a:lnTo>
                  <a:pt x="2397" y="1014"/>
                </a:lnTo>
                <a:lnTo>
                  <a:pt x="2493" y="1063"/>
                </a:lnTo>
                <a:lnTo>
                  <a:pt x="2584" y="1117"/>
                </a:lnTo>
                <a:lnTo>
                  <a:pt x="2669" y="1178"/>
                </a:lnTo>
                <a:lnTo>
                  <a:pt x="2751" y="1248"/>
                </a:lnTo>
                <a:lnTo>
                  <a:pt x="2828" y="1323"/>
                </a:lnTo>
                <a:lnTo>
                  <a:pt x="2898" y="1405"/>
                </a:lnTo>
                <a:lnTo>
                  <a:pt x="2961" y="1492"/>
                </a:lnTo>
                <a:lnTo>
                  <a:pt x="3017" y="1585"/>
                </a:lnTo>
                <a:lnTo>
                  <a:pt x="3065" y="1683"/>
                </a:lnTo>
                <a:lnTo>
                  <a:pt x="3106" y="1787"/>
                </a:lnTo>
                <a:lnTo>
                  <a:pt x="3106" y="1789"/>
                </a:lnTo>
                <a:lnTo>
                  <a:pt x="3106" y="1791"/>
                </a:lnTo>
                <a:lnTo>
                  <a:pt x="3191" y="1822"/>
                </a:lnTo>
                <a:lnTo>
                  <a:pt x="3273" y="1859"/>
                </a:lnTo>
                <a:lnTo>
                  <a:pt x="3350" y="1904"/>
                </a:lnTo>
                <a:lnTo>
                  <a:pt x="3423" y="1955"/>
                </a:lnTo>
                <a:lnTo>
                  <a:pt x="3491" y="2011"/>
                </a:lnTo>
                <a:lnTo>
                  <a:pt x="3629" y="2115"/>
                </a:lnTo>
                <a:lnTo>
                  <a:pt x="3707" y="2157"/>
                </a:lnTo>
                <a:lnTo>
                  <a:pt x="3789" y="2189"/>
                </a:lnTo>
                <a:lnTo>
                  <a:pt x="3875" y="2213"/>
                </a:lnTo>
                <a:lnTo>
                  <a:pt x="3962" y="2227"/>
                </a:lnTo>
                <a:lnTo>
                  <a:pt x="4049" y="2232"/>
                </a:lnTo>
                <a:lnTo>
                  <a:pt x="4130" y="2227"/>
                </a:lnTo>
                <a:lnTo>
                  <a:pt x="4210" y="2217"/>
                </a:lnTo>
                <a:lnTo>
                  <a:pt x="4287" y="2198"/>
                </a:lnTo>
                <a:lnTo>
                  <a:pt x="4360" y="2171"/>
                </a:lnTo>
                <a:lnTo>
                  <a:pt x="4431" y="2138"/>
                </a:lnTo>
                <a:lnTo>
                  <a:pt x="4499" y="2098"/>
                </a:lnTo>
                <a:lnTo>
                  <a:pt x="4564" y="2051"/>
                </a:lnTo>
                <a:lnTo>
                  <a:pt x="4623" y="1999"/>
                </a:lnTo>
                <a:lnTo>
                  <a:pt x="4677" y="1939"/>
                </a:lnTo>
                <a:lnTo>
                  <a:pt x="4726" y="1875"/>
                </a:lnTo>
                <a:lnTo>
                  <a:pt x="4742" y="1859"/>
                </a:lnTo>
                <a:lnTo>
                  <a:pt x="4761" y="1847"/>
                </a:lnTo>
                <a:lnTo>
                  <a:pt x="4784" y="1841"/>
                </a:lnTo>
                <a:lnTo>
                  <a:pt x="4805" y="1843"/>
                </a:lnTo>
                <a:lnTo>
                  <a:pt x="4827" y="1852"/>
                </a:lnTo>
                <a:lnTo>
                  <a:pt x="4906" y="1896"/>
                </a:lnTo>
                <a:lnTo>
                  <a:pt x="4976" y="1944"/>
                </a:lnTo>
                <a:lnTo>
                  <a:pt x="5037" y="1997"/>
                </a:lnTo>
                <a:lnTo>
                  <a:pt x="5091" y="2053"/>
                </a:lnTo>
                <a:lnTo>
                  <a:pt x="5140" y="2112"/>
                </a:lnTo>
                <a:lnTo>
                  <a:pt x="5180" y="2175"/>
                </a:lnTo>
                <a:lnTo>
                  <a:pt x="5215" y="2239"/>
                </a:lnTo>
                <a:lnTo>
                  <a:pt x="5244" y="2309"/>
                </a:lnTo>
                <a:lnTo>
                  <a:pt x="5270" y="2381"/>
                </a:lnTo>
                <a:lnTo>
                  <a:pt x="5290" y="2454"/>
                </a:lnTo>
                <a:lnTo>
                  <a:pt x="5305" y="2531"/>
                </a:lnTo>
                <a:lnTo>
                  <a:pt x="5318" y="2609"/>
                </a:lnTo>
                <a:lnTo>
                  <a:pt x="5326" y="2690"/>
                </a:lnTo>
                <a:lnTo>
                  <a:pt x="5333" y="2772"/>
                </a:lnTo>
                <a:lnTo>
                  <a:pt x="5337" y="2854"/>
                </a:lnTo>
                <a:lnTo>
                  <a:pt x="5339" y="2939"/>
                </a:lnTo>
                <a:lnTo>
                  <a:pt x="5340" y="3025"/>
                </a:lnTo>
                <a:lnTo>
                  <a:pt x="5339" y="3112"/>
                </a:lnTo>
                <a:lnTo>
                  <a:pt x="5339" y="3199"/>
                </a:lnTo>
                <a:lnTo>
                  <a:pt x="5337" y="3377"/>
                </a:lnTo>
                <a:lnTo>
                  <a:pt x="5333" y="3402"/>
                </a:lnTo>
                <a:lnTo>
                  <a:pt x="5321" y="3425"/>
                </a:lnTo>
                <a:lnTo>
                  <a:pt x="5302" y="3442"/>
                </a:lnTo>
                <a:lnTo>
                  <a:pt x="5295" y="3446"/>
                </a:lnTo>
                <a:lnTo>
                  <a:pt x="5283" y="3454"/>
                </a:lnTo>
                <a:lnTo>
                  <a:pt x="5262" y="3465"/>
                </a:lnTo>
                <a:lnTo>
                  <a:pt x="5234" y="3479"/>
                </a:lnTo>
                <a:lnTo>
                  <a:pt x="5199" y="3494"/>
                </a:lnTo>
                <a:lnTo>
                  <a:pt x="5157" y="3514"/>
                </a:lnTo>
                <a:lnTo>
                  <a:pt x="5106" y="3533"/>
                </a:lnTo>
                <a:lnTo>
                  <a:pt x="5049" y="3554"/>
                </a:lnTo>
                <a:lnTo>
                  <a:pt x="4984" y="3575"/>
                </a:lnTo>
                <a:lnTo>
                  <a:pt x="4911" y="3594"/>
                </a:lnTo>
                <a:lnTo>
                  <a:pt x="4831" y="3615"/>
                </a:lnTo>
                <a:lnTo>
                  <a:pt x="4744" y="3634"/>
                </a:lnTo>
                <a:lnTo>
                  <a:pt x="4648" y="3651"/>
                </a:lnTo>
                <a:lnTo>
                  <a:pt x="4543" y="3667"/>
                </a:lnTo>
                <a:lnTo>
                  <a:pt x="4430" y="3679"/>
                </a:lnTo>
                <a:lnTo>
                  <a:pt x="4309" y="3690"/>
                </a:lnTo>
                <a:lnTo>
                  <a:pt x="4180" y="3695"/>
                </a:lnTo>
                <a:lnTo>
                  <a:pt x="4044" y="3699"/>
                </a:lnTo>
                <a:lnTo>
                  <a:pt x="3892" y="3695"/>
                </a:lnTo>
                <a:lnTo>
                  <a:pt x="3746" y="3686"/>
                </a:lnTo>
                <a:lnTo>
                  <a:pt x="3603" y="3674"/>
                </a:lnTo>
                <a:lnTo>
                  <a:pt x="3465" y="3655"/>
                </a:lnTo>
                <a:lnTo>
                  <a:pt x="3362" y="3636"/>
                </a:lnTo>
                <a:lnTo>
                  <a:pt x="3278" y="3685"/>
                </a:lnTo>
                <a:lnTo>
                  <a:pt x="3191" y="3725"/>
                </a:lnTo>
                <a:lnTo>
                  <a:pt x="3100" y="3758"/>
                </a:lnTo>
                <a:lnTo>
                  <a:pt x="3004" y="3782"/>
                </a:lnTo>
                <a:lnTo>
                  <a:pt x="2905" y="3796"/>
                </a:lnTo>
                <a:lnTo>
                  <a:pt x="2804" y="3802"/>
                </a:lnTo>
                <a:lnTo>
                  <a:pt x="2703" y="3796"/>
                </a:lnTo>
                <a:lnTo>
                  <a:pt x="2605" y="3782"/>
                </a:lnTo>
                <a:lnTo>
                  <a:pt x="2511" y="3758"/>
                </a:lnTo>
                <a:lnTo>
                  <a:pt x="2418" y="3727"/>
                </a:lnTo>
                <a:lnTo>
                  <a:pt x="2331" y="3686"/>
                </a:lnTo>
                <a:lnTo>
                  <a:pt x="2249" y="3638"/>
                </a:lnTo>
                <a:lnTo>
                  <a:pt x="2172" y="3582"/>
                </a:lnTo>
                <a:lnTo>
                  <a:pt x="2099" y="3521"/>
                </a:lnTo>
                <a:lnTo>
                  <a:pt x="2020" y="3521"/>
                </a:lnTo>
                <a:lnTo>
                  <a:pt x="1867" y="3521"/>
                </a:lnTo>
                <a:lnTo>
                  <a:pt x="1748" y="3515"/>
                </a:lnTo>
                <a:lnTo>
                  <a:pt x="1633" y="3500"/>
                </a:lnTo>
                <a:lnTo>
                  <a:pt x="1520" y="3475"/>
                </a:lnTo>
                <a:lnTo>
                  <a:pt x="1412" y="3439"/>
                </a:lnTo>
                <a:lnTo>
                  <a:pt x="1307" y="3395"/>
                </a:lnTo>
                <a:lnTo>
                  <a:pt x="1207" y="3343"/>
                </a:lnTo>
                <a:lnTo>
                  <a:pt x="1113" y="3281"/>
                </a:lnTo>
                <a:lnTo>
                  <a:pt x="1026" y="3213"/>
                </a:lnTo>
                <a:lnTo>
                  <a:pt x="942" y="3137"/>
                </a:lnTo>
                <a:lnTo>
                  <a:pt x="867" y="3055"/>
                </a:lnTo>
                <a:lnTo>
                  <a:pt x="799" y="2967"/>
                </a:lnTo>
                <a:lnTo>
                  <a:pt x="738" y="2873"/>
                </a:lnTo>
                <a:lnTo>
                  <a:pt x="686" y="2774"/>
                </a:lnTo>
                <a:lnTo>
                  <a:pt x="642" y="2669"/>
                </a:lnTo>
                <a:lnTo>
                  <a:pt x="606" y="2561"/>
                </a:lnTo>
                <a:lnTo>
                  <a:pt x="581" y="2447"/>
                </a:lnTo>
                <a:lnTo>
                  <a:pt x="565" y="2332"/>
                </a:lnTo>
                <a:lnTo>
                  <a:pt x="560" y="2211"/>
                </a:lnTo>
                <a:lnTo>
                  <a:pt x="565" y="2093"/>
                </a:lnTo>
                <a:lnTo>
                  <a:pt x="581" y="1978"/>
                </a:lnTo>
                <a:lnTo>
                  <a:pt x="606" y="1864"/>
                </a:lnTo>
                <a:lnTo>
                  <a:pt x="642" y="1756"/>
                </a:lnTo>
                <a:lnTo>
                  <a:pt x="686" y="1651"/>
                </a:lnTo>
                <a:lnTo>
                  <a:pt x="738" y="1552"/>
                </a:lnTo>
                <a:lnTo>
                  <a:pt x="799" y="1457"/>
                </a:lnTo>
                <a:lnTo>
                  <a:pt x="867" y="1370"/>
                </a:lnTo>
                <a:lnTo>
                  <a:pt x="942" y="1286"/>
                </a:lnTo>
                <a:lnTo>
                  <a:pt x="1026" y="1211"/>
                </a:lnTo>
                <a:lnTo>
                  <a:pt x="1113" y="1143"/>
                </a:lnTo>
                <a:lnTo>
                  <a:pt x="1207" y="1082"/>
                </a:lnTo>
                <a:lnTo>
                  <a:pt x="1307" y="1030"/>
                </a:lnTo>
                <a:lnTo>
                  <a:pt x="1412" y="986"/>
                </a:lnTo>
                <a:lnTo>
                  <a:pt x="1520" y="950"/>
                </a:lnTo>
                <a:lnTo>
                  <a:pt x="1633" y="925"/>
                </a:lnTo>
                <a:lnTo>
                  <a:pt x="1748" y="909"/>
                </a:lnTo>
                <a:lnTo>
                  <a:pt x="1867" y="904"/>
                </a:lnTo>
                <a:close/>
                <a:moveTo>
                  <a:pt x="4034" y="155"/>
                </a:moveTo>
                <a:lnTo>
                  <a:pt x="3941" y="161"/>
                </a:lnTo>
                <a:lnTo>
                  <a:pt x="3852" y="176"/>
                </a:lnTo>
                <a:lnTo>
                  <a:pt x="3767" y="202"/>
                </a:lnTo>
                <a:lnTo>
                  <a:pt x="3685" y="236"/>
                </a:lnTo>
                <a:lnTo>
                  <a:pt x="3608" y="279"/>
                </a:lnTo>
                <a:lnTo>
                  <a:pt x="3538" y="330"/>
                </a:lnTo>
                <a:lnTo>
                  <a:pt x="3472" y="389"/>
                </a:lnTo>
                <a:lnTo>
                  <a:pt x="3414" y="454"/>
                </a:lnTo>
                <a:lnTo>
                  <a:pt x="3364" y="524"/>
                </a:lnTo>
                <a:lnTo>
                  <a:pt x="3320" y="600"/>
                </a:lnTo>
                <a:lnTo>
                  <a:pt x="3287" y="682"/>
                </a:lnTo>
                <a:lnTo>
                  <a:pt x="3261" y="768"/>
                </a:lnTo>
                <a:lnTo>
                  <a:pt x="3245" y="857"/>
                </a:lnTo>
                <a:lnTo>
                  <a:pt x="3240" y="950"/>
                </a:lnTo>
                <a:lnTo>
                  <a:pt x="3245" y="1042"/>
                </a:lnTo>
                <a:lnTo>
                  <a:pt x="3261" y="1133"/>
                </a:lnTo>
                <a:lnTo>
                  <a:pt x="3287" y="1218"/>
                </a:lnTo>
                <a:lnTo>
                  <a:pt x="3320" y="1299"/>
                </a:lnTo>
                <a:lnTo>
                  <a:pt x="3364" y="1375"/>
                </a:lnTo>
                <a:lnTo>
                  <a:pt x="3414" y="1447"/>
                </a:lnTo>
                <a:lnTo>
                  <a:pt x="3472" y="1512"/>
                </a:lnTo>
                <a:lnTo>
                  <a:pt x="3538" y="1571"/>
                </a:lnTo>
                <a:lnTo>
                  <a:pt x="3608" y="1622"/>
                </a:lnTo>
                <a:lnTo>
                  <a:pt x="3685" y="1663"/>
                </a:lnTo>
                <a:lnTo>
                  <a:pt x="3767" y="1698"/>
                </a:lnTo>
                <a:lnTo>
                  <a:pt x="3852" y="1725"/>
                </a:lnTo>
                <a:lnTo>
                  <a:pt x="3941" y="1740"/>
                </a:lnTo>
                <a:lnTo>
                  <a:pt x="4034" y="1745"/>
                </a:lnTo>
                <a:lnTo>
                  <a:pt x="4126" y="1740"/>
                </a:lnTo>
                <a:lnTo>
                  <a:pt x="4217" y="1725"/>
                </a:lnTo>
                <a:lnTo>
                  <a:pt x="4302" y="1698"/>
                </a:lnTo>
                <a:lnTo>
                  <a:pt x="4383" y="1663"/>
                </a:lnTo>
                <a:lnTo>
                  <a:pt x="4459" y="1622"/>
                </a:lnTo>
                <a:lnTo>
                  <a:pt x="4531" y="1571"/>
                </a:lnTo>
                <a:lnTo>
                  <a:pt x="4595" y="1512"/>
                </a:lnTo>
                <a:lnTo>
                  <a:pt x="4653" y="1447"/>
                </a:lnTo>
                <a:lnTo>
                  <a:pt x="4705" y="1375"/>
                </a:lnTo>
                <a:lnTo>
                  <a:pt x="4747" y="1299"/>
                </a:lnTo>
                <a:lnTo>
                  <a:pt x="4782" y="1218"/>
                </a:lnTo>
                <a:lnTo>
                  <a:pt x="4806" y="1133"/>
                </a:lnTo>
                <a:lnTo>
                  <a:pt x="4822" y="1042"/>
                </a:lnTo>
                <a:lnTo>
                  <a:pt x="4829" y="950"/>
                </a:lnTo>
                <a:lnTo>
                  <a:pt x="4822" y="857"/>
                </a:lnTo>
                <a:lnTo>
                  <a:pt x="4806" y="768"/>
                </a:lnTo>
                <a:lnTo>
                  <a:pt x="4782" y="682"/>
                </a:lnTo>
                <a:lnTo>
                  <a:pt x="4747" y="600"/>
                </a:lnTo>
                <a:lnTo>
                  <a:pt x="4705" y="524"/>
                </a:lnTo>
                <a:lnTo>
                  <a:pt x="4653" y="454"/>
                </a:lnTo>
                <a:lnTo>
                  <a:pt x="4595" y="389"/>
                </a:lnTo>
                <a:lnTo>
                  <a:pt x="4531" y="330"/>
                </a:lnTo>
                <a:lnTo>
                  <a:pt x="4459" y="279"/>
                </a:lnTo>
                <a:lnTo>
                  <a:pt x="4383" y="236"/>
                </a:lnTo>
                <a:lnTo>
                  <a:pt x="4302" y="202"/>
                </a:lnTo>
                <a:lnTo>
                  <a:pt x="4217" y="176"/>
                </a:lnTo>
                <a:lnTo>
                  <a:pt x="4126" y="161"/>
                </a:lnTo>
                <a:lnTo>
                  <a:pt x="4034" y="155"/>
                </a:lnTo>
                <a:close/>
                <a:moveTo>
                  <a:pt x="4034" y="0"/>
                </a:moveTo>
                <a:lnTo>
                  <a:pt x="4131" y="5"/>
                </a:lnTo>
                <a:lnTo>
                  <a:pt x="4226" y="19"/>
                </a:lnTo>
                <a:lnTo>
                  <a:pt x="4316" y="44"/>
                </a:lnTo>
                <a:lnTo>
                  <a:pt x="4403" y="75"/>
                </a:lnTo>
                <a:lnTo>
                  <a:pt x="4487" y="115"/>
                </a:lnTo>
                <a:lnTo>
                  <a:pt x="4564" y="162"/>
                </a:lnTo>
                <a:lnTo>
                  <a:pt x="4637" y="216"/>
                </a:lnTo>
                <a:lnTo>
                  <a:pt x="4705" y="279"/>
                </a:lnTo>
                <a:lnTo>
                  <a:pt x="4766" y="346"/>
                </a:lnTo>
                <a:lnTo>
                  <a:pt x="4822" y="419"/>
                </a:lnTo>
                <a:lnTo>
                  <a:pt x="4869" y="497"/>
                </a:lnTo>
                <a:lnTo>
                  <a:pt x="4909" y="581"/>
                </a:lnTo>
                <a:lnTo>
                  <a:pt x="4941" y="669"/>
                </a:lnTo>
                <a:lnTo>
                  <a:pt x="4965" y="759"/>
                </a:lnTo>
                <a:lnTo>
                  <a:pt x="4979" y="854"/>
                </a:lnTo>
                <a:lnTo>
                  <a:pt x="4984" y="950"/>
                </a:lnTo>
                <a:lnTo>
                  <a:pt x="4979" y="1047"/>
                </a:lnTo>
                <a:lnTo>
                  <a:pt x="4965" y="1142"/>
                </a:lnTo>
                <a:lnTo>
                  <a:pt x="4941" y="1232"/>
                </a:lnTo>
                <a:lnTo>
                  <a:pt x="4909" y="1320"/>
                </a:lnTo>
                <a:lnTo>
                  <a:pt x="4869" y="1403"/>
                </a:lnTo>
                <a:lnTo>
                  <a:pt x="4822" y="1482"/>
                </a:lnTo>
                <a:lnTo>
                  <a:pt x="4766" y="1553"/>
                </a:lnTo>
                <a:lnTo>
                  <a:pt x="4705" y="1622"/>
                </a:lnTo>
                <a:lnTo>
                  <a:pt x="4637" y="1683"/>
                </a:lnTo>
                <a:lnTo>
                  <a:pt x="4564" y="1738"/>
                </a:lnTo>
                <a:lnTo>
                  <a:pt x="4487" y="1786"/>
                </a:lnTo>
                <a:lnTo>
                  <a:pt x="4403" y="1826"/>
                </a:lnTo>
                <a:lnTo>
                  <a:pt x="4316" y="1857"/>
                </a:lnTo>
                <a:lnTo>
                  <a:pt x="4226" y="1882"/>
                </a:lnTo>
                <a:lnTo>
                  <a:pt x="4131" y="1896"/>
                </a:lnTo>
                <a:lnTo>
                  <a:pt x="4034" y="1901"/>
                </a:lnTo>
                <a:lnTo>
                  <a:pt x="3934" y="1896"/>
                </a:lnTo>
                <a:lnTo>
                  <a:pt x="3838" y="1880"/>
                </a:lnTo>
                <a:lnTo>
                  <a:pt x="3744" y="1855"/>
                </a:lnTo>
                <a:lnTo>
                  <a:pt x="3655" y="1821"/>
                </a:lnTo>
                <a:lnTo>
                  <a:pt x="3570" y="1779"/>
                </a:lnTo>
                <a:lnTo>
                  <a:pt x="3491" y="1728"/>
                </a:lnTo>
                <a:lnTo>
                  <a:pt x="3416" y="1670"/>
                </a:lnTo>
                <a:lnTo>
                  <a:pt x="3348" y="1606"/>
                </a:lnTo>
                <a:lnTo>
                  <a:pt x="3287" y="1536"/>
                </a:lnTo>
                <a:lnTo>
                  <a:pt x="3233" y="1459"/>
                </a:lnTo>
                <a:lnTo>
                  <a:pt x="3186" y="1377"/>
                </a:lnTo>
                <a:lnTo>
                  <a:pt x="3147" y="1290"/>
                </a:lnTo>
                <a:lnTo>
                  <a:pt x="3118" y="1197"/>
                </a:lnTo>
                <a:lnTo>
                  <a:pt x="3099" y="1103"/>
                </a:lnTo>
                <a:lnTo>
                  <a:pt x="3086" y="1005"/>
                </a:lnTo>
                <a:lnTo>
                  <a:pt x="3081" y="1002"/>
                </a:lnTo>
                <a:lnTo>
                  <a:pt x="3076" y="998"/>
                </a:lnTo>
                <a:lnTo>
                  <a:pt x="3071" y="995"/>
                </a:lnTo>
                <a:lnTo>
                  <a:pt x="2980" y="911"/>
                </a:lnTo>
                <a:lnTo>
                  <a:pt x="2886" y="834"/>
                </a:lnTo>
                <a:lnTo>
                  <a:pt x="2786" y="766"/>
                </a:lnTo>
                <a:lnTo>
                  <a:pt x="2682" y="705"/>
                </a:lnTo>
                <a:lnTo>
                  <a:pt x="2573" y="651"/>
                </a:lnTo>
                <a:lnTo>
                  <a:pt x="2462" y="606"/>
                </a:lnTo>
                <a:lnTo>
                  <a:pt x="2348" y="567"/>
                </a:lnTo>
                <a:lnTo>
                  <a:pt x="2232" y="538"/>
                </a:lnTo>
                <a:lnTo>
                  <a:pt x="2113" y="517"/>
                </a:lnTo>
                <a:lnTo>
                  <a:pt x="1991" y="504"/>
                </a:lnTo>
                <a:lnTo>
                  <a:pt x="1867" y="499"/>
                </a:lnTo>
                <a:lnTo>
                  <a:pt x="1734" y="504"/>
                </a:lnTo>
                <a:lnTo>
                  <a:pt x="1603" y="520"/>
                </a:lnTo>
                <a:lnTo>
                  <a:pt x="1476" y="545"/>
                </a:lnTo>
                <a:lnTo>
                  <a:pt x="1352" y="579"/>
                </a:lnTo>
                <a:lnTo>
                  <a:pt x="1232" y="623"/>
                </a:lnTo>
                <a:lnTo>
                  <a:pt x="1115" y="674"/>
                </a:lnTo>
                <a:lnTo>
                  <a:pt x="1005" y="733"/>
                </a:lnTo>
                <a:lnTo>
                  <a:pt x="899" y="801"/>
                </a:lnTo>
                <a:lnTo>
                  <a:pt x="798" y="876"/>
                </a:lnTo>
                <a:lnTo>
                  <a:pt x="703" y="958"/>
                </a:lnTo>
                <a:lnTo>
                  <a:pt x="614" y="1047"/>
                </a:lnTo>
                <a:lnTo>
                  <a:pt x="532" y="1142"/>
                </a:lnTo>
                <a:lnTo>
                  <a:pt x="457" y="1243"/>
                </a:lnTo>
                <a:lnTo>
                  <a:pt x="389" y="1349"/>
                </a:lnTo>
                <a:lnTo>
                  <a:pt x="330" y="1459"/>
                </a:lnTo>
                <a:lnTo>
                  <a:pt x="279" y="1576"/>
                </a:lnTo>
                <a:lnTo>
                  <a:pt x="236" y="1697"/>
                </a:lnTo>
                <a:lnTo>
                  <a:pt x="201" y="1821"/>
                </a:lnTo>
                <a:lnTo>
                  <a:pt x="176" y="1948"/>
                </a:lnTo>
                <a:lnTo>
                  <a:pt x="161" y="2079"/>
                </a:lnTo>
                <a:lnTo>
                  <a:pt x="156" y="2211"/>
                </a:lnTo>
                <a:lnTo>
                  <a:pt x="161" y="2342"/>
                </a:lnTo>
                <a:lnTo>
                  <a:pt x="175" y="2468"/>
                </a:lnTo>
                <a:lnTo>
                  <a:pt x="199" y="2594"/>
                </a:lnTo>
                <a:lnTo>
                  <a:pt x="231" y="2714"/>
                </a:lnTo>
                <a:lnTo>
                  <a:pt x="271" y="2831"/>
                </a:lnTo>
                <a:lnTo>
                  <a:pt x="320" y="2945"/>
                </a:lnTo>
                <a:lnTo>
                  <a:pt x="377" y="3055"/>
                </a:lnTo>
                <a:lnTo>
                  <a:pt x="440" y="3159"/>
                </a:lnTo>
                <a:lnTo>
                  <a:pt x="511" y="3259"/>
                </a:lnTo>
                <a:lnTo>
                  <a:pt x="590" y="3353"/>
                </a:lnTo>
                <a:lnTo>
                  <a:pt x="674" y="3440"/>
                </a:lnTo>
                <a:lnTo>
                  <a:pt x="764" y="3522"/>
                </a:lnTo>
                <a:lnTo>
                  <a:pt x="860" y="3597"/>
                </a:lnTo>
                <a:lnTo>
                  <a:pt x="961" y="3667"/>
                </a:lnTo>
                <a:lnTo>
                  <a:pt x="1070" y="3728"/>
                </a:lnTo>
                <a:lnTo>
                  <a:pt x="1181" y="3782"/>
                </a:lnTo>
                <a:lnTo>
                  <a:pt x="1298" y="3828"/>
                </a:lnTo>
                <a:lnTo>
                  <a:pt x="1419" y="3866"/>
                </a:lnTo>
                <a:lnTo>
                  <a:pt x="1542" y="3894"/>
                </a:lnTo>
                <a:lnTo>
                  <a:pt x="1670" y="3913"/>
                </a:lnTo>
                <a:lnTo>
                  <a:pt x="1740" y="3920"/>
                </a:lnTo>
                <a:lnTo>
                  <a:pt x="1745" y="3920"/>
                </a:lnTo>
                <a:lnTo>
                  <a:pt x="1748" y="3922"/>
                </a:lnTo>
                <a:lnTo>
                  <a:pt x="1799" y="3878"/>
                </a:lnTo>
                <a:lnTo>
                  <a:pt x="1855" y="3837"/>
                </a:lnTo>
                <a:lnTo>
                  <a:pt x="1914" y="3796"/>
                </a:lnTo>
                <a:lnTo>
                  <a:pt x="1980" y="3760"/>
                </a:lnTo>
                <a:lnTo>
                  <a:pt x="2001" y="3753"/>
                </a:lnTo>
                <a:lnTo>
                  <a:pt x="2024" y="3753"/>
                </a:lnTo>
                <a:lnTo>
                  <a:pt x="2045" y="3758"/>
                </a:lnTo>
                <a:lnTo>
                  <a:pt x="2064" y="3768"/>
                </a:lnTo>
                <a:lnTo>
                  <a:pt x="2080" y="3786"/>
                </a:lnTo>
                <a:lnTo>
                  <a:pt x="2134" y="3856"/>
                </a:lnTo>
                <a:lnTo>
                  <a:pt x="2193" y="3920"/>
                </a:lnTo>
                <a:lnTo>
                  <a:pt x="2258" y="3978"/>
                </a:lnTo>
                <a:lnTo>
                  <a:pt x="2327" y="4029"/>
                </a:lnTo>
                <a:lnTo>
                  <a:pt x="2402" y="4074"/>
                </a:lnTo>
                <a:lnTo>
                  <a:pt x="2481" y="4111"/>
                </a:lnTo>
                <a:lnTo>
                  <a:pt x="2563" y="4138"/>
                </a:lnTo>
                <a:lnTo>
                  <a:pt x="2647" y="4159"/>
                </a:lnTo>
                <a:lnTo>
                  <a:pt x="2734" y="4173"/>
                </a:lnTo>
                <a:lnTo>
                  <a:pt x="2821" y="4177"/>
                </a:lnTo>
                <a:lnTo>
                  <a:pt x="2910" y="4173"/>
                </a:lnTo>
                <a:lnTo>
                  <a:pt x="2996" y="4159"/>
                </a:lnTo>
                <a:lnTo>
                  <a:pt x="3081" y="4138"/>
                </a:lnTo>
                <a:lnTo>
                  <a:pt x="3161" y="4111"/>
                </a:lnTo>
                <a:lnTo>
                  <a:pt x="3240" y="4074"/>
                </a:lnTo>
                <a:lnTo>
                  <a:pt x="3315" y="4029"/>
                </a:lnTo>
                <a:lnTo>
                  <a:pt x="3385" y="3978"/>
                </a:lnTo>
                <a:lnTo>
                  <a:pt x="3449" y="3920"/>
                </a:lnTo>
                <a:lnTo>
                  <a:pt x="3510" y="3856"/>
                </a:lnTo>
                <a:lnTo>
                  <a:pt x="3563" y="3786"/>
                </a:lnTo>
                <a:lnTo>
                  <a:pt x="3578" y="3768"/>
                </a:lnTo>
                <a:lnTo>
                  <a:pt x="3597" y="3758"/>
                </a:lnTo>
                <a:lnTo>
                  <a:pt x="3618" y="3753"/>
                </a:lnTo>
                <a:lnTo>
                  <a:pt x="3641" y="3753"/>
                </a:lnTo>
                <a:lnTo>
                  <a:pt x="3662" y="3760"/>
                </a:lnTo>
                <a:lnTo>
                  <a:pt x="3662" y="3760"/>
                </a:lnTo>
                <a:lnTo>
                  <a:pt x="3742" y="3805"/>
                </a:lnTo>
                <a:lnTo>
                  <a:pt x="3816" y="3856"/>
                </a:lnTo>
                <a:lnTo>
                  <a:pt x="3880" y="3908"/>
                </a:lnTo>
                <a:lnTo>
                  <a:pt x="3938" y="3966"/>
                </a:lnTo>
                <a:lnTo>
                  <a:pt x="3988" y="4025"/>
                </a:lnTo>
                <a:lnTo>
                  <a:pt x="4034" y="4090"/>
                </a:lnTo>
                <a:lnTo>
                  <a:pt x="4072" y="4156"/>
                </a:lnTo>
                <a:lnTo>
                  <a:pt x="4105" y="4226"/>
                </a:lnTo>
                <a:lnTo>
                  <a:pt x="4131" y="4299"/>
                </a:lnTo>
                <a:lnTo>
                  <a:pt x="4154" y="4374"/>
                </a:lnTo>
                <a:lnTo>
                  <a:pt x="4173" y="4451"/>
                </a:lnTo>
                <a:lnTo>
                  <a:pt x="4189" y="4531"/>
                </a:lnTo>
                <a:lnTo>
                  <a:pt x="4199" y="4613"/>
                </a:lnTo>
                <a:lnTo>
                  <a:pt x="4208" y="4695"/>
                </a:lnTo>
                <a:lnTo>
                  <a:pt x="4213" y="4781"/>
                </a:lnTo>
                <a:lnTo>
                  <a:pt x="4217" y="4868"/>
                </a:lnTo>
                <a:lnTo>
                  <a:pt x="4219" y="4955"/>
                </a:lnTo>
                <a:lnTo>
                  <a:pt x="4219" y="5044"/>
                </a:lnTo>
                <a:lnTo>
                  <a:pt x="4219" y="5133"/>
                </a:lnTo>
                <a:lnTo>
                  <a:pt x="4219" y="5224"/>
                </a:lnTo>
                <a:lnTo>
                  <a:pt x="4217" y="5418"/>
                </a:lnTo>
                <a:lnTo>
                  <a:pt x="4213" y="5442"/>
                </a:lnTo>
                <a:lnTo>
                  <a:pt x="4201" y="5465"/>
                </a:lnTo>
                <a:lnTo>
                  <a:pt x="4182" y="5482"/>
                </a:lnTo>
                <a:lnTo>
                  <a:pt x="4175" y="5486"/>
                </a:lnTo>
                <a:lnTo>
                  <a:pt x="4163" y="5495"/>
                </a:lnTo>
                <a:lnTo>
                  <a:pt x="4142" y="5505"/>
                </a:lnTo>
                <a:lnTo>
                  <a:pt x="4116" y="5519"/>
                </a:lnTo>
                <a:lnTo>
                  <a:pt x="4081" y="5535"/>
                </a:lnTo>
                <a:lnTo>
                  <a:pt x="4039" y="5554"/>
                </a:lnTo>
                <a:lnTo>
                  <a:pt x="3990" y="5573"/>
                </a:lnTo>
                <a:lnTo>
                  <a:pt x="3934" y="5594"/>
                </a:lnTo>
                <a:lnTo>
                  <a:pt x="3871" y="5615"/>
                </a:lnTo>
                <a:lnTo>
                  <a:pt x="3800" y="5636"/>
                </a:lnTo>
                <a:lnTo>
                  <a:pt x="3723" y="5657"/>
                </a:lnTo>
                <a:lnTo>
                  <a:pt x="3636" y="5678"/>
                </a:lnTo>
                <a:lnTo>
                  <a:pt x="3543" y="5697"/>
                </a:lnTo>
                <a:lnTo>
                  <a:pt x="3440" y="5715"/>
                </a:lnTo>
                <a:lnTo>
                  <a:pt x="3332" y="5730"/>
                </a:lnTo>
                <a:lnTo>
                  <a:pt x="3215" y="5743"/>
                </a:lnTo>
                <a:lnTo>
                  <a:pt x="3090" y="5751"/>
                </a:lnTo>
                <a:lnTo>
                  <a:pt x="2955" y="5758"/>
                </a:lnTo>
                <a:lnTo>
                  <a:pt x="2814" y="5760"/>
                </a:lnTo>
                <a:lnTo>
                  <a:pt x="2673" y="5758"/>
                </a:lnTo>
                <a:lnTo>
                  <a:pt x="2540" y="5751"/>
                </a:lnTo>
                <a:lnTo>
                  <a:pt x="2415" y="5743"/>
                </a:lnTo>
                <a:lnTo>
                  <a:pt x="2298" y="5729"/>
                </a:lnTo>
                <a:lnTo>
                  <a:pt x="2190" y="5715"/>
                </a:lnTo>
                <a:lnTo>
                  <a:pt x="2088" y="5697"/>
                </a:lnTo>
                <a:lnTo>
                  <a:pt x="1996" y="5678"/>
                </a:lnTo>
                <a:lnTo>
                  <a:pt x="1912" y="5657"/>
                </a:lnTo>
                <a:lnTo>
                  <a:pt x="1834" y="5636"/>
                </a:lnTo>
                <a:lnTo>
                  <a:pt x="1764" y="5615"/>
                </a:lnTo>
                <a:lnTo>
                  <a:pt x="1701" y="5592"/>
                </a:lnTo>
                <a:lnTo>
                  <a:pt x="1647" y="5573"/>
                </a:lnTo>
                <a:lnTo>
                  <a:pt x="1600" y="5552"/>
                </a:lnTo>
                <a:lnTo>
                  <a:pt x="1558" y="5535"/>
                </a:lnTo>
                <a:lnTo>
                  <a:pt x="1525" y="5519"/>
                </a:lnTo>
                <a:lnTo>
                  <a:pt x="1499" y="5505"/>
                </a:lnTo>
                <a:lnTo>
                  <a:pt x="1480" y="5493"/>
                </a:lnTo>
                <a:lnTo>
                  <a:pt x="1467" y="5486"/>
                </a:lnTo>
                <a:lnTo>
                  <a:pt x="1460" y="5482"/>
                </a:lnTo>
                <a:lnTo>
                  <a:pt x="1441" y="5465"/>
                </a:lnTo>
                <a:lnTo>
                  <a:pt x="1431" y="5442"/>
                </a:lnTo>
                <a:lnTo>
                  <a:pt x="1426" y="5418"/>
                </a:lnTo>
                <a:lnTo>
                  <a:pt x="1426" y="5224"/>
                </a:lnTo>
                <a:lnTo>
                  <a:pt x="1424" y="5116"/>
                </a:lnTo>
                <a:lnTo>
                  <a:pt x="1424" y="5009"/>
                </a:lnTo>
                <a:lnTo>
                  <a:pt x="1426" y="4903"/>
                </a:lnTo>
                <a:lnTo>
                  <a:pt x="1429" y="4798"/>
                </a:lnTo>
                <a:lnTo>
                  <a:pt x="1436" y="4697"/>
                </a:lnTo>
                <a:lnTo>
                  <a:pt x="1446" y="4596"/>
                </a:lnTo>
                <a:lnTo>
                  <a:pt x="1460" y="4500"/>
                </a:lnTo>
                <a:lnTo>
                  <a:pt x="1481" y="4406"/>
                </a:lnTo>
                <a:lnTo>
                  <a:pt x="1508" y="4313"/>
                </a:lnTo>
                <a:lnTo>
                  <a:pt x="1539" y="4226"/>
                </a:lnTo>
                <a:lnTo>
                  <a:pt x="1579" y="4144"/>
                </a:lnTo>
                <a:lnTo>
                  <a:pt x="1628" y="4063"/>
                </a:lnTo>
                <a:lnTo>
                  <a:pt x="1490" y="4041"/>
                </a:lnTo>
                <a:lnTo>
                  <a:pt x="1356" y="4008"/>
                </a:lnTo>
                <a:lnTo>
                  <a:pt x="1227" y="3966"/>
                </a:lnTo>
                <a:lnTo>
                  <a:pt x="1101" y="3915"/>
                </a:lnTo>
                <a:lnTo>
                  <a:pt x="981" y="3856"/>
                </a:lnTo>
                <a:lnTo>
                  <a:pt x="866" y="3789"/>
                </a:lnTo>
                <a:lnTo>
                  <a:pt x="757" y="3714"/>
                </a:lnTo>
                <a:lnTo>
                  <a:pt x="653" y="3631"/>
                </a:lnTo>
                <a:lnTo>
                  <a:pt x="557" y="3542"/>
                </a:lnTo>
                <a:lnTo>
                  <a:pt x="466" y="3446"/>
                </a:lnTo>
                <a:lnTo>
                  <a:pt x="382" y="3344"/>
                </a:lnTo>
                <a:lnTo>
                  <a:pt x="306" y="3236"/>
                </a:lnTo>
                <a:lnTo>
                  <a:pt x="238" y="3123"/>
                </a:lnTo>
                <a:lnTo>
                  <a:pt x="176" y="3004"/>
                </a:lnTo>
                <a:lnTo>
                  <a:pt x="124" y="2882"/>
                </a:lnTo>
                <a:lnTo>
                  <a:pt x="81" y="2754"/>
                </a:lnTo>
                <a:lnTo>
                  <a:pt x="46" y="2623"/>
                </a:lnTo>
                <a:lnTo>
                  <a:pt x="21" y="2489"/>
                </a:lnTo>
                <a:lnTo>
                  <a:pt x="5" y="2353"/>
                </a:lnTo>
                <a:lnTo>
                  <a:pt x="0" y="2211"/>
                </a:lnTo>
                <a:lnTo>
                  <a:pt x="5" y="2074"/>
                </a:lnTo>
                <a:lnTo>
                  <a:pt x="21" y="1936"/>
                </a:lnTo>
                <a:lnTo>
                  <a:pt x="46" y="1803"/>
                </a:lnTo>
                <a:lnTo>
                  <a:pt x="81" y="1674"/>
                </a:lnTo>
                <a:lnTo>
                  <a:pt x="122" y="1546"/>
                </a:lnTo>
                <a:lnTo>
                  <a:pt x="175" y="1426"/>
                </a:lnTo>
                <a:lnTo>
                  <a:pt x="234" y="1307"/>
                </a:lnTo>
                <a:lnTo>
                  <a:pt x="302" y="1196"/>
                </a:lnTo>
                <a:lnTo>
                  <a:pt x="377" y="1089"/>
                </a:lnTo>
                <a:lnTo>
                  <a:pt x="459" y="988"/>
                </a:lnTo>
                <a:lnTo>
                  <a:pt x="548" y="892"/>
                </a:lnTo>
                <a:lnTo>
                  <a:pt x="644" y="803"/>
                </a:lnTo>
                <a:lnTo>
                  <a:pt x="745" y="721"/>
                </a:lnTo>
                <a:lnTo>
                  <a:pt x="852" y="646"/>
                </a:lnTo>
                <a:lnTo>
                  <a:pt x="963" y="578"/>
                </a:lnTo>
                <a:lnTo>
                  <a:pt x="1082" y="518"/>
                </a:lnTo>
                <a:lnTo>
                  <a:pt x="1202" y="466"/>
                </a:lnTo>
                <a:lnTo>
                  <a:pt x="1330" y="424"/>
                </a:lnTo>
                <a:lnTo>
                  <a:pt x="1459" y="389"/>
                </a:lnTo>
                <a:lnTo>
                  <a:pt x="1591" y="365"/>
                </a:lnTo>
                <a:lnTo>
                  <a:pt x="1729" y="349"/>
                </a:lnTo>
                <a:lnTo>
                  <a:pt x="1867" y="344"/>
                </a:lnTo>
                <a:lnTo>
                  <a:pt x="2003" y="349"/>
                </a:lnTo>
                <a:lnTo>
                  <a:pt x="2137" y="363"/>
                </a:lnTo>
                <a:lnTo>
                  <a:pt x="2270" y="387"/>
                </a:lnTo>
                <a:lnTo>
                  <a:pt x="2399" y="421"/>
                </a:lnTo>
                <a:lnTo>
                  <a:pt x="2526" y="463"/>
                </a:lnTo>
                <a:lnTo>
                  <a:pt x="2648" y="515"/>
                </a:lnTo>
                <a:lnTo>
                  <a:pt x="2767" y="574"/>
                </a:lnTo>
                <a:lnTo>
                  <a:pt x="2882" y="644"/>
                </a:lnTo>
                <a:lnTo>
                  <a:pt x="2992" y="721"/>
                </a:lnTo>
                <a:lnTo>
                  <a:pt x="3097" y="806"/>
                </a:lnTo>
                <a:lnTo>
                  <a:pt x="3116" y="710"/>
                </a:lnTo>
                <a:lnTo>
                  <a:pt x="3146" y="618"/>
                </a:lnTo>
                <a:lnTo>
                  <a:pt x="3184" y="531"/>
                </a:lnTo>
                <a:lnTo>
                  <a:pt x="3229" y="447"/>
                </a:lnTo>
                <a:lnTo>
                  <a:pt x="3283" y="370"/>
                </a:lnTo>
                <a:lnTo>
                  <a:pt x="3345" y="297"/>
                </a:lnTo>
                <a:lnTo>
                  <a:pt x="3413" y="232"/>
                </a:lnTo>
                <a:lnTo>
                  <a:pt x="3488" y="175"/>
                </a:lnTo>
                <a:lnTo>
                  <a:pt x="3568" y="122"/>
                </a:lnTo>
                <a:lnTo>
                  <a:pt x="3653" y="80"/>
                </a:lnTo>
                <a:lnTo>
                  <a:pt x="3742" y="45"/>
                </a:lnTo>
                <a:lnTo>
                  <a:pt x="3836" y="21"/>
                </a:lnTo>
                <a:lnTo>
                  <a:pt x="3934" y="5"/>
                </a:lnTo>
                <a:lnTo>
                  <a:pt x="403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5" name="Freeform 9">
            <a:extLst>
              <a:ext uri="{FF2B5EF4-FFF2-40B4-BE49-F238E27FC236}">
                <a16:creationId xmlns:a16="http://schemas.microsoft.com/office/drawing/2014/main" id="{C6F66FCC-41FE-4154-B2FD-1A7CCD2FDA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53982" y="2408801"/>
            <a:ext cx="579322" cy="506688"/>
          </a:xfrm>
          <a:custGeom>
            <a:avLst/>
            <a:gdLst>
              <a:gd name="T0" fmla="*/ 3221 w 4800"/>
              <a:gd name="T1" fmla="*/ 2938 h 4192"/>
              <a:gd name="T2" fmla="*/ 1970 w 4800"/>
              <a:gd name="T3" fmla="*/ 3507 h 4192"/>
              <a:gd name="T4" fmla="*/ 2056 w 4800"/>
              <a:gd name="T5" fmla="*/ 3741 h 4192"/>
              <a:gd name="T6" fmla="*/ 2853 w 4800"/>
              <a:gd name="T7" fmla="*/ 1386 h 4192"/>
              <a:gd name="T8" fmla="*/ 3277 w 4800"/>
              <a:gd name="T9" fmla="*/ 891 h 4192"/>
              <a:gd name="T10" fmla="*/ 1735 w 4800"/>
              <a:gd name="T11" fmla="*/ 1152 h 4192"/>
              <a:gd name="T12" fmla="*/ 1785 w 4800"/>
              <a:gd name="T13" fmla="*/ 590 h 4192"/>
              <a:gd name="T14" fmla="*/ 1817 w 4800"/>
              <a:gd name="T15" fmla="*/ 1033 h 4192"/>
              <a:gd name="T16" fmla="*/ 1692 w 4800"/>
              <a:gd name="T17" fmla="*/ 1333 h 4192"/>
              <a:gd name="T18" fmla="*/ 2688 w 4800"/>
              <a:gd name="T19" fmla="*/ 670 h 4192"/>
              <a:gd name="T20" fmla="*/ 2929 w 4800"/>
              <a:gd name="T21" fmla="*/ 458 h 4192"/>
              <a:gd name="T22" fmla="*/ 3741 w 4800"/>
              <a:gd name="T23" fmla="*/ 3166 h 4192"/>
              <a:gd name="T24" fmla="*/ 2435 w 4800"/>
              <a:gd name="T25" fmla="*/ 4132 h 4192"/>
              <a:gd name="T26" fmla="*/ 917 w 4800"/>
              <a:gd name="T27" fmla="*/ 2686 h 4192"/>
              <a:gd name="T28" fmla="*/ 1756 w 4800"/>
              <a:gd name="T29" fmla="*/ 3554 h 4192"/>
              <a:gd name="T30" fmla="*/ 2496 w 4800"/>
              <a:gd name="T31" fmla="*/ 4025 h 4192"/>
              <a:gd name="T32" fmla="*/ 3626 w 4800"/>
              <a:gd name="T33" fmla="*/ 3115 h 4192"/>
              <a:gd name="T34" fmla="*/ 3668 w 4800"/>
              <a:gd name="T35" fmla="*/ 2876 h 4192"/>
              <a:gd name="T36" fmla="*/ 1123 w 4800"/>
              <a:gd name="T37" fmla="*/ 1065 h 4192"/>
              <a:gd name="T38" fmla="*/ 4077 w 4800"/>
              <a:gd name="T39" fmla="*/ 1602 h 4192"/>
              <a:gd name="T40" fmla="*/ 2979 w 4800"/>
              <a:gd name="T41" fmla="*/ 210 h 4192"/>
              <a:gd name="T42" fmla="*/ 1853 w 4800"/>
              <a:gd name="T43" fmla="*/ 175 h 4192"/>
              <a:gd name="T44" fmla="*/ 738 w 4800"/>
              <a:gd name="T45" fmla="*/ 1618 h 4192"/>
              <a:gd name="T46" fmla="*/ 2156 w 4800"/>
              <a:gd name="T47" fmla="*/ 2512 h 4192"/>
              <a:gd name="T48" fmla="*/ 149 w 4800"/>
              <a:gd name="T49" fmla="*/ 2130 h 4192"/>
              <a:gd name="T50" fmla="*/ 201 w 4800"/>
              <a:gd name="T51" fmla="*/ 2078 h 4192"/>
              <a:gd name="T52" fmla="*/ 149 w 4800"/>
              <a:gd name="T53" fmla="*/ 1929 h 4192"/>
              <a:gd name="T54" fmla="*/ 1581 w 4800"/>
              <a:gd name="T55" fmla="*/ 2123 h 4192"/>
              <a:gd name="T56" fmla="*/ 431 w 4800"/>
              <a:gd name="T57" fmla="*/ 2758 h 4192"/>
              <a:gd name="T58" fmla="*/ 1535 w 4800"/>
              <a:gd name="T59" fmla="*/ 2504 h 4192"/>
              <a:gd name="T60" fmla="*/ 282 w 4800"/>
              <a:gd name="T61" fmla="*/ 2809 h 4192"/>
              <a:gd name="T62" fmla="*/ 4289 w 4800"/>
              <a:gd name="T63" fmla="*/ 1278 h 4192"/>
              <a:gd name="T64" fmla="*/ 4289 w 4800"/>
              <a:gd name="T65" fmla="*/ 1286 h 4192"/>
              <a:gd name="T66" fmla="*/ 3262 w 4800"/>
              <a:gd name="T67" fmla="*/ 1739 h 4192"/>
              <a:gd name="T68" fmla="*/ 4490 w 4800"/>
              <a:gd name="T69" fmla="*/ 1278 h 4192"/>
              <a:gd name="T70" fmla="*/ 4368 w 4800"/>
              <a:gd name="T71" fmla="*/ 2837 h 4192"/>
              <a:gd name="T72" fmla="*/ 4368 w 4800"/>
              <a:gd name="T73" fmla="*/ 2837 h 4192"/>
              <a:gd name="T74" fmla="*/ 3145 w 4800"/>
              <a:gd name="T75" fmla="*/ 2476 h 4192"/>
              <a:gd name="T76" fmla="*/ 4309 w 4800"/>
              <a:gd name="T77" fmla="*/ 2979 h 4192"/>
              <a:gd name="T78" fmla="*/ 4658 w 4800"/>
              <a:gd name="T79" fmla="*/ 2211 h 4192"/>
              <a:gd name="T80" fmla="*/ 4709 w 4800"/>
              <a:gd name="T81" fmla="*/ 2159 h 4192"/>
              <a:gd name="T82" fmla="*/ 3105 w 4800"/>
              <a:gd name="T83" fmla="*/ 2273 h 4192"/>
              <a:gd name="T84" fmla="*/ 4658 w 4800"/>
              <a:gd name="T85" fmla="*/ 2010 h 4192"/>
              <a:gd name="T86" fmla="*/ 360 w 4800"/>
              <a:gd name="T87" fmla="*/ 1864 h 4192"/>
              <a:gd name="T88" fmla="*/ 1474 w 4800"/>
              <a:gd name="T89" fmla="*/ 1857 h 4192"/>
              <a:gd name="T90" fmla="*/ 218 w 4800"/>
              <a:gd name="T91" fmla="*/ 1805 h 4192"/>
              <a:gd name="T92" fmla="*/ 2181 w 4800"/>
              <a:gd name="T93" fmla="*/ 1191 h 4192"/>
              <a:gd name="T94" fmla="*/ 2450 w 4800"/>
              <a:gd name="T95" fmla="*/ 1153 h 4192"/>
              <a:gd name="T96" fmla="*/ 2368 w 4800"/>
              <a:gd name="T97" fmla="*/ 1250 h 4192"/>
              <a:gd name="T98" fmla="*/ 2565 w 4800"/>
              <a:gd name="T99" fmla="*/ 1269 h 4192"/>
              <a:gd name="T100" fmla="*/ 1396 w 4800"/>
              <a:gd name="T101" fmla="*/ 3043 h 4192"/>
              <a:gd name="T102" fmla="*/ 1715 w 4800"/>
              <a:gd name="T103" fmla="*/ 2998 h 4192"/>
              <a:gd name="T104" fmla="*/ 1589 w 4800"/>
              <a:gd name="T105" fmla="*/ 3095 h 4192"/>
              <a:gd name="T106" fmla="*/ 1734 w 4800"/>
              <a:gd name="T107" fmla="*/ 2979 h 4192"/>
              <a:gd name="T108" fmla="*/ 2832 w 4800"/>
              <a:gd name="T109" fmla="*/ 1791 h 4192"/>
              <a:gd name="T110" fmla="*/ 2946 w 4800"/>
              <a:gd name="T111" fmla="*/ 1791 h 4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00" h="4192">
                <a:moveTo>
                  <a:pt x="2924" y="3359"/>
                </a:moveTo>
                <a:lnTo>
                  <a:pt x="2924" y="3359"/>
                </a:lnTo>
                <a:cubicBezTo>
                  <a:pt x="2929" y="3393"/>
                  <a:pt x="2905" y="3425"/>
                  <a:pt x="2871" y="3430"/>
                </a:cubicBezTo>
                <a:cubicBezTo>
                  <a:pt x="2868" y="3430"/>
                  <a:pt x="2865" y="3430"/>
                  <a:pt x="2862" y="3430"/>
                </a:cubicBezTo>
                <a:cubicBezTo>
                  <a:pt x="2831" y="3430"/>
                  <a:pt x="2804" y="3407"/>
                  <a:pt x="2800" y="3376"/>
                </a:cubicBezTo>
                <a:cubicBezTo>
                  <a:pt x="2775" y="3195"/>
                  <a:pt x="2839" y="3028"/>
                  <a:pt x="2967" y="2941"/>
                </a:cubicBezTo>
                <a:cubicBezTo>
                  <a:pt x="3021" y="2905"/>
                  <a:pt x="3084" y="2884"/>
                  <a:pt x="3155" y="2879"/>
                </a:cubicBezTo>
                <a:cubicBezTo>
                  <a:pt x="3188" y="2877"/>
                  <a:pt x="3219" y="2903"/>
                  <a:pt x="3221" y="2938"/>
                </a:cubicBezTo>
                <a:cubicBezTo>
                  <a:pt x="3223" y="2972"/>
                  <a:pt x="3197" y="3002"/>
                  <a:pt x="3163" y="3004"/>
                </a:cubicBezTo>
                <a:cubicBezTo>
                  <a:pt x="3115" y="3007"/>
                  <a:pt x="3073" y="3021"/>
                  <a:pt x="3037" y="3045"/>
                </a:cubicBezTo>
                <a:cubicBezTo>
                  <a:pt x="2949" y="3105"/>
                  <a:pt x="2906" y="3225"/>
                  <a:pt x="2924" y="3359"/>
                </a:cubicBezTo>
                <a:lnTo>
                  <a:pt x="2924" y="3359"/>
                </a:lnTo>
                <a:close/>
                <a:moveTo>
                  <a:pt x="2090" y="3684"/>
                </a:moveTo>
                <a:lnTo>
                  <a:pt x="2090" y="3684"/>
                </a:lnTo>
                <a:cubicBezTo>
                  <a:pt x="2112" y="3612"/>
                  <a:pt x="2071" y="3535"/>
                  <a:pt x="1998" y="3512"/>
                </a:cubicBezTo>
                <a:cubicBezTo>
                  <a:pt x="1989" y="3510"/>
                  <a:pt x="1979" y="3508"/>
                  <a:pt x="1970" y="3507"/>
                </a:cubicBezTo>
                <a:cubicBezTo>
                  <a:pt x="1935" y="3504"/>
                  <a:pt x="1910" y="3474"/>
                  <a:pt x="1913" y="3439"/>
                </a:cubicBezTo>
                <a:cubicBezTo>
                  <a:pt x="1916" y="3405"/>
                  <a:pt x="1946" y="3380"/>
                  <a:pt x="1981" y="3382"/>
                </a:cubicBezTo>
                <a:cubicBezTo>
                  <a:pt x="1999" y="3384"/>
                  <a:pt x="2017" y="3388"/>
                  <a:pt x="2034" y="3393"/>
                </a:cubicBezTo>
                <a:cubicBezTo>
                  <a:pt x="2173" y="3435"/>
                  <a:pt x="2252" y="3582"/>
                  <a:pt x="2210" y="3721"/>
                </a:cubicBezTo>
                <a:cubicBezTo>
                  <a:pt x="2197" y="3761"/>
                  <a:pt x="2175" y="3799"/>
                  <a:pt x="2145" y="3829"/>
                </a:cubicBezTo>
                <a:cubicBezTo>
                  <a:pt x="2133" y="3841"/>
                  <a:pt x="2117" y="3847"/>
                  <a:pt x="2101" y="3847"/>
                </a:cubicBezTo>
                <a:cubicBezTo>
                  <a:pt x="2085" y="3847"/>
                  <a:pt x="2069" y="3841"/>
                  <a:pt x="2057" y="3829"/>
                </a:cubicBezTo>
                <a:cubicBezTo>
                  <a:pt x="2032" y="3805"/>
                  <a:pt x="2032" y="3766"/>
                  <a:pt x="2056" y="3741"/>
                </a:cubicBezTo>
                <a:cubicBezTo>
                  <a:pt x="2072" y="3725"/>
                  <a:pt x="2083" y="3706"/>
                  <a:pt x="2090" y="3684"/>
                </a:cubicBezTo>
                <a:lnTo>
                  <a:pt x="2090" y="3684"/>
                </a:lnTo>
                <a:close/>
                <a:moveTo>
                  <a:pt x="3049" y="1449"/>
                </a:moveTo>
                <a:lnTo>
                  <a:pt x="3049" y="1449"/>
                </a:lnTo>
                <a:cubicBezTo>
                  <a:pt x="2995" y="1485"/>
                  <a:pt x="2932" y="1506"/>
                  <a:pt x="2861" y="1511"/>
                </a:cubicBezTo>
                <a:cubicBezTo>
                  <a:pt x="2860" y="1511"/>
                  <a:pt x="2859" y="1511"/>
                  <a:pt x="2857" y="1511"/>
                </a:cubicBezTo>
                <a:cubicBezTo>
                  <a:pt x="2825" y="1511"/>
                  <a:pt x="2797" y="1485"/>
                  <a:pt x="2795" y="1452"/>
                </a:cubicBezTo>
                <a:cubicBezTo>
                  <a:pt x="2793" y="1418"/>
                  <a:pt x="2819" y="1388"/>
                  <a:pt x="2853" y="1386"/>
                </a:cubicBezTo>
                <a:cubicBezTo>
                  <a:pt x="2901" y="1383"/>
                  <a:pt x="2943" y="1369"/>
                  <a:pt x="2979" y="1345"/>
                </a:cubicBezTo>
                <a:cubicBezTo>
                  <a:pt x="3062" y="1289"/>
                  <a:pt x="3105" y="1178"/>
                  <a:pt x="3094" y="1052"/>
                </a:cubicBezTo>
                <a:cubicBezTo>
                  <a:pt x="3061" y="1042"/>
                  <a:pt x="3030" y="1026"/>
                  <a:pt x="3002" y="1003"/>
                </a:cubicBezTo>
                <a:cubicBezTo>
                  <a:pt x="2988" y="991"/>
                  <a:pt x="2976" y="978"/>
                  <a:pt x="2964" y="964"/>
                </a:cubicBezTo>
                <a:cubicBezTo>
                  <a:pt x="2943" y="936"/>
                  <a:pt x="2948" y="897"/>
                  <a:pt x="2975" y="876"/>
                </a:cubicBezTo>
                <a:cubicBezTo>
                  <a:pt x="3002" y="855"/>
                  <a:pt x="3042" y="859"/>
                  <a:pt x="3063" y="887"/>
                </a:cubicBezTo>
                <a:cubicBezTo>
                  <a:pt x="3069" y="894"/>
                  <a:pt x="3076" y="901"/>
                  <a:pt x="3083" y="908"/>
                </a:cubicBezTo>
                <a:cubicBezTo>
                  <a:pt x="3141" y="956"/>
                  <a:pt x="3228" y="949"/>
                  <a:pt x="3277" y="891"/>
                </a:cubicBezTo>
                <a:cubicBezTo>
                  <a:pt x="3292" y="874"/>
                  <a:pt x="3302" y="854"/>
                  <a:pt x="3307" y="832"/>
                </a:cubicBezTo>
                <a:cubicBezTo>
                  <a:pt x="3314" y="799"/>
                  <a:pt x="3347" y="777"/>
                  <a:pt x="3381" y="785"/>
                </a:cubicBezTo>
                <a:cubicBezTo>
                  <a:pt x="3415" y="792"/>
                  <a:pt x="3436" y="826"/>
                  <a:pt x="3429" y="859"/>
                </a:cubicBezTo>
                <a:cubicBezTo>
                  <a:pt x="3419" y="901"/>
                  <a:pt x="3400" y="939"/>
                  <a:pt x="3373" y="972"/>
                </a:cubicBezTo>
                <a:cubicBezTo>
                  <a:pt x="3332" y="1020"/>
                  <a:pt x="3277" y="1049"/>
                  <a:pt x="3220" y="1060"/>
                </a:cubicBezTo>
                <a:cubicBezTo>
                  <a:pt x="3229" y="1223"/>
                  <a:pt x="3166" y="1369"/>
                  <a:pt x="3049" y="1449"/>
                </a:cubicBezTo>
                <a:lnTo>
                  <a:pt x="3049" y="1449"/>
                </a:lnTo>
                <a:close/>
                <a:moveTo>
                  <a:pt x="1735" y="1152"/>
                </a:moveTo>
                <a:lnTo>
                  <a:pt x="1735" y="1152"/>
                </a:lnTo>
                <a:cubicBezTo>
                  <a:pt x="1718" y="1126"/>
                  <a:pt x="1703" y="1096"/>
                  <a:pt x="1695" y="1062"/>
                </a:cubicBezTo>
                <a:cubicBezTo>
                  <a:pt x="1673" y="969"/>
                  <a:pt x="1694" y="859"/>
                  <a:pt x="1751" y="766"/>
                </a:cubicBezTo>
                <a:cubicBezTo>
                  <a:pt x="1706" y="728"/>
                  <a:pt x="1673" y="675"/>
                  <a:pt x="1662" y="613"/>
                </a:cubicBezTo>
                <a:cubicBezTo>
                  <a:pt x="1654" y="571"/>
                  <a:pt x="1657" y="527"/>
                  <a:pt x="1669" y="487"/>
                </a:cubicBezTo>
                <a:cubicBezTo>
                  <a:pt x="1679" y="454"/>
                  <a:pt x="1714" y="436"/>
                  <a:pt x="1747" y="446"/>
                </a:cubicBezTo>
                <a:cubicBezTo>
                  <a:pt x="1780" y="456"/>
                  <a:pt x="1799" y="491"/>
                  <a:pt x="1789" y="524"/>
                </a:cubicBezTo>
                <a:cubicBezTo>
                  <a:pt x="1782" y="546"/>
                  <a:pt x="1781" y="568"/>
                  <a:pt x="1785" y="590"/>
                </a:cubicBezTo>
                <a:cubicBezTo>
                  <a:pt x="1798" y="665"/>
                  <a:pt x="1870" y="715"/>
                  <a:pt x="1945" y="701"/>
                </a:cubicBezTo>
                <a:cubicBezTo>
                  <a:pt x="1955" y="699"/>
                  <a:pt x="1964" y="696"/>
                  <a:pt x="1973" y="693"/>
                </a:cubicBezTo>
                <a:cubicBezTo>
                  <a:pt x="2005" y="680"/>
                  <a:pt x="2041" y="695"/>
                  <a:pt x="2054" y="727"/>
                </a:cubicBezTo>
                <a:cubicBezTo>
                  <a:pt x="2067" y="759"/>
                  <a:pt x="2052" y="796"/>
                  <a:pt x="2020" y="809"/>
                </a:cubicBezTo>
                <a:cubicBezTo>
                  <a:pt x="2003" y="815"/>
                  <a:pt x="1986" y="821"/>
                  <a:pt x="1968" y="824"/>
                </a:cubicBezTo>
                <a:cubicBezTo>
                  <a:pt x="1952" y="827"/>
                  <a:pt x="1936" y="828"/>
                  <a:pt x="1920" y="828"/>
                </a:cubicBezTo>
                <a:cubicBezTo>
                  <a:pt x="1901" y="828"/>
                  <a:pt x="1882" y="825"/>
                  <a:pt x="1864" y="821"/>
                </a:cubicBezTo>
                <a:cubicBezTo>
                  <a:pt x="1820" y="888"/>
                  <a:pt x="1802" y="969"/>
                  <a:pt x="1817" y="1033"/>
                </a:cubicBezTo>
                <a:cubicBezTo>
                  <a:pt x="1827" y="1079"/>
                  <a:pt x="1860" y="1118"/>
                  <a:pt x="1885" y="1134"/>
                </a:cubicBezTo>
                <a:cubicBezTo>
                  <a:pt x="1894" y="1140"/>
                  <a:pt x="1900" y="1148"/>
                  <a:pt x="1905" y="1157"/>
                </a:cubicBezTo>
                <a:cubicBezTo>
                  <a:pt x="1918" y="1162"/>
                  <a:pt x="1931" y="1168"/>
                  <a:pt x="1944" y="1175"/>
                </a:cubicBezTo>
                <a:cubicBezTo>
                  <a:pt x="1980" y="1196"/>
                  <a:pt x="2012" y="1226"/>
                  <a:pt x="2034" y="1262"/>
                </a:cubicBezTo>
                <a:cubicBezTo>
                  <a:pt x="2053" y="1291"/>
                  <a:pt x="2044" y="1330"/>
                  <a:pt x="2015" y="1348"/>
                </a:cubicBezTo>
                <a:cubicBezTo>
                  <a:pt x="1985" y="1367"/>
                  <a:pt x="1947" y="1358"/>
                  <a:pt x="1928" y="1329"/>
                </a:cubicBezTo>
                <a:cubicBezTo>
                  <a:pt x="1917" y="1310"/>
                  <a:pt x="1901" y="1294"/>
                  <a:pt x="1881" y="1283"/>
                </a:cubicBezTo>
                <a:cubicBezTo>
                  <a:pt x="1815" y="1245"/>
                  <a:pt x="1731" y="1267"/>
                  <a:pt x="1692" y="1333"/>
                </a:cubicBezTo>
                <a:cubicBezTo>
                  <a:pt x="1688" y="1342"/>
                  <a:pt x="1684" y="1350"/>
                  <a:pt x="1681" y="1359"/>
                </a:cubicBezTo>
                <a:cubicBezTo>
                  <a:pt x="1672" y="1386"/>
                  <a:pt x="1648" y="1402"/>
                  <a:pt x="1621" y="1402"/>
                </a:cubicBezTo>
                <a:cubicBezTo>
                  <a:pt x="1615" y="1402"/>
                  <a:pt x="1608" y="1401"/>
                  <a:pt x="1602" y="1399"/>
                </a:cubicBezTo>
                <a:cubicBezTo>
                  <a:pt x="1569" y="1389"/>
                  <a:pt x="1551" y="1353"/>
                  <a:pt x="1562" y="1320"/>
                </a:cubicBezTo>
                <a:cubicBezTo>
                  <a:pt x="1568" y="1303"/>
                  <a:pt x="1575" y="1287"/>
                  <a:pt x="1584" y="1271"/>
                </a:cubicBezTo>
                <a:cubicBezTo>
                  <a:pt x="1619" y="1211"/>
                  <a:pt x="1674" y="1171"/>
                  <a:pt x="1735" y="1152"/>
                </a:cubicBezTo>
                <a:lnTo>
                  <a:pt x="1735" y="1152"/>
                </a:lnTo>
                <a:close/>
                <a:moveTo>
                  <a:pt x="2688" y="670"/>
                </a:moveTo>
                <a:lnTo>
                  <a:pt x="2688" y="670"/>
                </a:lnTo>
                <a:cubicBezTo>
                  <a:pt x="2684" y="692"/>
                  <a:pt x="2684" y="715"/>
                  <a:pt x="2691" y="736"/>
                </a:cubicBezTo>
                <a:cubicBezTo>
                  <a:pt x="2700" y="769"/>
                  <a:pt x="2681" y="804"/>
                  <a:pt x="2647" y="813"/>
                </a:cubicBezTo>
                <a:cubicBezTo>
                  <a:pt x="2642" y="815"/>
                  <a:pt x="2636" y="816"/>
                  <a:pt x="2630" y="816"/>
                </a:cubicBezTo>
                <a:cubicBezTo>
                  <a:pt x="2603" y="816"/>
                  <a:pt x="2578" y="798"/>
                  <a:pt x="2570" y="770"/>
                </a:cubicBezTo>
                <a:cubicBezTo>
                  <a:pt x="2559" y="730"/>
                  <a:pt x="2557" y="686"/>
                  <a:pt x="2566" y="645"/>
                </a:cubicBezTo>
                <a:cubicBezTo>
                  <a:pt x="2596" y="503"/>
                  <a:pt x="2735" y="412"/>
                  <a:pt x="2877" y="441"/>
                </a:cubicBezTo>
                <a:cubicBezTo>
                  <a:pt x="2895" y="445"/>
                  <a:pt x="2912" y="450"/>
                  <a:pt x="2929" y="458"/>
                </a:cubicBezTo>
                <a:cubicBezTo>
                  <a:pt x="2961" y="472"/>
                  <a:pt x="2975" y="509"/>
                  <a:pt x="2961" y="540"/>
                </a:cubicBezTo>
                <a:cubicBezTo>
                  <a:pt x="2947" y="572"/>
                  <a:pt x="2910" y="586"/>
                  <a:pt x="2879" y="572"/>
                </a:cubicBezTo>
                <a:cubicBezTo>
                  <a:pt x="2870" y="568"/>
                  <a:pt x="2861" y="565"/>
                  <a:pt x="2851" y="564"/>
                </a:cubicBezTo>
                <a:cubicBezTo>
                  <a:pt x="2777" y="548"/>
                  <a:pt x="2704" y="596"/>
                  <a:pt x="2688" y="670"/>
                </a:cubicBezTo>
                <a:lnTo>
                  <a:pt x="2688" y="670"/>
                </a:lnTo>
                <a:close/>
                <a:moveTo>
                  <a:pt x="3867" y="2836"/>
                </a:moveTo>
                <a:lnTo>
                  <a:pt x="3867" y="2836"/>
                </a:lnTo>
                <a:cubicBezTo>
                  <a:pt x="3842" y="2954"/>
                  <a:pt x="3799" y="3065"/>
                  <a:pt x="3741" y="3166"/>
                </a:cubicBezTo>
                <a:cubicBezTo>
                  <a:pt x="3740" y="3171"/>
                  <a:pt x="3738" y="3175"/>
                  <a:pt x="3737" y="3180"/>
                </a:cubicBezTo>
                <a:cubicBezTo>
                  <a:pt x="3733" y="3188"/>
                  <a:pt x="3727" y="3194"/>
                  <a:pt x="3721" y="3200"/>
                </a:cubicBezTo>
                <a:cubicBezTo>
                  <a:pt x="3606" y="3387"/>
                  <a:pt x="3437" y="3539"/>
                  <a:pt x="3233" y="3634"/>
                </a:cubicBezTo>
                <a:cubicBezTo>
                  <a:pt x="3229" y="3747"/>
                  <a:pt x="3192" y="3856"/>
                  <a:pt x="3124" y="3949"/>
                </a:cubicBezTo>
                <a:cubicBezTo>
                  <a:pt x="3034" y="4072"/>
                  <a:pt x="2902" y="4153"/>
                  <a:pt x="2752" y="4176"/>
                </a:cubicBezTo>
                <a:cubicBezTo>
                  <a:pt x="2723" y="4181"/>
                  <a:pt x="2693" y="4183"/>
                  <a:pt x="2664" y="4183"/>
                </a:cubicBezTo>
                <a:cubicBezTo>
                  <a:pt x="2590" y="4183"/>
                  <a:pt x="2516" y="4168"/>
                  <a:pt x="2447" y="4140"/>
                </a:cubicBezTo>
                <a:cubicBezTo>
                  <a:pt x="2442" y="4138"/>
                  <a:pt x="2439" y="4135"/>
                  <a:pt x="2435" y="4132"/>
                </a:cubicBezTo>
                <a:cubicBezTo>
                  <a:pt x="2429" y="4139"/>
                  <a:pt x="2422" y="4145"/>
                  <a:pt x="2412" y="4148"/>
                </a:cubicBezTo>
                <a:cubicBezTo>
                  <a:pt x="2343" y="4177"/>
                  <a:pt x="2270" y="4192"/>
                  <a:pt x="2195" y="4192"/>
                </a:cubicBezTo>
                <a:cubicBezTo>
                  <a:pt x="2166" y="4192"/>
                  <a:pt x="2137" y="4189"/>
                  <a:pt x="2108" y="4185"/>
                </a:cubicBezTo>
                <a:cubicBezTo>
                  <a:pt x="1957" y="4161"/>
                  <a:pt x="1825" y="4081"/>
                  <a:pt x="1735" y="3958"/>
                </a:cubicBezTo>
                <a:cubicBezTo>
                  <a:pt x="1669" y="3867"/>
                  <a:pt x="1631" y="3760"/>
                  <a:pt x="1626" y="3649"/>
                </a:cubicBezTo>
                <a:cubicBezTo>
                  <a:pt x="1626" y="3649"/>
                  <a:pt x="1625" y="3649"/>
                  <a:pt x="1625" y="3649"/>
                </a:cubicBezTo>
                <a:lnTo>
                  <a:pt x="1399" y="3525"/>
                </a:lnTo>
                <a:cubicBezTo>
                  <a:pt x="1090" y="3364"/>
                  <a:pt x="901" y="3035"/>
                  <a:pt x="917" y="2686"/>
                </a:cubicBezTo>
                <a:cubicBezTo>
                  <a:pt x="918" y="2651"/>
                  <a:pt x="947" y="2625"/>
                  <a:pt x="982" y="2626"/>
                </a:cubicBezTo>
                <a:cubicBezTo>
                  <a:pt x="1016" y="2628"/>
                  <a:pt x="1043" y="2657"/>
                  <a:pt x="1042" y="2692"/>
                </a:cubicBezTo>
                <a:cubicBezTo>
                  <a:pt x="1028" y="2992"/>
                  <a:pt x="1191" y="3276"/>
                  <a:pt x="1458" y="3415"/>
                </a:cubicBezTo>
                <a:lnTo>
                  <a:pt x="1637" y="3513"/>
                </a:lnTo>
                <a:cubicBezTo>
                  <a:pt x="1650" y="3445"/>
                  <a:pt x="1675" y="3381"/>
                  <a:pt x="1711" y="3322"/>
                </a:cubicBezTo>
                <a:cubicBezTo>
                  <a:pt x="1729" y="3293"/>
                  <a:pt x="1768" y="3284"/>
                  <a:pt x="1797" y="3302"/>
                </a:cubicBezTo>
                <a:cubicBezTo>
                  <a:pt x="1826" y="3320"/>
                  <a:pt x="1835" y="3359"/>
                  <a:pt x="1817" y="3388"/>
                </a:cubicBezTo>
                <a:cubicBezTo>
                  <a:pt x="1786" y="3439"/>
                  <a:pt x="1765" y="3494"/>
                  <a:pt x="1756" y="3554"/>
                </a:cubicBezTo>
                <a:cubicBezTo>
                  <a:pt x="1738" y="3671"/>
                  <a:pt x="1766" y="3788"/>
                  <a:pt x="1836" y="3884"/>
                </a:cubicBezTo>
                <a:cubicBezTo>
                  <a:pt x="1906" y="3980"/>
                  <a:pt x="2010" y="4043"/>
                  <a:pt x="2127" y="4061"/>
                </a:cubicBezTo>
                <a:cubicBezTo>
                  <a:pt x="2208" y="4074"/>
                  <a:pt x="2290" y="4064"/>
                  <a:pt x="2365" y="4033"/>
                </a:cubicBezTo>
                <a:cubicBezTo>
                  <a:pt x="2367" y="4032"/>
                  <a:pt x="2369" y="4032"/>
                  <a:pt x="2371" y="4032"/>
                </a:cubicBezTo>
                <a:lnTo>
                  <a:pt x="2371" y="3014"/>
                </a:lnTo>
                <a:cubicBezTo>
                  <a:pt x="2371" y="2980"/>
                  <a:pt x="2399" y="2952"/>
                  <a:pt x="2434" y="2952"/>
                </a:cubicBezTo>
                <a:cubicBezTo>
                  <a:pt x="2468" y="2952"/>
                  <a:pt x="2496" y="2980"/>
                  <a:pt x="2496" y="3014"/>
                </a:cubicBezTo>
                <a:lnTo>
                  <a:pt x="2496" y="4025"/>
                </a:lnTo>
                <a:cubicBezTo>
                  <a:pt x="2571" y="4055"/>
                  <a:pt x="2652" y="4065"/>
                  <a:pt x="2733" y="4053"/>
                </a:cubicBezTo>
                <a:cubicBezTo>
                  <a:pt x="2850" y="4034"/>
                  <a:pt x="2953" y="3971"/>
                  <a:pt x="3023" y="3876"/>
                </a:cubicBezTo>
                <a:cubicBezTo>
                  <a:pt x="3093" y="3780"/>
                  <a:pt x="3122" y="3662"/>
                  <a:pt x="3103" y="3545"/>
                </a:cubicBezTo>
                <a:cubicBezTo>
                  <a:pt x="3094" y="3486"/>
                  <a:pt x="3074" y="3430"/>
                  <a:pt x="3042" y="3380"/>
                </a:cubicBezTo>
                <a:cubicBezTo>
                  <a:pt x="3024" y="3350"/>
                  <a:pt x="3033" y="3312"/>
                  <a:pt x="3063" y="3294"/>
                </a:cubicBezTo>
                <a:cubicBezTo>
                  <a:pt x="3092" y="3275"/>
                  <a:pt x="3130" y="3284"/>
                  <a:pt x="3149" y="3314"/>
                </a:cubicBezTo>
                <a:cubicBezTo>
                  <a:pt x="3184" y="3371"/>
                  <a:pt x="3208" y="3434"/>
                  <a:pt x="3222" y="3501"/>
                </a:cubicBezTo>
                <a:cubicBezTo>
                  <a:pt x="3391" y="3412"/>
                  <a:pt x="3531" y="3278"/>
                  <a:pt x="3626" y="3115"/>
                </a:cubicBezTo>
                <a:cubicBezTo>
                  <a:pt x="3631" y="3099"/>
                  <a:pt x="3634" y="3082"/>
                  <a:pt x="3633" y="3065"/>
                </a:cubicBezTo>
                <a:cubicBezTo>
                  <a:pt x="3631" y="3028"/>
                  <a:pt x="3614" y="2994"/>
                  <a:pt x="3586" y="2970"/>
                </a:cubicBezTo>
                <a:cubicBezTo>
                  <a:pt x="3558" y="2946"/>
                  <a:pt x="3522" y="2935"/>
                  <a:pt x="3486" y="2937"/>
                </a:cubicBezTo>
                <a:cubicBezTo>
                  <a:pt x="3476" y="2938"/>
                  <a:pt x="3467" y="2939"/>
                  <a:pt x="3458" y="2942"/>
                </a:cubicBezTo>
                <a:cubicBezTo>
                  <a:pt x="3425" y="2951"/>
                  <a:pt x="3390" y="2932"/>
                  <a:pt x="3380" y="2899"/>
                </a:cubicBezTo>
                <a:cubicBezTo>
                  <a:pt x="3371" y="2866"/>
                  <a:pt x="3390" y="2831"/>
                  <a:pt x="3423" y="2822"/>
                </a:cubicBezTo>
                <a:cubicBezTo>
                  <a:pt x="3441" y="2817"/>
                  <a:pt x="3459" y="2814"/>
                  <a:pt x="3477" y="2812"/>
                </a:cubicBezTo>
                <a:cubicBezTo>
                  <a:pt x="3547" y="2807"/>
                  <a:pt x="3615" y="2830"/>
                  <a:pt x="3668" y="2876"/>
                </a:cubicBezTo>
                <a:cubicBezTo>
                  <a:pt x="3685" y="2891"/>
                  <a:pt x="3700" y="2909"/>
                  <a:pt x="3712" y="2928"/>
                </a:cubicBezTo>
                <a:cubicBezTo>
                  <a:pt x="3725" y="2890"/>
                  <a:pt x="3736" y="2851"/>
                  <a:pt x="3744" y="2811"/>
                </a:cubicBezTo>
                <a:cubicBezTo>
                  <a:pt x="3751" y="2777"/>
                  <a:pt x="3784" y="2755"/>
                  <a:pt x="3818" y="2762"/>
                </a:cubicBezTo>
                <a:cubicBezTo>
                  <a:pt x="3852" y="2770"/>
                  <a:pt x="3874" y="2803"/>
                  <a:pt x="3867" y="2836"/>
                </a:cubicBezTo>
                <a:lnTo>
                  <a:pt x="3867" y="2836"/>
                </a:lnTo>
                <a:close/>
                <a:moveTo>
                  <a:pt x="684" y="1549"/>
                </a:moveTo>
                <a:lnTo>
                  <a:pt x="684" y="1549"/>
                </a:lnTo>
                <a:cubicBezTo>
                  <a:pt x="714" y="1311"/>
                  <a:pt x="890" y="1118"/>
                  <a:pt x="1123" y="1065"/>
                </a:cubicBezTo>
                <a:cubicBezTo>
                  <a:pt x="1053" y="598"/>
                  <a:pt x="1359" y="150"/>
                  <a:pt x="1827" y="52"/>
                </a:cubicBezTo>
                <a:cubicBezTo>
                  <a:pt x="2018" y="13"/>
                  <a:pt x="2255" y="0"/>
                  <a:pt x="2440" y="224"/>
                </a:cubicBezTo>
                <a:cubicBezTo>
                  <a:pt x="2579" y="99"/>
                  <a:pt x="2797" y="44"/>
                  <a:pt x="3005" y="87"/>
                </a:cubicBezTo>
                <a:cubicBezTo>
                  <a:pt x="3240" y="136"/>
                  <a:pt x="3442" y="274"/>
                  <a:pt x="3573" y="475"/>
                </a:cubicBezTo>
                <a:cubicBezTo>
                  <a:pt x="3695" y="662"/>
                  <a:pt x="3742" y="882"/>
                  <a:pt x="3709" y="1100"/>
                </a:cubicBezTo>
                <a:cubicBezTo>
                  <a:pt x="3921" y="1148"/>
                  <a:pt x="4088" y="1314"/>
                  <a:pt x="4138" y="1526"/>
                </a:cubicBezTo>
                <a:cubicBezTo>
                  <a:pt x="4146" y="1559"/>
                  <a:pt x="4125" y="1593"/>
                  <a:pt x="4091" y="1601"/>
                </a:cubicBezTo>
                <a:cubicBezTo>
                  <a:pt x="4086" y="1602"/>
                  <a:pt x="4081" y="1602"/>
                  <a:pt x="4077" y="1602"/>
                </a:cubicBezTo>
                <a:cubicBezTo>
                  <a:pt x="4048" y="1603"/>
                  <a:pt x="4023" y="1583"/>
                  <a:pt x="4016" y="1554"/>
                </a:cubicBezTo>
                <a:cubicBezTo>
                  <a:pt x="3977" y="1386"/>
                  <a:pt x="3843" y="1255"/>
                  <a:pt x="3674" y="1220"/>
                </a:cubicBezTo>
                <a:cubicBezTo>
                  <a:pt x="3615" y="1207"/>
                  <a:pt x="3556" y="1207"/>
                  <a:pt x="3498" y="1218"/>
                </a:cubicBezTo>
                <a:cubicBezTo>
                  <a:pt x="3463" y="1225"/>
                  <a:pt x="3431" y="1203"/>
                  <a:pt x="3424" y="1169"/>
                </a:cubicBezTo>
                <a:cubicBezTo>
                  <a:pt x="3417" y="1135"/>
                  <a:pt x="3440" y="1102"/>
                  <a:pt x="3473" y="1096"/>
                </a:cubicBezTo>
                <a:cubicBezTo>
                  <a:pt x="3510" y="1089"/>
                  <a:pt x="3548" y="1085"/>
                  <a:pt x="3585" y="1085"/>
                </a:cubicBezTo>
                <a:cubicBezTo>
                  <a:pt x="3614" y="896"/>
                  <a:pt x="3574" y="705"/>
                  <a:pt x="3469" y="544"/>
                </a:cubicBezTo>
                <a:cubicBezTo>
                  <a:pt x="3355" y="371"/>
                  <a:pt x="3181" y="252"/>
                  <a:pt x="2979" y="210"/>
                </a:cubicBezTo>
                <a:cubicBezTo>
                  <a:pt x="2797" y="171"/>
                  <a:pt x="2600" y="227"/>
                  <a:pt x="2495" y="345"/>
                </a:cubicBezTo>
                <a:cubicBezTo>
                  <a:pt x="2495" y="346"/>
                  <a:pt x="2496" y="348"/>
                  <a:pt x="2496" y="349"/>
                </a:cubicBezTo>
                <a:lnTo>
                  <a:pt x="2496" y="954"/>
                </a:lnTo>
                <a:cubicBezTo>
                  <a:pt x="2496" y="988"/>
                  <a:pt x="2468" y="1016"/>
                  <a:pt x="2434" y="1016"/>
                </a:cubicBezTo>
                <a:cubicBezTo>
                  <a:pt x="2399" y="1016"/>
                  <a:pt x="2371" y="988"/>
                  <a:pt x="2371" y="954"/>
                </a:cubicBezTo>
                <a:lnTo>
                  <a:pt x="2371" y="349"/>
                </a:lnTo>
                <a:cubicBezTo>
                  <a:pt x="2371" y="347"/>
                  <a:pt x="2372" y="345"/>
                  <a:pt x="2372" y="342"/>
                </a:cubicBezTo>
                <a:cubicBezTo>
                  <a:pt x="2226" y="130"/>
                  <a:pt x="2036" y="136"/>
                  <a:pt x="1853" y="175"/>
                </a:cubicBezTo>
                <a:cubicBezTo>
                  <a:pt x="1449" y="259"/>
                  <a:pt x="1185" y="647"/>
                  <a:pt x="1247" y="1050"/>
                </a:cubicBezTo>
                <a:cubicBezTo>
                  <a:pt x="1284" y="1050"/>
                  <a:pt x="1322" y="1054"/>
                  <a:pt x="1359" y="1061"/>
                </a:cubicBezTo>
                <a:cubicBezTo>
                  <a:pt x="1392" y="1067"/>
                  <a:pt x="1415" y="1100"/>
                  <a:pt x="1408" y="1134"/>
                </a:cubicBezTo>
                <a:cubicBezTo>
                  <a:pt x="1401" y="1168"/>
                  <a:pt x="1369" y="1190"/>
                  <a:pt x="1334" y="1183"/>
                </a:cubicBezTo>
                <a:cubicBezTo>
                  <a:pt x="1276" y="1172"/>
                  <a:pt x="1217" y="1172"/>
                  <a:pt x="1158" y="1185"/>
                </a:cubicBezTo>
                <a:cubicBezTo>
                  <a:pt x="972" y="1223"/>
                  <a:pt x="832" y="1376"/>
                  <a:pt x="808" y="1564"/>
                </a:cubicBezTo>
                <a:cubicBezTo>
                  <a:pt x="804" y="1596"/>
                  <a:pt x="777" y="1619"/>
                  <a:pt x="746" y="1619"/>
                </a:cubicBezTo>
                <a:cubicBezTo>
                  <a:pt x="743" y="1619"/>
                  <a:pt x="741" y="1619"/>
                  <a:pt x="738" y="1618"/>
                </a:cubicBezTo>
                <a:cubicBezTo>
                  <a:pt x="704" y="1614"/>
                  <a:pt x="680" y="1583"/>
                  <a:pt x="684" y="1549"/>
                </a:cubicBezTo>
                <a:lnTo>
                  <a:pt x="684" y="1549"/>
                </a:lnTo>
                <a:close/>
                <a:moveTo>
                  <a:pt x="2701" y="1921"/>
                </a:moveTo>
                <a:lnTo>
                  <a:pt x="2701" y="1921"/>
                </a:lnTo>
                <a:lnTo>
                  <a:pt x="2701" y="2512"/>
                </a:lnTo>
                <a:cubicBezTo>
                  <a:pt x="2701" y="2547"/>
                  <a:pt x="2673" y="2576"/>
                  <a:pt x="2638" y="2576"/>
                </a:cubicBezTo>
                <a:lnTo>
                  <a:pt x="2219" y="2576"/>
                </a:lnTo>
                <a:cubicBezTo>
                  <a:pt x="2184" y="2576"/>
                  <a:pt x="2156" y="2547"/>
                  <a:pt x="2156" y="2512"/>
                </a:cubicBezTo>
                <a:lnTo>
                  <a:pt x="2156" y="1921"/>
                </a:lnTo>
                <a:cubicBezTo>
                  <a:pt x="2156" y="1886"/>
                  <a:pt x="2184" y="1857"/>
                  <a:pt x="2219" y="1857"/>
                </a:cubicBezTo>
                <a:lnTo>
                  <a:pt x="2638" y="1857"/>
                </a:lnTo>
                <a:cubicBezTo>
                  <a:pt x="2673" y="1857"/>
                  <a:pt x="2701" y="1886"/>
                  <a:pt x="2701" y="1921"/>
                </a:cubicBezTo>
                <a:lnTo>
                  <a:pt x="2701" y="1921"/>
                </a:lnTo>
                <a:close/>
                <a:moveTo>
                  <a:pt x="201" y="2078"/>
                </a:moveTo>
                <a:lnTo>
                  <a:pt x="201" y="2078"/>
                </a:lnTo>
                <a:cubicBezTo>
                  <a:pt x="201" y="2107"/>
                  <a:pt x="177" y="2130"/>
                  <a:pt x="149" y="2130"/>
                </a:cubicBezTo>
                <a:lnTo>
                  <a:pt x="141" y="2130"/>
                </a:lnTo>
                <a:cubicBezTo>
                  <a:pt x="113" y="2130"/>
                  <a:pt x="90" y="2107"/>
                  <a:pt x="90" y="2078"/>
                </a:cubicBezTo>
                <a:lnTo>
                  <a:pt x="90" y="2070"/>
                </a:lnTo>
                <a:cubicBezTo>
                  <a:pt x="90" y="2042"/>
                  <a:pt x="113" y="2019"/>
                  <a:pt x="141" y="2019"/>
                </a:cubicBezTo>
                <a:lnTo>
                  <a:pt x="149" y="2019"/>
                </a:lnTo>
                <a:cubicBezTo>
                  <a:pt x="177" y="2019"/>
                  <a:pt x="201" y="2042"/>
                  <a:pt x="201" y="2070"/>
                </a:cubicBezTo>
                <a:lnTo>
                  <a:pt x="201" y="2078"/>
                </a:lnTo>
                <a:lnTo>
                  <a:pt x="201" y="2078"/>
                </a:lnTo>
                <a:close/>
                <a:moveTo>
                  <a:pt x="1581" y="2123"/>
                </a:moveTo>
                <a:lnTo>
                  <a:pt x="1581" y="2123"/>
                </a:lnTo>
                <a:cubicBezTo>
                  <a:pt x="1600" y="2164"/>
                  <a:pt x="1641" y="2192"/>
                  <a:pt x="1688" y="2192"/>
                </a:cubicBezTo>
                <a:cubicBezTo>
                  <a:pt x="1753" y="2192"/>
                  <a:pt x="1806" y="2139"/>
                  <a:pt x="1806" y="2074"/>
                </a:cubicBezTo>
                <a:cubicBezTo>
                  <a:pt x="1806" y="2009"/>
                  <a:pt x="1753" y="1957"/>
                  <a:pt x="1688" y="1957"/>
                </a:cubicBezTo>
                <a:cubicBezTo>
                  <a:pt x="1640" y="1957"/>
                  <a:pt x="1599" y="1985"/>
                  <a:pt x="1581" y="2027"/>
                </a:cubicBezTo>
                <a:lnTo>
                  <a:pt x="283" y="2027"/>
                </a:lnTo>
                <a:cubicBezTo>
                  <a:pt x="265" y="1970"/>
                  <a:pt x="212" y="1929"/>
                  <a:pt x="149" y="1929"/>
                </a:cubicBezTo>
                <a:lnTo>
                  <a:pt x="141" y="1929"/>
                </a:lnTo>
                <a:cubicBezTo>
                  <a:pt x="63" y="1929"/>
                  <a:pt x="0" y="1992"/>
                  <a:pt x="0" y="2070"/>
                </a:cubicBezTo>
                <a:lnTo>
                  <a:pt x="0" y="2078"/>
                </a:lnTo>
                <a:cubicBezTo>
                  <a:pt x="0" y="2157"/>
                  <a:pt x="63" y="2220"/>
                  <a:pt x="141" y="2220"/>
                </a:cubicBezTo>
                <a:lnTo>
                  <a:pt x="149" y="2220"/>
                </a:lnTo>
                <a:cubicBezTo>
                  <a:pt x="212" y="2220"/>
                  <a:pt x="264" y="2179"/>
                  <a:pt x="283" y="2123"/>
                </a:cubicBezTo>
                <a:lnTo>
                  <a:pt x="1581" y="2123"/>
                </a:lnTo>
                <a:lnTo>
                  <a:pt x="1581" y="2123"/>
                </a:lnTo>
                <a:close/>
                <a:moveTo>
                  <a:pt x="483" y="2817"/>
                </a:moveTo>
                <a:lnTo>
                  <a:pt x="483" y="2817"/>
                </a:lnTo>
                <a:cubicBezTo>
                  <a:pt x="483" y="2845"/>
                  <a:pt x="460" y="2868"/>
                  <a:pt x="431" y="2868"/>
                </a:cubicBezTo>
                <a:lnTo>
                  <a:pt x="423" y="2868"/>
                </a:lnTo>
                <a:cubicBezTo>
                  <a:pt x="395" y="2868"/>
                  <a:pt x="372" y="2845"/>
                  <a:pt x="372" y="2817"/>
                </a:cubicBezTo>
                <a:lnTo>
                  <a:pt x="372" y="2809"/>
                </a:lnTo>
                <a:cubicBezTo>
                  <a:pt x="372" y="2781"/>
                  <a:pt x="395" y="2758"/>
                  <a:pt x="423" y="2758"/>
                </a:cubicBezTo>
                <a:lnTo>
                  <a:pt x="431" y="2758"/>
                </a:lnTo>
                <a:cubicBezTo>
                  <a:pt x="460" y="2758"/>
                  <a:pt x="483" y="2781"/>
                  <a:pt x="483" y="2809"/>
                </a:cubicBezTo>
                <a:lnTo>
                  <a:pt x="483" y="2817"/>
                </a:lnTo>
                <a:lnTo>
                  <a:pt x="483" y="2817"/>
                </a:lnTo>
                <a:close/>
                <a:moveTo>
                  <a:pt x="476" y="2675"/>
                </a:moveTo>
                <a:lnTo>
                  <a:pt x="476" y="2675"/>
                </a:lnTo>
                <a:lnTo>
                  <a:pt x="476" y="2523"/>
                </a:lnTo>
                <a:cubicBezTo>
                  <a:pt x="476" y="2513"/>
                  <a:pt x="484" y="2504"/>
                  <a:pt x="495" y="2504"/>
                </a:cubicBezTo>
                <a:lnTo>
                  <a:pt x="1535" y="2504"/>
                </a:lnTo>
                <a:cubicBezTo>
                  <a:pt x="1554" y="2545"/>
                  <a:pt x="1595" y="2574"/>
                  <a:pt x="1643" y="2574"/>
                </a:cubicBezTo>
                <a:cubicBezTo>
                  <a:pt x="1708" y="2574"/>
                  <a:pt x="1760" y="2521"/>
                  <a:pt x="1760" y="2456"/>
                </a:cubicBezTo>
                <a:cubicBezTo>
                  <a:pt x="1760" y="2391"/>
                  <a:pt x="1708" y="2338"/>
                  <a:pt x="1643" y="2338"/>
                </a:cubicBezTo>
                <a:cubicBezTo>
                  <a:pt x="1595" y="2338"/>
                  <a:pt x="1554" y="2367"/>
                  <a:pt x="1535" y="2408"/>
                </a:cubicBezTo>
                <a:lnTo>
                  <a:pt x="495" y="2408"/>
                </a:lnTo>
                <a:cubicBezTo>
                  <a:pt x="431" y="2408"/>
                  <a:pt x="379" y="2460"/>
                  <a:pt x="379" y="2523"/>
                </a:cubicBezTo>
                <a:lnTo>
                  <a:pt x="379" y="2675"/>
                </a:lnTo>
                <a:cubicBezTo>
                  <a:pt x="323" y="2693"/>
                  <a:pt x="282" y="2746"/>
                  <a:pt x="282" y="2809"/>
                </a:cubicBezTo>
                <a:lnTo>
                  <a:pt x="282" y="2817"/>
                </a:lnTo>
                <a:cubicBezTo>
                  <a:pt x="282" y="2895"/>
                  <a:pt x="345" y="2959"/>
                  <a:pt x="423" y="2959"/>
                </a:cubicBezTo>
                <a:lnTo>
                  <a:pt x="431" y="2959"/>
                </a:lnTo>
                <a:cubicBezTo>
                  <a:pt x="509" y="2959"/>
                  <a:pt x="573" y="2895"/>
                  <a:pt x="573" y="2817"/>
                </a:cubicBezTo>
                <a:lnTo>
                  <a:pt x="573" y="2809"/>
                </a:lnTo>
                <a:cubicBezTo>
                  <a:pt x="573" y="2746"/>
                  <a:pt x="532" y="2693"/>
                  <a:pt x="476" y="2675"/>
                </a:cubicBezTo>
                <a:lnTo>
                  <a:pt x="476" y="2675"/>
                </a:lnTo>
                <a:close/>
                <a:moveTo>
                  <a:pt x="4289" y="1278"/>
                </a:moveTo>
                <a:lnTo>
                  <a:pt x="4289" y="1278"/>
                </a:lnTo>
                <a:cubicBezTo>
                  <a:pt x="4289" y="1250"/>
                  <a:pt x="4312" y="1227"/>
                  <a:pt x="4340" y="1227"/>
                </a:cubicBezTo>
                <a:lnTo>
                  <a:pt x="4348" y="1227"/>
                </a:lnTo>
                <a:cubicBezTo>
                  <a:pt x="4376" y="1227"/>
                  <a:pt x="4399" y="1250"/>
                  <a:pt x="4399" y="1278"/>
                </a:cubicBezTo>
                <a:lnTo>
                  <a:pt x="4399" y="1286"/>
                </a:lnTo>
                <a:cubicBezTo>
                  <a:pt x="4399" y="1314"/>
                  <a:pt x="4376" y="1337"/>
                  <a:pt x="4348" y="1337"/>
                </a:cubicBezTo>
                <a:lnTo>
                  <a:pt x="4340" y="1337"/>
                </a:lnTo>
                <a:cubicBezTo>
                  <a:pt x="4312" y="1337"/>
                  <a:pt x="4289" y="1314"/>
                  <a:pt x="4289" y="1286"/>
                </a:cubicBezTo>
                <a:lnTo>
                  <a:pt x="4289" y="1278"/>
                </a:lnTo>
                <a:lnTo>
                  <a:pt x="4289" y="1278"/>
                </a:lnTo>
                <a:close/>
                <a:moveTo>
                  <a:pt x="4295" y="1420"/>
                </a:moveTo>
                <a:lnTo>
                  <a:pt x="4295" y="1420"/>
                </a:lnTo>
                <a:lnTo>
                  <a:pt x="4295" y="1790"/>
                </a:lnTo>
                <a:cubicBezTo>
                  <a:pt x="4295" y="1800"/>
                  <a:pt x="4287" y="1809"/>
                  <a:pt x="4276" y="1809"/>
                </a:cubicBezTo>
                <a:lnTo>
                  <a:pt x="3370" y="1809"/>
                </a:lnTo>
                <a:cubicBezTo>
                  <a:pt x="3351" y="1768"/>
                  <a:pt x="3310" y="1739"/>
                  <a:pt x="3262" y="1739"/>
                </a:cubicBezTo>
                <a:cubicBezTo>
                  <a:pt x="3197" y="1739"/>
                  <a:pt x="3145" y="1792"/>
                  <a:pt x="3145" y="1857"/>
                </a:cubicBezTo>
                <a:cubicBezTo>
                  <a:pt x="3145" y="1922"/>
                  <a:pt x="3197" y="1975"/>
                  <a:pt x="3262" y="1975"/>
                </a:cubicBezTo>
                <a:cubicBezTo>
                  <a:pt x="3310" y="1975"/>
                  <a:pt x="3351" y="1946"/>
                  <a:pt x="3370" y="1905"/>
                </a:cubicBezTo>
                <a:lnTo>
                  <a:pt x="4276" y="1905"/>
                </a:lnTo>
                <a:cubicBezTo>
                  <a:pt x="4340" y="1905"/>
                  <a:pt x="4392" y="1854"/>
                  <a:pt x="4392" y="1790"/>
                </a:cubicBezTo>
                <a:lnTo>
                  <a:pt x="4392" y="1420"/>
                </a:lnTo>
                <a:cubicBezTo>
                  <a:pt x="4448" y="1402"/>
                  <a:pt x="4490" y="1349"/>
                  <a:pt x="4490" y="1286"/>
                </a:cubicBezTo>
                <a:lnTo>
                  <a:pt x="4490" y="1278"/>
                </a:lnTo>
                <a:cubicBezTo>
                  <a:pt x="4490" y="1200"/>
                  <a:pt x="4426" y="1136"/>
                  <a:pt x="4348" y="1136"/>
                </a:cubicBezTo>
                <a:lnTo>
                  <a:pt x="4340" y="1136"/>
                </a:lnTo>
                <a:cubicBezTo>
                  <a:pt x="4262" y="1136"/>
                  <a:pt x="4198" y="1200"/>
                  <a:pt x="4198" y="1278"/>
                </a:cubicBezTo>
                <a:lnTo>
                  <a:pt x="4198" y="1286"/>
                </a:lnTo>
                <a:cubicBezTo>
                  <a:pt x="4198" y="1349"/>
                  <a:pt x="4239" y="1402"/>
                  <a:pt x="4295" y="1420"/>
                </a:cubicBezTo>
                <a:lnTo>
                  <a:pt x="4295" y="1420"/>
                </a:lnTo>
                <a:close/>
                <a:moveTo>
                  <a:pt x="4368" y="2837"/>
                </a:moveTo>
                <a:lnTo>
                  <a:pt x="4368" y="2837"/>
                </a:lnTo>
                <a:cubicBezTo>
                  <a:pt x="4368" y="2865"/>
                  <a:pt x="4345" y="2888"/>
                  <a:pt x="4317" y="2888"/>
                </a:cubicBezTo>
                <a:lnTo>
                  <a:pt x="4309" y="2888"/>
                </a:lnTo>
                <a:cubicBezTo>
                  <a:pt x="4281" y="2888"/>
                  <a:pt x="4258" y="2865"/>
                  <a:pt x="4258" y="2837"/>
                </a:cubicBezTo>
                <a:lnTo>
                  <a:pt x="4258" y="2829"/>
                </a:lnTo>
                <a:cubicBezTo>
                  <a:pt x="4258" y="2801"/>
                  <a:pt x="4281" y="2778"/>
                  <a:pt x="4309" y="2778"/>
                </a:cubicBezTo>
                <a:lnTo>
                  <a:pt x="4317" y="2778"/>
                </a:lnTo>
                <a:cubicBezTo>
                  <a:pt x="4345" y="2778"/>
                  <a:pt x="4368" y="2801"/>
                  <a:pt x="4368" y="2829"/>
                </a:cubicBezTo>
                <a:lnTo>
                  <a:pt x="4368" y="2837"/>
                </a:lnTo>
                <a:lnTo>
                  <a:pt x="4368" y="2837"/>
                </a:lnTo>
                <a:close/>
                <a:moveTo>
                  <a:pt x="4361" y="2695"/>
                </a:moveTo>
                <a:lnTo>
                  <a:pt x="4361" y="2695"/>
                </a:lnTo>
                <a:lnTo>
                  <a:pt x="4361" y="2544"/>
                </a:lnTo>
                <a:cubicBezTo>
                  <a:pt x="4361" y="2480"/>
                  <a:pt x="4309" y="2428"/>
                  <a:pt x="4246" y="2428"/>
                </a:cubicBezTo>
                <a:lnTo>
                  <a:pt x="3370" y="2428"/>
                </a:lnTo>
                <a:cubicBezTo>
                  <a:pt x="3351" y="2387"/>
                  <a:pt x="3310" y="2358"/>
                  <a:pt x="3262" y="2358"/>
                </a:cubicBezTo>
                <a:cubicBezTo>
                  <a:pt x="3197" y="2358"/>
                  <a:pt x="3145" y="2411"/>
                  <a:pt x="3145" y="2476"/>
                </a:cubicBezTo>
                <a:cubicBezTo>
                  <a:pt x="3145" y="2541"/>
                  <a:pt x="3197" y="2594"/>
                  <a:pt x="3262" y="2594"/>
                </a:cubicBezTo>
                <a:cubicBezTo>
                  <a:pt x="3310" y="2594"/>
                  <a:pt x="3351" y="2566"/>
                  <a:pt x="3370" y="2525"/>
                </a:cubicBezTo>
                <a:lnTo>
                  <a:pt x="4246" y="2525"/>
                </a:lnTo>
                <a:cubicBezTo>
                  <a:pt x="4256" y="2525"/>
                  <a:pt x="4265" y="2533"/>
                  <a:pt x="4265" y="2544"/>
                </a:cubicBezTo>
                <a:lnTo>
                  <a:pt x="4265" y="2695"/>
                </a:lnTo>
                <a:cubicBezTo>
                  <a:pt x="4208" y="2714"/>
                  <a:pt x="4167" y="2766"/>
                  <a:pt x="4167" y="2829"/>
                </a:cubicBezTo>
                <a:lnTo>
                  <a:pt x="4167" y="2837"/>
                </a:lnTo>
                <a:cubicBezTo>
                  <a:pt x="4167" y="2915"/>
                  <a:pt x="4231" y="2979"/>
                  <a:pt x="4309" y="2979"/>
                </a:cubicBezTo>
                <a:lnTo>
                  <a:pt x="4317" y="2979"/>
                </a:lnTo>
                <a:cubicBezTo>
                  <a:pt x="4395" y="2979"/>
                  <a:pt x="4459" y="2915"/>
                  <a:pt x="4459" y="2837"/>
                </a:cubicBezTo>
                <a:lnTo>
                  <a:pt x="4459" y="2829"/>
                </a:lnTo>
                <a:cubicBezTo>
                  <a:pt x="4459" y="2766"/>
                  <a:pt x="4418" y="2714"/>
                  <a:pt x="4361" y="2695"/>
                </a:cubicBezTo>
                <a:lnTo>
                  <a:pt x="4361" y="2695"/>
                </a:lnTo>
                <a:close/>
                <a:moveTo>
                  <a:pt x="4709" y="2159"/>
                </a:moveTo>
                <a:lnTo>
                  <a:pt x="4709" y="2159"/>
                </a:lnTo>
                <a:cubicBezTo>
                  <a:pt x="4709" y="2188"/>
                  <a:pt x="4686" y="2211"/>
                  <a:pt x="4658" y="2211"/>
                </a:cubicBezTo>
                <a:lnTo>
                  <a:pt x="4650" y="2211"/>
                </a:lnTo>
                <a:cubicBezTo>
                  <a:pt x="4622" y="2211"/>
                  <a:pt x="4599" y="2188"/>
                  <a:pt x="4599" y="2159"/>
                </a:cubicBezTo>
                <a:lnTo>
                  <a:pt x="4599" y="2151"/>
                </a:lnTo>
                <a:cubicBezTo>
                  <a:pt x="4599" y="2123"/>
                  <a:pt x="4622" y="2100"/>
                  <a:pt x="4650" y="2100"/>
                </a:cubicBezTo>
                <a:lnTo>
                  <a:pt x="4658" y="2100"/>
                </a:lnTo>
                <a:cubicBezTo>
                  <a:pt x="4686" y="2100"/>
                  <a:pt x="4709" y="2123"/>
                  <a:pt x="4709" y="2151"/>
                </a:cubicBezTo>
                <a:lnTo>
                  <a:pt x="4709" y="2159"/>
                </a:lnTo>
                <a:lnTo>
                  <a:pt x="4709" y="2159"/>
                </a:lnTo>
                <a:close/>
                <a:moveTo>
                  <a:pt x="4658" y="2010"/>
                </a:moveTo>
                <a:lnTo>
                  <a:pt x="4658" y="2010"/>
                </a:lnTo>
                <a:lnTo>
                  <a:pt x="4650" y="2010"/>
                </a:lnTo>
                <a:cubicBezTo>
                  <a:pt x="4586" y="2010"/>
                  <a:pt x="4532" y="2053"/>
                  <a:pt x="4514" y="2111"/>
                </a:cubicBezTo>
                <a:lnTo>
                  <a:pt x="3214" y="2111"/>
                </a:lnTo>
                <a:cubicBezTo>
                  <a:pt x="3197" y="2068"/>
                  <a:pt x="3154" y="2037"/>
                  <a:pt x="3105" y="2037"/>
                </a:cubicBezTo>
                <a:cubicBezTo>
                  <a:pt x="3040" y="2037"/>
                  <a:pt x="2987" y="2090"/>
                  <a:pt x="2987" y="2155"/>
                </a:cubicBezTo>
                <a:cubicBezTo>
                  <a:pt x="2987" y="2220"/>
                  <a:pt x="3040" y="2273"/>
                  <a:pt x="3105" y="2273"/>
                </a:cubicBezTo>
                <a:cubicBezTo>
                  <a:pt x="3151" y="2273"/>
                  <a:pt x="3191" y="2246"/>
                  <a:pt x="3210" y="2208"/>
                </a:cubicBezTo>
                <a:lnTo>
                  <a:pt x="4517" y="2208"/>
                </a:lnTo>
                <a:cubicBezTo>
                  <a:pt x="4537" y="2262"/>
                  <a:pt x="4589" y="2301"/>
                  <a:pt x="4650" y="2301"/>
                </a:cubicBezTo>
                <a:lnTo>
                  <a:pt x="4658" y="2301"/>
                </a:lnTo>
                <a:cubicBezTo>
                  <a:pt x="4736" y="2301"/>
                  <a:pt x="4800" y="2238"/>
                  <a:pt x="4800" y="2159"/>
                </a:cubicBezTo>
                <a:lnTo>
                  <a:pt x="4800" y="2151"/>
                </a:lnTo>
                <a:cubicBezTo>
                  <a:pt x="4800" y="2073"/>
                  <a:pt x="4736" y="2010"/>
                  <a:pt x="4658" y="2010"/>
                </a:cubicBezTo>
                <a:lnTo>
                  <a:pt x="4658" y="2010"/>
                </a:lnTo>
                <a:close/>
                <a:moveTo>
                  <a:pt x="309" y="1805"/>
                </a:moveTo>
                <a:lnTo>
                  <a:pt x="309" y="1805"/>
                </a:lnTo>
                <a:cubicBezTo>
                  <a:pt x="309" y="1777"/>
                  <a:pt x="332" y="1754"/>
                  <a:pt x="360" y="1754"/>
                </a:cubicBezTo>
                <a:lnTo>
                  <a:pt x="368" y="1754"/>
                </a:lnTo>
                <a:cubicBezTo>
                  <a:pt x="396" y="1754"/>
                  <a:pt x="419" y="1777"/>
                  <a:pt x="419" y="1805"/>
                </a:cubicBezTo>
                <a:lnTo>
                  <a:pt x="419" y="1813"/>
                </a:lnTo>
                <a:cubicBezTo>
                  <a:pt x="419" y="1841"/>
                  <a:pt x="396" y="1864"/>
                  <a:pt x="368" y="1864"/>
                </a:cubicBezTo>
                <a:lnTo>
                  <a:pt x="360" y="1864"/>
                </a:lnTo>
                <a:cubicBezTo>
                  <a:pt x="332" y="1864"/>
                  <a:pt x="309" y="1841"/>
                  <a:pt x="309" y="1813"/>
                </a:cubicBezTo>
                <a:lnTo>
                  <a:pt x="309" y="1805"/>
                </a:lnTo>
                <a:lnTo>
                  <a:pt x="309" y="1805"/>
                </a:lnTo>
                <a:close/>
                <a:moveTo>
                  <a:pt x="360" y="1955"/>
                </a:moveTo>
                <a:lnTo>
                  <a:pt x="360" y="1955"/>
                </a:lnTo>
                <a:lnTo>
                  <a:pt x="368" y="1955"/>
                </a:lnTo>
                <a:cubicBezTo>
                  <a:pt x="431" y="1955"/>
                  <a:pt x="484" y="1914"/>
                  <a:pt x="502" y="1857"/>
                </a:cubicBezTo>
                <a:lnTo>
                  <a:pt x="1474" y="1857"/>
                </a:lnTo>
                <a:cubicBezTo>
                  <a:pt x="1492" y="1898"/>
                  <a:pt x="1533" y="1927"/>
                  <a:pt x="1581" y="1927"/>
                </a:cubicBezTo>
                <a:cubicBezTo>
                  <a:pt x="1646" y="1927"/>
                  <a:pt x="1699" y="1874"/>
                  <a:pt x="1699" y="1809"/>
                </a:cubicBezTo>
                <a:cubicBezTo>
                  <a:pt x="1699" y="1744"/>
                  <a:pt x="1646" y="1691"/>
                  <a:pt x="1581" y="1691"/>
                </a:cubicBezTo>
                <a:cubicBezTo>
                  <a:pt x="1533" y="1691"/>
                  <a:pt x="1492" y="1720"/>
                  <a:pt x="1473" y="1761"/>
                </a:cubicBezTo>
                <a:lnTo>
                  <a:pt x="502" y="1761"/>
                </a:lnTo>
                <a:cubicBezTo>
                  <a:pt x="484" y="1705"/>
                  <a:pt x="431" y="1663"/>
                  <a:pt x="368" y="1663"/>
                </a:cubicBezTo>
                <a:lnTo>
                  <a:pt x="360" y="1663"/>
                </a:lnTo>
                <a:cubicBezTo>
                  <a:pt x="282" y="1663"/>
                  <a:pt x="218" y="1727"/>
                  <a:pt x="218" y="1805"/>
                </a:cubicBezTo>
                <a:lnTo>
                  <a:pt x="218" y="1813"/>
                </a:lnTo>
                <a:cubicBezTo>
                  <a:pt x="218" y="1891"/>
                  <a:pt x="282" y="1955"/>
                  <a:pt x="360" y="1955"/>
                </a:cubicBezTo>
                <a:lnTo>
                  <a:pt x="360" y="1955"/>
                </a:lnTo>
                <a:close/>
                <a:moveTo>
                  <a:pt x="2291" y="1191"/>
                </a:moveTo>
                <a:lnTo>
                  <a:pt x="2291" y="1191"/>
                </a:lnTo>
                <a:cubicBezTo>
                  <a:pt x="2291" y="1219"/>
                  <a:pt x="2268" y="1242"/>
                  <a:pt x="2240" y="1242"/>
                </a:cubicBezTo>
                <a:lnTo>
                  <a:pt x="2232" y="1242"/>
                </a:lnTo>
                <a:cubicBezTo>
                  <a:pt x="2204" y="1242"/>
                  <a:pt x="2181" y="1219"/>
                  <a:pt x="2181" y="1191"/>
                </a:cubicBezTo>
                <a:lnTo>
                  <a:pt x="2181" y="1183"/>
                </a:lnTo>
                <a:cubicBezTo>
                  <a:pt x="2181" y="1154"/>
                  <a:pt x="2204" y="1131"/>
                  <a:pt x="2232" y="1131"/>
                </a:cubicBezTo>
                <a:lnTo>
                  <a:pt x="2240" y="1131"/>
                </a:lnTo>
                <a:cubicBezTo>
                  <a:pt x="2268" y="1131"/>
                  <a:pt x="2291" y="1154"/>
                  <a:pt x="2291" y="1183"/>
                </a:cubicBezTo>
                <a:lnTo>
                  <a:pt x="2291" y="1191"/>
                </a:lnTo>
                <a:lnTo>
                  <a:pt x="2291" y="1191"/>
                </a:lnTo>
                <a:close/>
                <a:moveTo>
                  <a:pt x="2450" y="1153"/>
                </a:moveTo>
                <a:lnTo>
                  <a:pt x="2450" y="1153"/>
                </a:lnTo>
                <a:lnTo>
                  <a:pt x="2379" y="1153"/>
                </a:lnTo>
                <a:cubicBezTo>
                  <a:pt x="2365" y="1089"/>
                  <a:pt x="2308" y="1041"/>
                  <a:pt x="2240" y="1041"/>
                </a:cubicBezTo>
                <a:lnTo>
                  <a:pt x="2232" y="1041"/>
                </a:lnTo>
                <a:cubicBezTo>
                  <a:pt x="2154" y="1041"/>
                  <a:pt x="2090" y="1104"/>
                  <a:pt x="2090" y="1183"/>
                </a:cubicBezTo>
                <a:lnTo>
                  <a:pt x="2090" y="1191"/>
                </a:lnTo>
                <a:cubicBezTo>
                  <a:pt x="2090" y="1269"/>
                  <a:pt x="2154" y="1332"/>
                  <a:pt x="2232" y="1332"/>
                </a:cubicBezTo>
                <a:lnTo>
                  <a:pt x="2240" y="1332"/>
                </a:lnTo>
                <a:cubicBezTo>
                  <a:pt x="2297" y="1332"/>
                  <a:pt x="2346" y="1298"/>
                  <a:pt x="2368" y="1250"/>
                </a:cubicBezTo>
                <a:lnTo>
                  <a:pt x="2450" y="1250"/>
                </a:lnTo>
                <a:cubicBezTo>
                  <a:pt x="2460" y="1250"/>
                  <a:pt x="2469" y="1259"/>
                  <a:pt x="2469" y="1269"/>
                </a:cubicBezTo>
                <a:lnTo>
                  <a:pt x="2469" y="1341"/>
                </a:lnTo>
                <a:cubicBezTo>
                  <a:pt x="2428" y="1359"/>
                  <a:pt x="2399" y="1400"/>
                  <a:pt x="2399" y="1448"/>
                </a:cubicBezTo>
                <a:cubicBezTo>
                  <a:pt x="2399" y="1513"/>
                  <a:pt x="2452" y="1566"/>
                  <a:pt x="2517" y="1566"/>
                </a:cubicBezTo>
                <a:cubicBezTo>
                  <a:pt x="2582" y="1566"/>
                  <a:pt x="2635" y="1513"/>
                  <a:pt x="2635" y="1448"/>
                </a:cubicBezTo>
                <a:cubicBezTo>
                  <a:pt x="2635" y="1400"/>
                  <a:pt x="2606" y="1359"/>
                  <a:pt x="2565" y="1341"/>
                </a:cubicBezTo>
                <a:lnTo>
                  <a:pt x="2565" y="1269"/>
                </a:lnTo>
                <a:cubicBezTo>
                  <a:pt x="2565" y="1205"/>
                  <a:pt x="2514" y="1153"/>
                  <a:pt x="2450" y="1153"/>
                </a:cubicBezTo>
                <a:lnTo>
                  <a:pt x="2450" y="1153"/>
                </a:lnTo>
                <a:close/>
                <a:moveTo>
                  <a:pt x="1505" y="3056"/>
                </a:moveTo>
                <a:lnTo>
                  <a:pt x="1505" y="3056"/>
                </a:lnTo>
                <a:cubicBezTo>
                  <a:pt x="1502" y="3081"/>
                  <a:pt x="1481" y="3102"/>
                  <a:pt x="1455" y="3102"/>
                </a:cubicBezTo>
                <a:lnTo>
                  <a:pt x="1447" y="3102"/>
                </a:lnTo>
                <a:cubicBezTo>
                  <a:pt x="1419" y="3102"/>
                  <a:pt x="1396" y="3079"/>
                  <a:pt x="1396" y="3050"/>
                </a:cubicBezTo>
                <a:lnTo>
                  <a:pt x="1396" y="3043"/>
                </a:lnTo>
                <a:cubicBezTo>
                  <a:pt x="1396" y="3014"/>
                  <a:pt x="1419" y="2991"/>
                  <a:pt x="1447" y="2991"/>
                </a:cubicBezTo>
                <a:lnTo>
                  <a:pt x="1455" y="2991"/>
                </a:lnTo>
                <a:cubicBezTo>
                  <a:pt x="1481" y="2991"/>
                  <a:pt x="1502" y="3012"/>
                  <a:pt x="1505" y="3037"/>
                </a:cubicBezTo>
                <a:cubicBezTo>
                  <a:pt x="1504" y="3040"/>
                  <a:pt x="1503" y="3043"/>
                  <a:pt x="1503" y="3046"/>
                </a:cubicBezTo>
                <a:cubicBezTo>
                  <a:pt x="1503" y="3050"/>
                  <a:pt x="1504" y="3053"/>
                  <a:pt x="1505" y="3056"/>
                </a:cubicBezTo>
                <a:lnTo>
                  <a:pt x="1505" y="3056"/>
                </a:lnTo>
                <a:close/>
                <a:moveTo>
                  <a:pt x="1715" y="2998"/>
                </a:moveTo>
                <a:lnTo>
                  <a:pt x="1715" y="2998"/>
                </a:lnTo>
                <a:lnTo>
                  <a:pt x="1589" y="2998"/>
                </a:lnTo>
                <a:cubicBezTo>
                  <a:pt x="1570" y="2942"/>
                  <a:pt x="1517" y="2901"/>
                  <a:pt x="1455" y="2901"/>
                </a:cubicBezTo>
                <a:lnTo>
                  <a:pt x="1447" y="2901"/>
                </a:lnTo>
                <a:cubicBezTo>
                  <a:pt x="1369" y="2901"/>
                  <a:pt x="1305" y="2964"/>
                  <a:pt x="1305" y="3043"/>
                </a:cubicBezTo>
                <a:lnTo>
                  <a:pt x="1305" y="3050"/>
                </a:lnTo>
                <a:cubicBezTo>
                  <a:pt x="1305" y="3129"/>
                  <a:pt x="1369" y="3192"/>
                  <a:pt x="1447" y="3192"/>
                </a:cubicBezTo>
                <a:lnTo>
                  <a:pt x="1455" y="3192"/>
                </a:lnTo>
                <a:cubicBezTo>
                  <a:pt x="1517" y="3192"/>
                  <a:pt x="1570" y="3151"/>
                  <a:pt x="1589" y="3095"/>
                </a:cubicBezTo>
                <a:lnTo>
                  <a:pt x="1715" y="3095"/>
                </a:lnTo>
                <a:cubicBezTo>
                  <a:pt x="1779" y="3095"/>
                  <a:pt x="1831" y="3043"/>
                  <a:pt x="1831" y="2979"/>
                </a:cubicBezTo>
                <a:lnTo>
                  <a:pt x="1831" y="2918"/>
                </a:lnTo>
                <a:cubicBezTo>
                  <a:pt x="1870" y="2899"/>
                  <a:pt x="1897" y="2859"/>
                  <a:pt x="1897" y="2813"/>
                </a:cubicBezTo>
                <a:cubicBezTo>
                  <a:pt x="1897" y="2748"/>
                  <a:pt x="1844" y="2695"/>
                  <a:pt x="1779" y="2695"/>
                </a:cubicBezTo>
                <a:cubicBezTo>
                  <a:pt x="1714" y="2695"/>
                  <a:pt x="1662" y="2748"/>
                  <a:pt x="1662" y="2813"/>
                </a:cubicBezTo>
                <a:cubicBezTo>
                  <a:pt x="1662" y="2862"/>
                  <a:pt x="1692" y="2904"/>
                  <a:pt x="1734" y="2922"/>
                </a:cubicBezTo>
                <a:lnTo>
                  <a:pt x="1734" y="2979"/>
                </a:lnTo>
                <a:cubicBezTo>
                  <a:pt x="1734" y="2990"/>
                  <a:pt x="1726" y="2998"/>
                  <a:pt x="1715" y="2998"/>
                </a:cubicBezTo>
                <a:lnTo>
                  <a:pt x="1715" y="2998"/>
                </a:lnTo>
                <a:close/>
                <a:moveTo>
                  <a:pt x="2009" y="2652"/>
                </a:moveTo>
                <a:lnTo>
                  <a:pt x="2009" y="2652"/>
                </a:lnTo>
                <a:lnTo>
                  <a:pt x="2009" y="1791"/>
                </a:lnTo>
                <a:cubicBezTo>
                  <a:pt x="2009" y="1749"/>
                  <a:pt x="2043" y="1715"/>
                  <a:pt x="2084" y="1715"/>
                </a:cubicBezTo>
                <a:lnTo>
                  <a:pt x="2757" y="1715"/>
                </a:lnTo>
                <a:cubicBezTo>
                  <a:pt x="2799" y="1715"/>
                  <a:pt x="2832" y="1749"/>
                  <a:pt x="2832" y="1791"/>
                </a:cubicBezTo>
                <a:lnTo>
                  <a:pt x="2832" y="2652"/>
                </a:lnTo>
                <a:cubicBezTo>
                  <a:pt x="2832" y="2693"/>
                  <a:pt x="2799" y="2727"/>
                  <a:pt x="2757" y="2727"/>
                </a:cubicBezTo>
                <a:lnTo>
                  <a:pt x="2084" y="2727"/>
                </a:lnTo>
                <a:cubicBezTo>
                  <a:pt x="2043" y="2727"/>
                  <a:pt x="2009" y="2693"/>
                  <a:pt x="2009" y="2652"/>
                </a:cubicBezTo>
                <a:lnTo>
                  <a:pt x="2009" y="2652"/>
                </a:lnTo>
                <a:close/>
                <a:moveTo>
                  <a:pt x="2946" y="2652"/>
                </a:moveTo>
                <a:lnTo>
                  <a:pt x="2946" y="2652"/>
                </a:lnTo>
                <a:lnTo>
                  <a:pt x="2946" y="1791"/>
                </a:lnTo>
                <a:cubicBezTo>
                  <a:pt x="2946" y="1686"/>
                  <a:pt x="2861" y="1601"/>
                  <a:pt x="2757" y="1601"/>
                </a:cubicBezTo>
                <a:lnTo>
                  <a:pt x="2084" y="1601"/>
                </a:lnTo>
                <a:cubicBezTo>
                  <a:pt x="1980" y="1601"/>
                  <a:pt x="1895" y="1686"/>
                  <a:pt x="1895" y="1791"/>
                </a:cubicBezTo>
                <a:lnTo>
                  <a:pt x="1895" y="2652"/>
                </a:lnTo>
                <a:cubicBezTo>
                  <a:pt x="1895" y="2756"/>
                  <a:pt x="1980" y="2841"/>
                  <a:pt x="2084" y="2841"/>
                </a:cubicBezTo>
                <a:lnTo>
                  <a:pt x="2757" y="2841"/>
                </a:lnTo>
                <a:cubicBezTo>
                  <a:pt x="2861" y="2841"/>
                  <a:pt x="2946" y="2756"/>
                  <a:pt x="2946" y="2652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6" name="Freeform 11">
            <a:extLst>
              <a:ext uri="{FF2B5EF4-FFF2-40B4-BE49-F238E27FC236}">
                <a16:creationId xmlns:a16="http://schemas.microsoft.com/office/drawing/2014/main" id="{1B9B48A3-E9C5-4FB0-8236-33A7C9E9EA9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43881" y="2470275"/>
            <a:ext cx="426379" cy="383740"/>
          </a:xfrm>
          <a:custGeom>
            <a:avLst/>
            <a:gdLst>
              <a:gd name="T0" fmla="*/ 4453 w 5760"/>
              <a:gd name="T1" fmla="*/ 2751 h 5184"/>
              <a:gd name="T2" fmla="*/ 4910 w 5760"/>
              <a:gd name="T3" fmla="*/ 3555 h 5184"/>
              <a:gd name="T4" fmla="*/ 4987 w 5760"/>
              <a:gd name="T5" fmla="*/ 3611 h 5184"/>
              <a:gd name="T6" fmla="*/ 4957 w 5760"/>
              <a:gd name="T7" fmla="*/ 3702 h 5184"/>
              <a:gd name="T8" fmla="*/ 4362 w 5760"/>
              <a:gd name="T9" fmla="*/ 3713 h 5184"/>
              <a:gd name="T10" fmla="*/ 4306 w 5760"/>
              <a:gd name="T11" fmla="*/ 3636 h 5184"/>
              <a:gd name="T12" fmla="*/ 4339 w 5760"/>
              <a:gd name="T13" fmla="*/ 2733 h 5184"/>
              <a:gd name="T14" fmla="*/ 4283 w 5760"/>
              <a:gd name="T15" fmla="*/ 2548 h 5184"/>
              <a:gd name="T16" fmla="*/ 3905 w 5760"/>
              <a:gd name="T17" fmla="*/ 2667 h 5184"/>
              <a:gd name="T18" fmla="*/ 3604 w 5760"/>
              <a:gd name="T19" fmla="*/ 2913 h 5184"/>
              <a:gd name="T20" fmla="*/ 3419 w 5760"/>
              <a:gd name="T21" fmla="*/ 3257 h 5184"/>
              <a:gd name="T22" fmla="*/ 3379 w 5760"/>
              <a:gd name="T23" fmla="*/ 3662 h 5184"/>
              <a:gd name="T24" fmla="*/ 3496 w 5760"/>
              <a:gd name="T25" fmla="*/ 4041 h 5184"/>
              <a:gd name="T26" fmla="*/ 3742 w 5760"/>
              <a:gd name="T27" fmla="*/ 4339 h 5184"/>
              <a:gd name="T28" fmla="*/ 4086 w 5760"/>
              <a:gd name="T29" fmla="*/ 4526 h 5184"/>
              <a:gd name="T30" fmla="*/ 4491 w 5760"/>
              <a:gd name="T31" fmla="*/ 4566 h 5184"/>
              <a:gd name="T32" fmla="*/ 4870 w 5760"/>
              <a:gd name="T33" fmla="*/ 4449 h 5184"/>
              <a:gd name="T34" fmla="*/ 5170 w 5760"/>
              <a:gd name="T35" fmla="*/ 4203 h 5184"/>
              <a:gd name="T36" fmla="*/ 5355 w 5760"/>
              <a:gd name="T37" fmla="*/ 3859 h 5184"/>
              <a:gd name="T38" fmla="*/ 5395 w 5760"/>
              <a:gd name="T39" fmla="*/ 3454 h 5184"/>
              <a:gd name="T40" fmla="*/ 5278 w 5760"/>
              <a:gd name="T41" fmla="*/ 3075 h 5184"/>
              <a:gd name="T42" fmla="*/ 5032 w 5760"/>
              <a:gd name="T43" fmla="*/ 2775 h 5184"/>
              <a:gd name="T44" fmla="*/ 4688 w 5760"/>
              <a:gd name="T45" fmla="*/ 2590 h 5184"/>
              <a:gd name="T46" fmla="*/ 5688 w 5760"/>
              <a:gd name="T47" fmla="*/ 1332 h 5184"/>
              <a:gd name="T48" fmla="*/ 5758 w 5760"/>
              <a:gd name="T49" fmla="*/ 1398 h 5184"/>
              <a:gd name="T50" fmla="*/ 4810 w 5760"/>
              <a:gd name="T51" fmla="*/ 2461 h 5184"/>
              <a:gd name="T52" fmla="*/ 5175 w 5760"/>
              <a:gd name="T53" fmla="*/ 2686 h 5184"/>
              <a:gd name="T54" fmla="*/ 5435 w 5760"/>
              <a:gd name="T55" fmla="*/ 3025 h 5184"/>
              <a:gd name="T56" fmla="*/ 5558 w 5760"/>
              <a:gd name="T57" fmla="*/ 3444 h 5184"/>
              <a:gd name="T58" fmla="*/ 5516 w 5760"/>
              <a:gd name="T59" fmla="*/ 3887 h 5184"/>
              <a:gd name="T60" fmla="*/ 5324 w 5760"/>
              <a:gd name="T61" fmla="*/ 4269 h 5184"/>
              <a:gd name="T62" fmla="*/ 5011 w 5760"/>
              <a:gd name="T63" fmla="*/ 4554 h 5184"/>
              <a:gd name="T64" fmla="*/ 4610 w 5760"/>
              <a:gd name="T65" fmla="*/ 4713 h 5184"/>
              <a:gd name="T66" fmla="*/ 4165 w 5760"/>
              <a:gd name="T67" fmla="*/ 4713 h 5184"/>
              <a:gd name="T68" fmla="*/ 3763 w 5760"/>
              <a:gd name="T69" fmla="*/ 4554 h 5184"/>
              <a:gd name="T70" fmla="*/ 3451 w 5760"/>
              <a:gd name="T71" fmla="*/ 4269 h 5184"/>
              <a:gd name="T72" fmla="*/ 3259 w 5760"/>
              <a:gd name="T73" fmla="*/ 3887 h 5184"/>
              <a:gd name="T74" fmla="*/ 3215 w 5760"/>
              <a:gd name="T75" fmla="*/ 3466 h 5184"/>
              <a:gd name="T76" fmla="*/ 3297 w 5760"/>
              <a:gd name="T77" fmla="*/ 3121 h 5184"/>
              <a:gd name="T78" fmla="*/ 920 w 5760"/>
              <a:gd name="T79" fmla="*/ 4323 h 5184"/>
              <a:gd name="T80" fmla="*/ 843 w 5760"/>
              <a:gd name="T81" fmla="*/ 4301 h 5184"/>
              <a:gd name="T82" fmla="*/ 829 w 5760"/>
              <a:gd name="T83" fmla="*/ 4207 h 5184"/>
              <a:gd name="T84" fmla="*/ 2728 w 5760"/>
              <a:gd name="T85" fmla="*/ 2356 h 5184"/>
              <a:gd name="T86" fmla="*/ 2807 w 5760"/>
              <a:gd name="T87" fmla="*/ 2379 h 5184"/>
              <a:gd name="T88" fmla="*/ 3555 w 5760"/>
              <a:gd name="T89" fmla="*/ 2728 h 5184"/>
              <a:gd name="T90" fmla="*/ 3884 w 5760"/>
              <a:gd name="T91" fmla="*/ 2496 h 5184"/>
              <a:gd name="T92" fmla="*/ 4280 w 5760"/>
              <a:gd name="T93" fmla="*/ 2386 h 5184"/>
              <a:gd name="T94" fmla="*/ 4638 w 5760"/>
              <a:gd name="T95" fmla="*/ 2409 h 5184"/>
              <a:gd name="T96" fmla="*/ 5688 w 5760"/>
              <a:gd name="T97" fmla="*/ 1332 h 5184"/>
              <a:gd name="T98" fmla="*/ 147 w 5760"/>
              <a:gd name="T99" fmla="*/ 33 h 5184"/>
              <a:gd name="T100" fmla="*/ 168 w 5760"/>
              <a:gd name="T101" fmla="*/ 4835 h 5184"/>
              <a:gd name="T102" fmla="*/ 265 w 5760"/>
              <a:gd name="T103" fmla="*/ 4982 h 5184"/>
              <a:gd name="T104" fmla="*/ 5116 w 5760"/>
              <a:gd name="T105" fmla="*/ 5022 h 5184"/>
              <a:gd name="T106" fmla="*/ 5193 w 5760"/>
              <a:gd name="T107" fmla="*/ 5078 h 5184"/>
              <a:gd name="T108" fmla="*/ 5163 w 5760"/>
              <a:gd name="T109" fmla="*/ 5168 h 5184"/>
              <a:gd name="T110" fmla="*/ 332 w 5760"/>
              <a:gd name="T111" fmla="*/ 5179 h 5184"/>
              <a:gd name="T112" fmla="*/ 115 w 5760"/>
              <a:gd name="T113" fmla="*/ 5069 h 5184"/>
              <a:gd name="T114" fmla="*/ 5 w 5760"/>
              <a:gd name="T115" fmla="*/ 4852 h 5184"/>
              <a:gd name="T116" fmla="*/ 16 w 5760"/>
              <a:gd name="T117" fmla="*/ 33 h 5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760" h="5184">
                <a:moveTo>
                  <a:pt x="4388" y="2718"/>
                </a:moveTo>
                <a:lnTo>
                  <a:pt x="4413" y="2721"/>
                </a:lnTo>
                <a:lnTo>
                  <a:pt x="4435" y="2733"/>
                </a:lnTo>
                <a:lnTo>
                  <a:pt x="4453" y="2751"/>
                </a:lnTo>
                <a:lnTo>
                  <a:pt x="4465" y="2774"/>
                </a:lnTo>
                <a:lnTo>
                  <a:pt x="4468" y="2798"/>
                </a:lnTo>
                <a:lnTo>
                  <a:pt x="4468" y="3555"/>
                </a:lnTo>
                <a:lnTo>
                  <a:pt x="4910" y="3555"/>
                </a:lnTo>
                <a:lnTo>
                  <a:pt x="4936" y="3559"/>
                </a:lnTo>
                <a:lnTo>
                  <a:pt x="4957" y="3571"/>
                </a:lnTo>
                <a:lnTo>
                  <a:pt x="4975" y="3589"/>
                </a:lnTo>
                <a:lnTo>
                  <a:pt x="4987" y="3611"/>
                </a:lnTo>
                <a:lnTo>
                  <a:pt x="4990" y="3636"/>
                </a:lnTo>
                <a:lnTo>
                  <a:pt x="4987" y="3662"/>
                </a:lnTo>
                <a:lnTo>
                  <a:pt x="4975" y="3685"/>
                </a:lnTo>
                <a:lnTo>
                  <a:pt x="4957" y="3702"/>
                </a:lnTo>
                <a:lnTo>
                  <a:pt x="4936" y="3713"/>
                </a:lnTo>
                <a:lnTo>
                  <a:pt x="4910" y="3718"/>
                </a:lnTo>
                <a:lnTo>
                  <a:pt x="4388" y="3718"/>
                </a:lnTo>
                <a:lnTo>
                  <a:pt x="4362" y="3713"/>
                </a:lnTo>
                <a:lnTo>
                  <a:pt x="4339" y="3702"/>
                </a:lnTo>
                <a:lnTo>
                  <a:pt x="4322" y="3685"/>
                </a:lnTo>
                <a:lnTo>
                  <a:pt x="4310" y="3662"/>
                </a:lnTo>
                <a:lnTo>
                  <a:pt x="4306" y="3636"/>
                </a:lnTo>
                <a:lnTo>
                  <a:pt x="4306" y="2798"/>
                </a:lnTo>
                <a:lnTo>
                  <a:pt x="4310" y="2774"/>
                </a:lnTo>
                <a:lnTo>
                  <a:pt x="4322" y="2751"/>
                </a:lnTo>
                <a:lnTo>
                  <a:pt x="4339" y="2733"/>
                </a:lnTo>
                <a:lnTo>
                  <a:pt x="4362" y="2721"/>
                </a:lnTo>
                <a:lnTo>
                  <a:pt x="4388" y="2718"/>
                </a:lnTo>
                <a:close/>
                <a:moveTo>
                  <a:pt x="4388" y="2543"/>
                </a:moveTo>
                <a:lnTo>
                  <a:pt x="4283" y="2548"/>
                </a:lnTo>
                <a:lnTo>
                  <a:pt x="4184" y="2564"/>
                </a:lnTo>
                <a:lnTo>
                  <a:pt x="4086" y="2590"/>
                </a:lnTo>
                <a:lnTo>
                  <a:pt x="3994" y="2623"/>
                </a:lnTo>
                <a:lnTo>
                  <a:pt x="3905" y="2667"/>
                </a:lnTo>
                <a:lnTo>
                  <a:pt x="3821" y="2718"/>
                </a:lnTo>
                <a:lnTo>
                  <a:pt x="3742" y="2775"/>
                </a:lnTo>
                <a:lnTo>
                  <a:pt x="3671" y="2842"/>
                </a:lnTo>
                <a:lnTo>
                  <a:pt x="3604" y="2913"/>
                </a:lnTo>
                <a:lnTo>
                  <a:pt x="3547" y="2992"/>
                </a:lnTo>
                <a:lnTo>
                  <a:pt x="3496" y="3075"/>
                </a:lnTo>
                <a:lnTo>
                  <a:pt x="3453" y="3163"/>
                </a:lnTo>
                <a:lnTo>
                  <a:pt x="3419" y="3257"/>
                </a:lnTo>
                <a:lnTo>
                  <a:pt x="3393" y="3353"/>
                </a:lnTo>
                <a:lnTo>
                  <a:pt x="3379" y="3454"/>
                </a:lnTo>
                <a:lnTo>
                  <a:pt x="3374" y="3557"/>
                </a:lnTo>
                <a:lnTo>
                  <a:pt x="3379" y="3662"/>
                </a:lnTo>
                <a:lnTo>
                  <a:pt x="3393" y="3761"/>
                </a:lnTo>
                <a:lnTo>
                  <a:pt x="3419" y="3859"/>
                </a:lnTo>
                <a:lnTo>
                  <a:pt x="3453" y="3952"/>
                </a:lnTo>
                <a:lnTo>
                  <a:pt x="3496" y="4041"/>
                </a:lnTo>
                <a:lnTo>
                  <a:pt x="3547" y="4125"/>
                </a:lnTo>
                <a:lnTo>
                  <a:pt x="3604" y="4203"/>
                </a:lnTo>
                <a:lnTo>
                  <a:pt x="3671" y="4275"/>
                </a:lnTo>
                <a:lnTo>
                  <a:pt x="3742" y="4339"/>
                </a:lnTo>
                <a:lnTo>
                  <a:pt x="3821" y="4399"/>
                </a:lnTo>
                <a:lnTo>
                  <a:pt x="3905" y="4449"/>
                </a:lnTo>
                <a:lnTo>
                  <a:pt x="3994" y="4493"/>
                </a:lnTo>
                <a:lnTo>
                  <a:pt x="4086" y="4526"/>
                </a:lnTo>
                <a:lnTo>
                  <a:pt x="4184" y="4550"/>
                </a:lnTo>
                <a:lnTo>
                  <a:pt x="4283" y="4566"/>
                </a:lnTo>
                <a:lnTo>
                  <a:pt x="4388" y="4571"/>
                </a:lnTo>
                <a:lnTo>
                  <a:pt x="4491" y="4566"/>
                </a:lnTo>
                <a:lnTo>
                  <a:pt x="4591" y="4550"/>
                </a:lnTo>
                <a:lnTo>
                  <a:pt x="4688" y="4526"/>
                </a:lnTo>
                <a:lnTo>
                  <a:pt x="4781" y="4493"/>
                </a:lnTo>
                <a:lnTo>
                  <a:pt x="4870" y="4449"/>
                </a:lnTo>
                <a:lnTo>
                  <a:pt x="4954" y="4399"/>
                </a:lnTo>
                <a:lnTo>
                  <a:pt x="5032" y="4339"/>
                </a:lnTo>
                <a:lnTo>
                  <a:pt x="5104" y="4275"/>
                </a:lnTo>
                <a:lnTo>
                  <a:pt x="5170" y="4203"/>
                </a:lnTo>
                <a:lnTo>
                  <a:pt x="5228" y="4125"/>
                </a:lnTo>
                <a:lnTo>
                  <a:pt x="5278" y="4041"/>
                </a:lnTo>
                <a:lnTo>
                  <a:pt x="5322" y="3952"/>
                </a:lnTo>
                <a:lnTo>
                  <a:pt x="5355" y="3859"/>
                </a:lnTo>
                <a:lnTo>
                  <a:pt x="5381" y="3761"/>
                </a:lnTo>
                <a:lnTo>
                  <a:pt x="5395" y="3662"/>
                </a:lnTo>
                <a:lnTo>
                  <a:pt x="5402" y="3557"/>
                </a:lnTo>
                <a:lnTo>
                  <a:pt x="5395" y="3454"/>
                </a:lnTo>
                <a:lnTo>
                  <a:pt x="5381" y="3353"/>
                </a:lnTo>
                <a:lnTo>
                  <a:pt x="5355" y="3257"/>
                </a:lnTo>
                <a:lnTo>
                  <a:pt x="5322" y="3163"/>
                </a:lnTo>
                <a:lnTo>
                  <a:pt x="5278" y="3075"/>
                </a:lnTo>
                <a:lnTo>
                  <a:pt x="5228" y="2992"/>
                </a:lnTo>
                <a:lnTo>
                  <a:pt x="5170" y="2913"/>
                </a:lnTo>
                <a:lnTo>
                  <a:pt x="5104" y="2842"/>
                </a:lnTo>
                <a:lnTo>
                  <a:pt x="5032" y="2775"/>
                </a:lnTo>
                <a:lnTo>
                  <a:pt x="4954" y="2718"/>
                </a:lnTo>
                <a:lnTo>
                  <a:pt x="4870" y="2667"/>
                </a:lnTo>
                <a:lnTo>
                  <a:pt x="4781" y="2623"/>
                </a:lnTo>
                <a:lnTo>
                  <a:pt x="4688" y="2590"/>
                </a:lnTo>
                <a:lnTo>
                  <a:pt x="4591" y="2564"/>
                </a:lnTo>
                <a:lnTo>
                  <a:pt x="4491" y="2548"/>
                </a:lnTo>
                <a:lnTo>
                  <a:pt x="4388" y="2543"/>
                </a:lnTo>
                <a:close/>
                <a:moveTo>
                  <a:pt x="5688" y="1332"/>
                </a:moveTo>
                <a:lnTo>
                  <a:pt x="5713" y="1339"/>
                </a:lnTo>
                <a:lnTo>
                  <a:pt x="5734" y="1353"/>
                </a:lnTo>
                <a:lnTo>
                  <a:pt x="5750" y="1374"/>
                </a:lnTo>
                <a:lnTo>
                  <a:pt x="5758" y="1398"/>
                </a:lnTo>
                <a:lnTo>
                  <a:pt x="5760" y="1423"/>
                </a:lnTo>
                <a:lnTo>
                  <a:pt x="5753" y="1447"/>
                </a:lnTo>
                <a:lnTo>
                  <a:pt x="5739" y="1468"/>
                </a:lnTo>
                <a:lnTo>
                  <a:pt x="4810" y="2461"/>
                </a:lnTo>
                <a:lnTo>
                  <a:pt x="4910" y="2506"/>
                </a:lnTo>
                <a:lnTo>
                  <a:pt x="5004" y="2559"/>
                </a:lnTo>
                <a:lnTo>
                  <a:pt x="5093" y="2618"/>
                </a:lnTo>
                <a:lnTo>
                  <a:pt x="5175" y="2686"/>
                </a:lnTo>
                <a:lnTo>
                  <a:pt x="5250" y="2761"/>
                </a:lnTo>
                <a:lnTo>
                  <a:pt x="5320" y="2843"/>
                </a:lnTo>
                <a:lnTo>
                  <a:pt x="5381" y="2931"/>
                </a:lnTo>
                <a:lnTo>
                  <a:pt x="5435" y="3025"/>
                </a:lnTo>
                <a:lnTo>
                  <a:pt x="5481" y="3123"/>
                </a:lnTo>
                <a:lnTo>
                  <a:pt x="5516" y="3226"/>
                </a:lnTo>
                <a:lnTo>
                  <a:pt x="5542" y="3334"/>
                </a:lnTo>
                <a:lnTo>
                  <a:pt x="5558" y="3444"/>
                </a:lnTo>
                <a:lnTo>
                  <a:pt x="5563" y="3557"/>
                </a:lnTo>
                <a:lnTo>
                  <a:pt x="5558" y="3671"/>
                </a:lnTo>
                <a:lnTo>
                  <a:pt x="5542" y="3781"/>
                </a:lnTo>
                <a:lnTo>
                  <a:pt x="5516" y="3887"/>
                </a:lnTo>
                <a:lnTo>
                  <a:pt x="5481" y="3990"/>
                </a:lnTo>
                <a:lnTo>
                  <a:pt x="5437" y="4088"/>
                </a:lnTo>
                <a:lnTo>
                  <a:pt x="5385" y="4182"/>
                </a:lnTo>
                <a:lnTo>
                  <a:pt x="5324" y="4269"/>
                </a:lnTo>
                <a:lnTo>
                  <a:pt x="5256" y="4351"/>
                </a:lnTo>
                <a:lnTo>
                  <a:pt x="5181" y="4426"/>
                </a:lnTo>
                <a:lnTo>
                  <a:pt x="5098" y="4495"/>
                </a:lnTo>
                <a:lnTo>
                  <a:pt x="5011" y="4554"/>
                </a:lnTo>
                <a:lnTo>
                  <a:pt x="4917" y="4608"/>
                </a:lnTo>
                <a:lnTo>
                  <a:pt x="4819" y="4652"/>
                </a:lnTo>
                <a:lnTo>
                  <a:pt x="4716" y="4687"/>
                </a:lnTo>
                <a:lnTo>
                  <a:pt x="4610" y="4713"/>
                </a:lnTo>
                <a:lnTo>
                  <a:pt x="4500" y="4728"/>
                </a:lnTo>
                <a:lnTo>
                  <a:pt x="4388" y="4734"/>
                </a:lnTo>
                <a:lnTo>
                  <a:pt x="4275" y="4728"/>
                </a:lnTo>
                <a:lnTo>
                  <a:pt x="4165" y="4713"/>
                </a:lnTo>
                <a:lnTo>
                  <a:pt x="4058" y="4687"/>
                </a:lnTo>
                <a:lnTo>
                  <a:pt x="3955" y="4652"/>
                </a:lnTo>
                <a:lnTo>
                  <a:pt x="3857" y="4608"/>
                </a:lnTo>
                <a:lnTo>
                  <a:pt x="3763" y="4554"/>
                </a:lnTo>
                <a:lnTo>
                  <a:pt x="3676" y="4495"/>
                </a:lnTo>
                <a:lnTo>
                  <a:pt x="3594" y="4426"/>
                </a:lnTo>
                <a:lnTo>
                  <a:pt x="3519" y="4351"/>
                </a:lnTo>
                <a:lnTo>
                  <a:pt x="3451" y="4269"/>
                </a:lnTo>
                <a:lnTo>
                  <a:pt x="3390" y="4182"/>
                </a:lnTo>
                <a:lnTo>
                  <a:pt x="3337" y="4088"/>
                </a:lnTo>
                <a:lnTo>
                  <a:pt x="3294" y="3990"/>
                </a:lnTo>
                <a:lnTo>
                  <a:pt x="3259" y="3887"/>
                </a:lnTo>
                <a:lnTo>
                  <a:pt x="3233" y="3781"/>
                </a:lnTo>
                <a:lnTo>
                  <a:pt x="3217" y="3671"/>
                </a:lnTo>
                <a:lnTo>
                  <a:pt x="3212" y="3557"/>
                </a:lnTo>
                <a:lnTo>
                  <a:pt x="3215" y="3466"/>
                </a:lnTo>
                <a:lnTo>
                  <a:pt x="3226" y="3376"/>
                </a:lnTo>
                <a:lnTo>
                  <a:pt x="3243" y="3288"/>
                </a:lnTo>
                <a:lnTo>
                  <a:pt x="3266" y="3203"/>
                </a:lnTo>
                <a:lnTo>
                  <a:pt x="3297" y="3121"/>
                </a:lnTo>
                <a:lnTo>
                  <a:pt x="2747" y="2550"/>
                </a:lnTo>
                <a:lnTo>
                  <a:pt x="957" y="4303"/>
                </a:lnTo>
                <a:lnTo>
                  <a:pt x="939" y="4315"/>
                </a:lnTo>
                <a:lnTo>
                  <a:pt x="920" y="4323"/>
                </a:lnTo>
                <a:lnTo>
                  <a:pt x="901" y="4325"/>
                </a:lnTo>
                <a:lnTo>
                  <a:pt x="880" y="4323"/>
                </a:lnTo>
                <a:lnTo>
                  <a:pt x="861" y="4315"/>
                </a:lnTo>
                <a:lnTo>
                  <a:pt x="843" y="4301"/>
                </a:lnTo>
                <a:lnTo>
                  <a:pt x="827" y="4280"/>
                </a:lnTo>
                <a:lnTo>
                  <a:pt x="820" y="4255"/>
                </a:lnTo>
                <a:lnTo>
                  <a:pt x="820" y="4231"/>
                </a:lnTo>
                <a:lnTo>
                  <a:pt x="829" y="4207"/>
                </a:lnTo>
                <a:lnTo>
                  <a:pt x="843" y="4186"/>
                </a:lnTo>
                <a:lnTo>
                  <a:pt x="2691" y="2377"/>
                </a:lnTo>
                <a:lnTo>
                  <a:pt x="2709" y="2365"/>
                </a:lnTo>
                <a:lnTo>
                  <a:pt x="2728" y="2356"/>
                </a:lnTo>
                <a:lnTo>
                  <a:pt x="2751" y="2355"/>
                </a:lnTo>
                <a:lnTo>
                  <a:pt x="2772" y="2358"/>
                </a:lnTo>
                <a:lnTo>
                  <a:pt x="2791" y="2365"/>
                </a:lnTo>
                <a:lnTo>
                  <a:pt x="2807" y="2379"/>
                </a:lnTo>
                <a:lnTo>
                  <a:pt x="3372" y="2966"/>
                </a:lnTo>
                <a:lnTo>
                  <a:pt x="3426" y="2882"/>
                </a:lnTo>
                <a:lnTo>
                  <a:pt x="3489" y="2801"/>
                </a:lnTo>
                <a:lnTo>
                  <a:pt x="3555" y="2728"/>
                </a:lnTo>
                <a:lnTo>
                  <a:pt x="3631" y="2660"/>
                </a:lnTo>
                <a:lnTo>
                  <a:pt x="3709" y="2597"/>
                </a:lnTo>
                <a:lnTo>
                  <a:pt x="3795" y="2543"/>
                </a:lnTo>
                <a:lnTo>
                  <a:pt x="3884" y="2496"/>
                </a:lnTo>
                <a:lnTo>
                  <a:pt x="3978" y="2456"/>
                </a:lnTo>
                <a:lnTo>
                  <a:pt x="4076" y="2424"/>
                </a:lnTo>
                <a:lnTo>
                  <a:pt x="4177" y="2400"/>
                </a:lnTo>
                <a:lnTo>
                  <a:pt x="4280" y="2386"/>
                </a:lnTo>
                <a:lnTo>
                  <a:pt x="4388" y="2383"/>
                </a:lnTo>
                <a:lnTo>
                  <a:pt x="4472" y="2384"/>
                </a:lnTo>
                <a:lnTo>
                  <a:pt x="4556" y="2395"/>
                </a:lnTo>
                <a:lnTo>
                  <a:pt x="4638" y="2409"/>
                </a:lnTo>
                <a:lnTo>
                  <a:pt x="5620" y="1358"/>
                </a:lnTo>
                <a:lnTo>
                  <a:pt x="5640" y="1341"/>
                </a:lnTo>
                <a:lnTo>
                  <a:pt x="5664" y="1334"/>
                </a:lnTo>
                <a:lnTo>
                  <a:pt x="5688" y="1332"/>
                </a:lnTo>
                <a:close/>
                <a:moveTo>
                  <a:pt x="80" y="0"/>
                </a:moveTo>
                <a:lnTo>
                  <a:pt x="106" y="5"/>
                </a:lnTo>
                <a:lnTo>
                  <a:pt x="129" y="16"/>
                </a:lnTo>
                <a:lnTo>
                  <a:pt x="147" y="33"/>
                </a:lnTo>
                <a:lnTo>
                  <a:pt x="157" y="56"/>
                </a:lnTo>
                <a:lnTo>
                  <a:pt x="162" y="82"/>
                </a:lnTo>
                <a:lnTo>
                  <a:pt x="162" y="4788"/>
                </a:lnTo>
                <a:lnTo>
                  <a:pt x="168" y="4835"/>
                </a:lnTo>
                <a:lnTo>
                  <a:pt x="180" y="4879"/>
                </a:lnTo>
                <a:lnTo>
                  <a:pt x="202" y="4919"/>
                </a:lnTo>
                <a:lnTo>
                  <a:pt x="230" y="4954"/>
                </a:lnTo>
                <a:lnTo>
                  <a:pt x="265" y="4982"/>
                </a:lnTo>
                <a:lnTo>
                  <a:pt x="305" y="5004"/>
                </a:lnTo>
                <a:lnTo>
                  <a:pt x="349" y="5016"/>
                </a:lnTo>
                <a:lnTo>
                  <a:pt x="396" y="5022"/>
                </a:lnTo>
                <a:lnTo>
                  <a:pt x="5116" y="5022"/>
                </a:lnTo>
                <a:lnTo>
                  <a:pt x="5140" y="5027"/>
                </a:lnTo>
                <a:lnTo>
                  <a:pt x="5163" y="5037"/>
                </a:lnTo>
                <a:lnTo>
                  <a:pt x="5181" y="5055"/>
                </a:lnTo>
                <a:lnTo>
                  <a:pt x="5193" y="5078"/>
                </a:lnTo>
                <a:lnTo>
                  <a:pt x="5196" y="5104"/>
                </a:lnTo>
                <a:lnTo>
                  <a:pt x="5193" y="5128"/>
                </a:lnTo>
                <a:lnTo>
                  <a:pt x="5181" y="5151"/>
                </a:lnTo>
                <a:lnTo>
                  <a:pt x="5163" y="5168"/>
                </a:lnTo>
                <a:lnTo>
                  <a:pt x="5140" y="5181"/>
                </a:lnTo>
                <a:lnTo>
                  <a:pt x="5116" y="5184"/>
                </a:lnTo>
                <a:lnTo>
                  <a:pt x="396" y="5184"/>
                </a:lnTo>
                <a:lnTo>
                  <a:pt x="332" y="5179"/>
                </a:lnTo>
                <a:lnTo>
                  <a:pt x="271" y="5163"/>
                </a:lnTo>
                <a:lnTo>
                  <a:pt x="215" y="5140"/>
                </a:lnTo>
                <a:lnTo>
                  <a:pt x="162" y="5107"/>
                </a:lnTo>
                <a:lnTo>
                  <a:pt x="115" y="5069"/>
                </a:lnTo>
                <a:lnTo>
                  <a:pt x="77" y="5022"/>
                </a:lnTo>
                <a:lnTo>
                  <a:pt x="44" y="4969"/>
                </a:lnTo>
                <a:lnTo>
                  <a:pt x="21" y="4913"/>
                </a:lnTo>
                <a:lnTo>
                  <a:pt x="5" y="4852"/>
                </a:lnTo>
                <a:lnTo>
                  <a:pt x="0" y="4788"/>
                </a:lnTo>
                <a:lnTo>
                  <a:pt x="0" y="82"/>
                </a:lnTo>
                <a:lnTo>
                  <a:pt x="3" y="56"/>
                </a:lnTo>
                <a:lnTo>
                  <a:pt x="16" y="33"/>
                </a:lnTo>
                <a:lnTo>
                  <a:pt x="33" y="16"/>
                </a:lnTo>
                <a:lnTo>
                  <a:pt x="56" y="5"/>
                </a:lnTo>
                <a:lnTo>
                  <a:pt x="8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5BCB2CE-3C9C-478D-80F1-09333838EB8B}"/>
              </a:ext>
            </a:extLst>
          </p:cNvPr>
          <p:cNvSpPr txBox="1"/>
          <p:nvPr/>
        </p:nvSpPr>
        <p:spPr>
          <a:xfrm>
            <a:off x="655320" y="1759284"/>
            <a:ext cx="77617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Operationalizing Analytic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1F5A7D-843E-4225-A2A8-8742383ECB15}"/>
              </a:ext>
            </a:extLst>
          </p:cNvPr>
          <p:cNvSpPr txBox="1"/>
          <p:nvPr/>
        </p:nvSpPr>
        <p:spPr>
          <a:xfrm>
            <a:off x="2964286" y="3208204"/>
            <a:ext cx="115871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nalytical Insight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EEDCFA7-8F39-4AEF-ABCA-6569B4BC2EF7}"/>
              </a:ext>
            </a:extLst>
          </p:cNvPr>
          <p:cNvSpPr txBox="1"/>
          <p:nvPr/>
        </p:nvSpPr>
        <p:spPr>
          <a:xfrm>
            <a:off x="907573" y="3208204"/>
            <a:ext cx="11587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at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7DA79C2-F374-426F-8FCD-C3A68E50B343}"/>
              </a:ext>
            </a:extLst>
          </p:cNvPr>
          <p:cNvSpPr txBox="1"/>
          <p:nvPr/>
        </p:nvSpPr>
        <p:spPr>
          <a:xfrm>
            <a:off x="5020999" y="3208204"/>
            <a:ext cx="11587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ecision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98724ED-D83F-46E0-BA0C-2075D2E548D2}"/>
              </a:ext>
            </a:extLst>
          </p:cNvPr>
          <p:cNvSpPr txBox="1"/>
          <p:nvPr/>
        </p:nvSpPr>
        <p:spPr>
          <a:xfrm>
            <a:off x="7077714" y="3208204"/>
            <a:ext cx="11587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mpac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CAE289-EE21-4398-A30F-74F197280DB5}"/>
              </a:ext>
            </a:extLst>
          </p:cNvPr>
          <p:cNvGrpSpPr/>
          <p:nvPr/>
        </p:nvGrpSpPr>
        <p:grpSpPr>
          <a:xfrm>
            <a:off x="2169949" y="2536527"/>
            <a:ext cx="604147" cy="317140"/>
            <a:chOff x="2169949" y="2536527"/>
            <a:chExt cx="604147" cy="317140"/>
          </a:xfrm>
        </p:grpSpPr>
        <p:sp>
          <p:nvSpPr>
            <p:cNvPr id="38" name="Arrow: Right 37">
              <a:extLst>
                <a:ext uri="{FF2B5EF4-FFF2-40B4-BE49-F238E27FC236}">
                  <a16:creationId xmlns:a16="http://schemas.microsoft.com/office/drawing/2014/main" id="{79F2F81A-27AF-4673-B25F-8B7A4120A2C9}"/>
                </a:ext>
              </a:extLst>
            </p:cNvPr>
            <p:cNvSpPr/>
            <p:nvPr/>
          </p:nvSpPr>
          <p:spPr>
            <a:xfrm>
              <a:off x="2256476" y="2536527"/>
              <a:ext cx="517620" cy="317140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DA20E9F6-7C6F-4BF8-A5A1-788419BF16E8}"/>
                </a:ext>
              </a:extLst>
            </p:cNvPr>
            <p:cNvSpPr/>
            <p:nvPr/>
          </p:nvSpPr>
          <p:spPr>
            <a:xfrm>
              <a:off x="2169949" y="2613051"/>
              <a:ext cx="161771" cy="161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D79F086D-F878-4511-B6B0-BCD514E05D9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2237353" y="2641097"/>
              <a:ext cx="27811" cy="108000"/>
            </a:xfrm>
            <a:custGeom>
              <a:avLst/>
              <a:gdLst>
                <a:gd name="T0" fmla="*/ 610 w 1225"/>
                <a:gd name="T1" fmla="*/ 4644 h 4799"/>
                <a:gd name="T2" fmla="*/ 610 w 1225"/>
                <a:gd name="T3" fmla="*/ 4644 h 4799"/>
                <a:gd name="T4" fmla="*/ 417 w 1225"/>
                <a:gd name="T5" fmla="*/ 4451 h 4799"/>
                <a:gd name="T6" fmla="*/ 610 w 1225"/>
                <a:gd name="T7" fmla="*/ 4259 h 4799"/>
                <a:gd name="T8" fmla="*/ 802 w 1225"/>
                <a:gd name="T9" fmla="*/ 4451 h 4799"/>
                <a:gd name="T10" fmla="*/ 610 w 1225"/>
                <a:gd name="T11" fmla="*/ 4644 h 4799"/>
                <a:gd name="T12" fmla="*/ 610 w 1225"/>
                <a:gd name="T13" fmla="*/ 4644 h 4799"/>
                <a:gd name="T14" fmla="*/ 610 w 1225"/>
                <a:gd name="T15" fmla="*/ 4104 h 4799"/>
                <a:gd name="T16" fmla="*/ 610 w 1225"/>
                <a:gd name="T17" fmla="*/ 4104 h 4799"/>
                <a:gd name="T18" fmla="*/ 263 w 1225"/>
                <a:gd name="T19" fmla="*/ 4451 h 4799"/>
                <a:gd name="T20" fmla="*/ 610 w 1225"/>
                <a:gd name="T21" fmla="*/ 4799 h 4799"/>
                <a:gd name="T22" fmla="*/ 957 w 1225"/>
                <a:gd name="T23" fmla="*/ 4451 h 4799"/>
                <a:gd name="T24" fmla="*/ 610 w 1225"/>
                <a:gd name="T25" fmla="*/ 4104 h 4799"/>
                <a:gd name="T26" fmla="*/ 610 w 1225"/>
                <a:gd name="T27" fmla="*/ 4104 h 4799"/>
                <a:gd name="T28" fmla="*/ 821 w 1225"/>
                <a:gd name="T29" fmla="*/ 3387 h 4799"/>
                <a:gd name="T30" fmla="*/ 821 w 1225"/>
                <a:gd name="T31" fmla="*/ 3387 h 4799"/>
                <a:gd name="T32" fmla="*/ 820 w 1225"/>
                <a:gd name="T33" fmla="*/ 3394 h 4799"/>
                <a:gd name="T34" fmla="*/ 619 w 1225"/>
                <a:gd name="T35" fmla="*/ 3595 h 4799"/>
                <a:gd name="T36" fmla="*/ 605 w 1225"/>
                <a:gd name="T37" fmla="*/ 3595 h 4799"/>
                <a:gd name="T38" fmla="*/ 404 w 1225"/>
                <a:gd name="T39" fmla="*/ 3394 h 4799"/>
                <a:gd name="T40" fmla="*/ 404 w 1225"/>
                <a:gd name="T41" fmla="*/ 3387 h 4799"/>
                <a:gd name="T42" fmla="*/ 155 w 1225"/>
                <a:gd name="T43" fmla="*/ 615 h 4799"/>
                <a:gd name="T44" fmla="*/ 155 w 1225"/>
                <a:gd name="T45" fmla="*/ 611 h 4799"/>
                <a:gd name="T46" fmla="*/ 613 w 1225"/>
                <a:gd name="T47" fmla="*/ 153 h 4799"/>
                <a:gd name="T48" fmla="*/ 1070 w 1225"/>
                <a:gd name="T49" fmla="*/ 611 h 4799"/>
                <a:gd name="T50" fmla="*/ 821 w 1225"/>
                <a:gd name="T51" fmla="*/ 3387 h 4799"/>
                <a:gd name="T52" fmla="*/ 821 w 1225"/>
                <a:gd name="T53" fmla="*/ 3387 h 4799"/>
                <a:gd name="T54" fmla="*/ 613 w 1225"/>
                <a:gd name="T55" fmla="*/ 0 h 4799"/>
                <a:gd name="T56" fmla="*/ 613 w 1225"/>
                <a:gd name="T57" fmla="*/ 0 h 4799"/>
                <a:gd name="T58" fmla="*/ 0 w 1225"/>
                <a:gd name="T59" fmla="*/ 605 h 4799"/>
                <a:gd name="T60" fmla="*/ 0 w 1225"/>
                <a:gd name="T61" fmla="*/ 622 h 4799"/>
                <a:gd name="T62" fmla="*/ 249 w 1225"/>
                <a:gd name="T63" fmla="*/ 3398 h 4799"/>
                <a:gd name="T64" fmla="*/ 605 w 1225"/>
                <a:gd name="T65" fmla="*/ 3750 h 4799"/>
                <a:gd name="T66" fmla="*/ 619 w 1225"/>
                <a:gd name="T67" fmla="*/ 3750 h 4799"/>
                <a:gd name="T68" fmla="*/ 975 w 1225"/>
                <a:gd name="T69" fmla="*/ 3398 h 4799"/>
                <a:gd name="T70" fmla="*/ 1224 w 1225"/>
                <a:gd name="T71" fmla="*/ 631 h 4799"/>
                <a:gd name="T72" fmla="*/ 1224 w 1225"/>
                <a:gd name="T73" fmla="*/ 631 h 4799"/>
                <a:gd name="T74" fmla="*/ 1225 w 1225"/>
                <a:gd name="T75" fmla="*/ 618 h 4799"/>
                <a:gd name="T76" fmla="*/ 1225 w 1225"/>
                <a:gd name="T77" fmla="*/ 611 h 4799"/>
                <a:gd name="T78" fmla="*/ 613 w 1225"/>
                <a:gd name="T79" fmla="*/ 0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25" h="4799">
                  <a:moveTo>
                    <a:pt x="610" y="4644"/>
                  </a:moveTo>
                  <a:lnTo>
                    <a:pt x="610" y="4644"/>
                  </a:lnTo>
                  <a:cubicBezTo>
                    <a:pt x="504" y="4644"/>
                    <a:pt x="417" y="4557"/>
                    <a:pt x="417" y="4451"/>
                  </a:cubicBezTo>
                  <a:cubicBezTo>
                    <a:pt x="417" y="4345"/>
                    <a:pt x="504" y="4259"/>
                    <a:pt x="610" y="4259"/>
                  </a:cubicBezTo>
                  <a:cubicBezTo>
                    <a:pt x="716" y="4259"/>
                    <a:pt x="802" y="4345"/>
                    <a:pt x="802" y="4451"/>
                  </a:cubicBezTo>
                  <a:cubicBezTo>
                    <a:pt x="802" y="4557"/>
                    <a:pt x="716" y="4644"/>
                    <a:pt x="610" y="4644"/>
                  </a:cubicBezTo>
                  <a:lnTo>
                    <a:pt x="610" y="4644"/>
                  </a:lnTo>
                  <a:close/>
                  <a:moveTo>
                    <a:pt x="610" y="4104"/>
                  </a:moveTo>
                  <a:lnTo>
                    <a:pt x="610" y="4104"/>
                  </a:lnTo>
                  <a:cubicBezTo>
                    <a:pt x="418" y="4104"/>
                    <a:pt x="263" y="4260"/>
                    <a:pt x="263" y="4451"/>
                  </a:cubicBezTo>
                  <a:cubicBezTo>
                    <a:pt x="263" y="4643"/>
                    <a:pt x="418" y="4799"/>
                    <a:pt x="610" y="4799"/>
                  </a:cubicBezTo>
                  <a:cubicBezTo>
                    <a:pt x="801" y="4799"/>
                    <a:pt x="957" y="4643"/>
                    <a:pt x="957" y="4451"/>
                  </a:cubicBezTo>
                  <a:cubicBezTo>
                    <a:pt x="957" y="4260"/>
                    <a:pt x="801" y="4104"/>
                    <a:pt x="610" y="4104"/>
                  </a:cubicBezTo>
                  <a:lnTo>
                    <a:pt x="610" y="4104"/>
                  </a:lnTo>
                  <a:close/>
                  <a:moveTo>
                    <a:pt x="821" y="3387"/>
                  </a:moveTo>
                  <a:lnTo>
                    <a:pt x="821" y="3387"/>
                  </a:lnTo>
                  <a:cubicBezTo>
                    <a:pt x="820" y="3390"/>
                    <a:pt x="820" y="3392"/>
                    <a:pt x="820" y="3394"/>
                  </a:cubicBezTo>
                  <a:cubicBezTo>
                    <a:pt x="820" y="3505"/>
                    <a:pt x="730" y="3595"/>
                    <a:pt x="619" y="3595"/>
                  </a:cubicBezTo>
                  <a:lnTo>
                    <a:pt x="605" y="3595"/>
                  </a:lnTo>
                  <a:cubicBezTo>
                    <a:pt x="494" y="3595"/>
                    <a:pt x="404" y="3505"/>
                    <a:pt x="404" y="3394"/>
                  </a:cubicBezTo>
                  <a:cubicBezTo>
                    <a:pt x="404" y="3392"/>
                    <a:pt x="404" y="3390"/>
                    <a:pt x="404" y="3387"/>
                  </a:cubicBezTo>
                  <a:lnTo>
                    <a:pt x="155" y="615"/>
                  </a:lnTo>
                  <a:cubicBezTo>
                    <a:pt x="155" y="614"/>
                    <a:pt x="155" y="612"/>
                    <a:pt x="155" y="611"/>
                  </a:cubicBezTo>
                  <a:cubicBezTo>
                    <a:pt x="155" y="359"/>
                    <a:pt x="360" y="153"/>
                    <a:pt x="613" y="153"/>
                  </a:cubicBezTo>
                  <a:cubicBezTo>
                    <a:pt x="865" y="153"/>
                    <a:pt x="1070" y="359"/>
                    <a:pt x="1070" y="611"/>
                  </a:cubicBezTo>
                  <a:lnTo>
                    <a:pt x="821" y="3387"/>
                  </a:lnTo>
                  <a:lnTo>
                    <a:pt x="821" y="3387"/>
                  </a:lnTo>
                  <a:close/>
                  <a:moveTo>
                    <a:pt x="613" y="0"/>
                  </a:moveTo>
                  <a:lnTo>
                    <a:pt x="613" y="0"/>
                  </a:lnTo>
                  <a:cubicBezTo>
                    <a:pt x="275" y="0"/>
                    <a:pt x="0" y="273"/>
                    <a:pt x="0" y="605"/>
                  </a:cubicBezTo>
                  <a:cubicBezTo>
                    <a:pt x="0" y="610"/>
                    <a:pt x="0" y="616"/>
                    <a:pt x="0" y="622"/>
                  </a:cubicBezTo>
                  <a:lnTo>
                    <a:pt x="249" y="3398"/>
                  </a:lnTo>
                  <a:cubicBezTo>
                    <a:pt x="251" y="3593"/>
                    <a:pt x="410" y="3750"/>
                    <a:pt x="605" y="3750"/>
                  </a:cubicBezTo>
                  <a:lnTo>
                    <a:pt x="619" y="3750"/>
                  </a:lnTo>
                  <a:cubicBezTo>
                    <a:pt x="814" y="3750"/>
                    <a:pt x="973" y="3593"/>
                    <a:pt x="975" y="3398"/>
                  </a:cubicBezTo>
                  <a:lnTo>
                    <a:pt x="1224" y="631"/>
                  </a:lnTo>
                  <a:lnTo>
                    <a:pt x="1224" y="631"/>
                  </a:lnTo>
                  <a:cubicBezTo>
                    <a:pt x="1225" y="627"/>
                    <a:pt x="1225" y="623"/>
                    <a:pt x="1225" y="618"/>
                  </a:cubicBezTo>
                  <a:lnTo>
                    <a:pt x="1225" y="611"/>
                  </a:lnTo>
                  <a:cubicBezTo>
                    <a:pt x="1225" y="273"/>
                    <a:pt x="950" y="0"/>
                    <a:pt x="61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95EA07C-B82C-4BE1-A1D4-F58BD052F762}"/>
              </a:ext>
            </a:extLst>
          </p:cNvPr>
          <p:cNvGrpSpPr/>
          <p:nvPr/>
        </p:nvGrpSpPr>
        <p:grpSpPr>
          <a:xfrm>
            <a:off x="4290151" y="2536527"/>
            <a:ext cx="604884" cy="317140"/>
            <a:chOff x="2169212" y="2536527"/>
            <a:chExt cx="604884" cy="317140"/>
          </a:xfrm>
        </p:grpSpPr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AF9D985B-009B-4EA9-B3AB-E052D0497009}"/>
                </a:ext>
              </a:extLst>
            </p:cNvPr>
            <p:cNvSpPr/>
            <p:nvPr/>
          </p:nvSpPr>
          <p:spPr>
            <a:xfrm>
              <a:off x="2256476" y="2536527"/>
              <a:ext cx="517620" cy="317140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56A0760D-2CA6-4FCE-93AD-206F38EF8C8A}"/>
                </a:ext>
              </a:extLst>
            </p:cNvPr>
            <p:cNvSpPr/>
            <p:nvPr/>
          </p:nvSpPr>
          <p:spPr>
            <a:xfrm>
              <a:off x="2169212" y="2613051"/>
              <a:ext cx="164093" cy="1640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B014D35C-5D07-42F5-9E25-908D299A8F9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2237353" y="2641097"/>
              <a:ext cx="27811" cy="108000"/>
            </a:xfrm>
            <a:custGeom>
              <a:avLst/>
              <a:gdLst>
                <a:gd name="T0" fmla="*/ 610 w 1225"/>
                <a:gd name="T1" fmla="*/ 4644 h 4799"/>
                <a:gd name="T2" fmla="*/ 610 w 1225"/>
                <a:gd name="T3" fmla="*/ 4644 h 4799"/>
                <a:gd name="T4" fmla="*/ 417 w 1225"/>
                <a:gd name="T5" fmla="*/ 4451 h 4799"/>
                <a:gd name="T6" fmla="*/ 610 w 1225"/>
                <a:gd name="T7" fmla="*/ 4259 h 4799"/>
                <a:gd name="T8" fmla="*/ 802 w 1225"/>
                <a:gd name="T9" fmla="*/ 4451 h 4799"/>
                <a:gd name="T10" fmla="*/ 610 w 1225"/>
                <a:gd name="T11" fmla="*/ 4644 h 4799"/>
                <a:gd name="T12" fmla="*/ 610 w 1225"/>
                <a:gd name="T13" fmla="*/ 4644 h 4799"/>
                <a:gd name="T14" fmla="*/ 610 w 1225"/>
                <a:gd name="T15" fmla="*/ 4104 h 4799"/>
                <a:gd name="T16" fmla="*/ 610 w 1225"/>
                <a:gd name="T17" fmla="*/ 4104 h 4799"/>
                <a:gd name="T18" fmla="*/ 263 w 1225"/>
                <a:gd name="T19" fmla="*/ 4451 h 4799"/>
                <a:gd name="T20" fmla="*/ 610 w 1225"/>
                <a:gd name="T21" fmla="*/ 4799 h 4799"/>
                <a:gd name="T22" fmla="*/ 957 w 1225"/>
                <a:gd name="T23" fmla="*/ 4451 h 4799"/>
                <a:gd name="T24" fmla="*/ 610 w 1225"/>
                <a:gd name="T25" fmla="*/ 4104 h 4799"/>
                <a:gd name="T26" fmla="*/ 610 w 1225"/>
                <a:gd name="T27" fmla="*/ 4104 h 4799"/>
                <a:gd name="T28" fmla="*/ 821 w 1225"/>
                <a:gd name="T29" fmla="*/ 3387 h 4799"/>
                <a:gd name="T30" fmla="*/ 821 w 1225"/>
                <a:gd name="T31" fmla="*/ 3387 h 4799"/>
                <a:gd name="T32" fmla="*/ 820 w 1225"/>
                <a:gd name="T33" fmla="*/ 3394 h 4799"/>
                <a:gd name="T34" fmla="*/ 619 w 1225"/>
                <a:gd name="T35" fmla="*/ 3595 h 4799"/>
                <a:gd name="T36" fmla="*/ 605 w 1225"/>
                <a:gd name="T37" fmla="*/ 3595 h 4799"/>
                <a:gd name="T38" fmla="*/ 404 w 1225"/>
                <a:gd name="T39" fmla="*/ 3394 h 4799"/>
                <a:gd name="T40" fmla="*/ 404 w 1225"/>
                <a:gd name="T41" fmla="*/ 3387 h 4799"/>
                <a:gd name="T42" fmla="*/ 155 w 1225"/>
                <a:gd name="T43" fmla="*/ 615 h 4799"/>
                <a:gd name="T44" fmla="*/ 155 w 1225"/>
                <a:gd name="T45" fmla="*/ 611 h 4799"/>
                <a:gd name="T46" fmla="*/ 613 w 1225"/>
                <a:gd name="T47" fmla="*/ 153 h 4799"/>
                <a:gd name="T48" fmla="*/ 1070 w 1225"/>
                <a:gd name="T49" fmla="*/ 611 h 4799"/>
                <a:gd name="T50" fmla="*/ 821 w 1225"/>
                <a:gd name="T51" fmla="*/ 3387 h 4799"/>
                <a:gd name="T52" fmla="*/ 821 w 1225"/>
                <a:gd name="T53" fmla="*/ 3387 h 4799"/>
                <a:gd name="T54" fmla="*/ 613 w 1225"/>
                <a:gd name="T55" fmla="*/ 0 h 4799"/>
                <a:gd name="T56" fmla="*/ 613 w 1225"/>
                <a:gd name="T57" fmla="*/ 0 h 4799"/>
                <a:gd name="T58" fmla="*/ 0 w 1225"/>
                <a:gd name="T59" fmla="*/ 605 h 4799"/>
                <a:gd name="T60" fmla="*/ 0 w 1225"/>
                <a:gd name="T61" fmla="*/ 622 h 4799"/>
                <a:gd name="T62" fmla="*/ 249 w 1225"/>
                <a:gd name="T63" fmla="*/ 3398 h 4799"/>
                <a:gd name="T64" fmla="*/ 605 w 1225"/>
                <a:gd name="T65" fmla="*/ 3750 h 4799"/>
                <a:gd name="T66" fmla="*/ 619 w 1225"/>
                <a:gd name="T67" fmla="*/ 3750 h 4799"/>
                <a:gd name="T68" fmla="*/ 975 w 1225"/>
                <a:gd name="T69" fmla="*/ 3398 h 4799"/>
                <a:gd name="T70" fmla="*/ 1224 w 1225"/>
                <a:gd name="T71" fmla="*/ 631 h 4799"/>
                <a:gd name="T72" fmla="*/ 1224 w 1225"/>
                <a:gd name="T73" fmla="*/ 631 h 4799"/>
                <a:gd name="T74" fmla="*/ 1225 w 1225"/>
                <a:gd name="T75" fmla="*/ 618 h 4799"/>
                <a:gd name="T76" fmla="*/ 1225 w 1225"/>
                <a:gd name="T77" fmla="*/ 611 h 4799"/>
                <a:gd name="T78" fmla="*/ 613 w 1225"/>
                <a:gd name="T79" fmla="*/ 0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25" h="4799">
                  <a:moveTo>
                    <a:pt x="610" y="4644"/>
                  </a:moveTo>
                  <a:lnTo>
                    <a:pt x="610" y="4644"/>
                  </a:lnTo>
                  <a:cubicBezTo>
                    <a:pt x="504" y="4644"/>
                    <a:pt x="417" y="4557"/>
                    <a:pt x="417" y="4451"/>
                  </a:cubicBezTo>
                  <a:cubicBezTo>
                    <a:pt x="417" y="4345"/>
                    <a:pt x="504" y="4259"/>
                    <a:pt x="610" y="4259"/>
                  </a:cubicBezTo>
                  <a:cubicBezTo>
                    <a:pt x="716" y="4259"/>
                    <a:pt x="802" y="4345"/>
                    <a:pt x="802" y="4451"/>
                  </a:cubicBezTo>
                  <a:cubicBezTo>
                    <a:pt x="802" y="4557"/>
                    <a:pt x="716" y="4644"/>
                    <a:pt x="610" y="4644"/>
                  </a:cubicBezTo>
                  <a:lnTo>
                    <a:pt x="610" y="4644"/>
                  </a:lnTo>
                  <a:close/>
                  <a:moveTo>
                    <a:pt x="610" y="4104"/>
                  </a:moveTo>
                  <a:lnTo>
                    <a:pt x="610" y="4104"/>
                  </a:lnTo>
                  <a:cubicBezTo>
                    <a:pt x="418" y="4104"/>
                    <a:pt x="263" y="4260"/>
                    <a:pt x="263" y="4451"/>
                  </a:cubicBezTo>
                  <a:cubicBezTo>
                    <a:pt x="263" y="4643"/>
                    <a:pt x="418" y="4799"/>
                    <a:pt x="610" y="4799"/>
                  </a:cubicBezTo>
                  <a:cubicBezTo>
                    <a:pt x="801" y="4799"/>
                    <a:pt x="957" y="4643"/>
                    <a:pt x="957" y="4451"/>
                  </a:cubicBezTo>
                  <a:cubicBezTo>
                    <a:pt x="957" y="4260"/>
                    <a:pt x="801" y="4104"/>
                    <a:pt x="610" y="4104"/>
                  </a:cubicBezTo>
                  <a:lnTo>
                    <a:pt x="610" y="4104"/>
                  </a:lnTo>
                  <a:close/>
                  <a:moveTo>
                    <a:pt x="821" y="3387"/>
                  </a:moveTo>
                  <a:lnTo>
                    <a:pt x="821" y="3387"/>
                  </a:lnTo>
                  <a:cubicBezTo>
                    <a:pt x="820" y="3390"/>
                    <a:pt x="820" y="3392"/>
                    <a:pt x="820" y="3394"/>
                  </a:cubicBezTo>
                  <a:cubicBezTo>
                    <a:pt x="820" y="3505"/>
                    <a:pt x="730" y="3595"/>
                    <a:pt x="619" y="3595"/>
                  </a:cubicBezTo>
                  <a:lnTo>
                    <a:pt x="605" y="3595"/>
                  </a:lnTo>
                  <a:cubicBezTo>
                    <a:pt x="494" y="3595"/>
                    <a:pt x="404" y="3505"/>
                    <a:pt x="404" y="3394"/>
                  </a:cubicBezTo>
                  <a:cubicBezTo>
                    <a:pt x="404" y="3392"/>
                    <a:pt x="404" y="3390"/>
                    <a:pt x="404" y="3387"/>
                  </a:cubicBezTo>
                  <a:lnTo>
                    <a:pt x="155" y="615"/>
                  </a:lnTo>
                  <a:cubicBezTo>
                    <a:pt x="155" y="614"/>
                    <a:pt x="155" y="612"/>
                    <a:pt x="155" y="611"/>
                  </a:cubicBezTo>
                  <a:cubicBezTo>
                    <a:pt x="155" y="359"/>
                    <a:pt x="360" y="153"/>
                    <a:pt x="613" y="153"/>
                  </a:cubicBezTo>
                  <a:cubicBezTo>
                    <a:pt x="865" y="153"/>
                    <a:pt x="1070" y="359"/>
                    <a:pt x="1070" y="611"/>
                  </a:cubicBezTo>
                  <a:lnTo>
                    <a:pt x="821" y="3387"/>
                  </a:lnTo>
                  <a:lnTo>
                    <a:pt x="821" y="3387"/>
                  </a:lnTo>
                  <a:close/>
                  <a:moveTo>
                    <a:pt x="613" y="0"/>
                  </a:moveTo>
                  <a:lnTo>
                    <a:pt x="613" y="0"/>
                  </a:lnTo>
                  <a:cubicBezTo>
                    <a:pt x="275" y="0"/>
                    <a:pt x="0" y="273"/>
                    <a:pt x="0" y="605"/>
                  </a:cubicBezTo>
                  <a:cubicBezTo>
                    <a:pt x="0" y="610"/>
                    <a:pt x="0" y="616"/>
                    <a:pt x="0" y="622"/>
                  </a:cubicBezTo>
                  <a:lnTo>
                    <a:pt x="249" y="3398"/>
                  </a:lnTo>
                  <a:cubicBezTo>
                    <a:pt x="251" y="3593"/>
                    <a:pt x="410" y="3750"/>
                    <a:pt x="605" y="3750"/>
                  </a:cubicBezTo>
                  <a:lnTo>
                    <a:pt x="619" y="3750"/>
                  </a:lnTo>
                  <a:cubicBezTo>
                    <a:pt x="814" y="3750"/>
                    <a:pt x="973" y="3593"/>
                    <a:pt x="975" y="3398"/>
                  </a:cubicBezTo>
                  <a:lnTo>
                    <a:pt x="1224" y="631"/>
                  </a:lnTo>
                  <a:lnTo>
                    <a:pt x="1224" y="631"/>
                  </a:lnTo>
                  <a:cubicBezTo>
                    <a:pt x="1225" y="627"/>
                    <a:pt x="1225" y="623"/>
                    <a:pt x="1225" y="618"/>
                  </a:cubicBezTo>
                  <a:lnTo>
                    <a:pt x="1225" y="611"/>
                  </a:lnTo>
                  <a:cubicBezTo>
                    <a:pt x="1225" y="273"/>
                    <a:pt x="950" y="0"/>
                    <a:pt x="61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3A841BA-02A4-44BF-8770-D7DC58841605}"/>
              </a:ext>
            </a:extLst>
          </p:cNvPr>
          <p:cNvGrpSpPr/>
          <p:nvPr/>
        </p:nvGrpSpPr>
        <p:grpSpPr>
          <a:xfrm>
            <a:off x="6343914" y="2536527"/>
            <a:ext cx="604884" cy="317140"/>
            <a:chOff x="2169212" y="2536527"/>
            <a:chExt cx="604884" cy="317140"/>
          </a:xfrm>
        </p:grpSpPr>
        <p:sp>
          <p:nvSpPr>
            <p:cNvPr id="52" name="Arrow: Right 51">
              <a:extLst>
                <a:ext uri="{FF2B5EF4-FFF2-40B4-BE49-F238E27FC236}">
                  <a16:creationId xmlns:a16="http://schemas.microsoft.com/office/drawing/2014/main" id="{88D4E42D-C35C-447C-8245-F9667D72ED8D}"/>
                </a:ext>
              </a:extLst>
            </p:cNvPr>
            <p:cNvSpPr/>
            <p:nvPr/>
          </p:nvSpPr>
          <p:spPr>
            <a:xfrm>
              <a:off x="2256476" y="2536527"/>
              <a:ext cx="517620" cy="317140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E8865309-7B0A-4A86-A6C5-35450B3DEAAE}"/>
                </a:ext>
              </a:extLst>
            </p:cNvPr>
            <p:cNvSpPr/>
            <p:nvPr/>
          </p:nvSpPr>
          <p:spPr>
            <a:xfrm>
              <a:off x="2169212" y="2613051"/>
              <a:ext cx="164093" cy="1640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7C4CC586-DCCB-416E-8A2A-13D8847C2A4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flipH="1">
              <a:off x="2237353" y="2641097"/>
              <a:ext cx="27811" cy="108000"/>
            </a:xfrm>
            <a:custGeom>
              <a:avLst/>
              <a:gdLst>
                <a:gd name="T0" fmla="*/ 610 w 1225"/>
                <a:gd name="T1" fmla="*/ 4644 h 4799"/>
                <a:gd name="T2" fmla="*/ 610 w 1225"/>
                <a:gd name="T3" fmla="*/ 4644 h 4799"/>
                <a:gd name="T4" fmla="*/ 417 w 1225"/>
                <a:gd name="T5" fmla="*/ 4451 h 4799"/>
                <a:gd name="T6" fmla="*/ 610 w 1225"/>
                <a:gd name="T7" fmla="*/ 4259 h 4799"/>
                <a:gd name="T8" fmla="*/ 802 w 1225"/>
                <a:gd name="T9" fmla="*/ 4451 h 4799"/>
                <a:gd name="T10" fmla="*/ 610 w 1225"/>
                <a:gd name="T11" fmla="*/ 4644 h 4799"/>
                <a:gd name="T12" fmla="*/ 610 w 1225"/>
                <a:gd name="T13" fmla="*/ 4644 h 4799"/>
                <a:gd name="T14" fmla="*/ 610 w 1225"/>
                <a:gd name="T15" fmla="*/ 4104 h 4799"/>
                <a:gd name="T16" fmla="*/ 610 w 1225"/>
                <a:gd name="T17" fmla="*/ 4104 h 4799"/>
                <a:gd name="T18" fmla="*/ 263 w 1225"/>
                <a:gd name="T19" fmla="*/ 4451 h 4799"/>
                <a:gd name="T20" fmla="*/ 610 w 1225"/>
                <a:gd name="T21" fmla="*/ 4799 h 4799"/>
                <a:gd name="T22" fmla="*/ 957 w 1225"/>
                <a:gd name="T23" fmla="*/ 4451 h 4799"/>
                <a:gd name="T24" fmla="*/ 610 w 1225"/>
                <a:gd name="T25" fmla="*/ 4104 h 4799"/>
                <a:gd name="T26" fmla="*/ 610 w 1225"/>
                <a:gd name="T27" fmla="*/ 4104 h 4799"/>
                <a:gd name="T28" fmla="*/ 821 w 1225"/>
                <a:gd name="T29" fmla="*/ 3387 h 4799"/>
                <a:gd name="T30" fmla="*/ 821 w 1225"/>
                <a:gd name="T31" fmla="*/ 3387 h 4799"/>
                <a:gd name="T32" fmla="*/ 820 w 1225"/>
                <a:gd name="T33" fmla="*/ 3394 h 4799"/>
                <a:gd name="T34" fmla="*/ 619 w 1225"/>
                <a:gd name="T35" fmla="*/ 3595 h 4799"/>
                <a:gd name="T36" fmla="*/ 605 w 1225"/>
                <a:gd name="T37" fmla="*/ 3595 h 4799"/>
                <a:gd name="T38" fmla="*/ 404 w 1225"/>
                <a:gd name="T39" fmla="*/ 3394 h 4799"/>
                <a:gd name="T40" fmla="*/ 404 w 1225"/>
                <a:gd name="T41" fmla="*/ 3387 h 4799"/>
                <a:gd name="T42" fmla="*/ 155 w 1225"/>
                <a:gd name="T43" fmla="*/ 615 h 4799"/>
                <a:gd name="T44" fmla="*/ 155 w 1225"/>
                <a:gd name="T45" fmla="*/ 611 h 4799"/>
                <a:gd name="T46" fmla="*/ 613 w 1225"/>
                <a:gd name="T47" fmla="*/ 153 h 4799"/>
                <a:gd name="T48" fmla="*/ 1070 w 1225"/>
                <a:gd name="T49" fmla="*/ 611 h 4799"/>
                <a:gd name="T50" fmla="*/ 821 w 1225"/>
                <a:gd name="T51" fmla="*/ 3387 h 4799"/>
                <a:gd name="T52" fmla="*/ 821 w 1225"/>
                <a:gd name="T53" fmla="*/ 3387 h 4799"/>
                <a:gd name="T54" fmla="*/ 613 w 1225"/>
                <a:gd name="T55" fmla="*/ 0 h 4799"/>
                <a:gd name="T56" fmla="*/ 613 w 1225"/>
                <a:gd name="T57" fmla="*/ 0 h 4799"/>
                <a:gd name="T58" fmla="*/ 0 w 1225"/>
                <a:gd name="T59" fmla="*/ 605 h 4799"/>
                <a:gd name="T60" fmla="*/ 0 w 1225"/>
                <a:gd name="T61" fmla="*/ 622 h 4799"/>
                <a:gd name="T62" fmla="*/ 249 w 1225"/>
                <a:gd name="T63" fmla="*/ 3398 h 4799"/>
                <a:gd name="T64" fmla="*/ 605 w 1225"/>
                <a:gd name="T65" fmla="*/ 3750 h 4799"/>
                <a:gd name="T66" fmla="*/ 619 w 1225"/>
                <a:gd name="T67" fmla="*/ 3750 h 4799"/>
                <a:gd name="T68" fmla="*/ 975 w 1225"/>
                <a:gd name="T69" fmla="*/ 3398 h 4799"/>
                <a:gd name="T70" fmla="*/ 1224 w 1225"/>
                <a:gd name="T71" fmla="*/ 631 h 4799"/>
                <a:gd name="T72" fmla="*/ 1224 w 1225"/>
                <a:gd name="T73" fmla="*/ 631 h 4799"/>
                <a:gd name="T74" fmla="*/ 1225 w 1225"/>
                <a:gd name="T75" fmla="*/ 618 h 4799"/>
                <a:gd name="T76" fmla="*/ 1225 w 1225"/>
                <a:gd name="T77" fmla="*/ 611 h 4799"/>
                <a:gd name="T78" fmla="*/ 613 w 1225"/>
                <a:gd name="T79" fmla="*/ 0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25" h="4799">
                  <a:moveTo>
                    <a:pt x="610" y="4644"/>
                  </a:moveTo>
                  <a:lnTo>
                    <a:pt x="610" y="4644"/>
                  </a:lnTo>
                  <a:cubicBezTo>
                    <a:pt x="504" y="4644"/>
                    <a:pt x="417" y="4557"/>
                    <a:pt x="417" y="4451"/>
                  </a:cubicBezTo>
                  <a:cubicBezTo>
                    <a:pt x="417" y="4345"/>
                    <a:pt x="504" y="4259"/>
                    <a:pt x="610" y="4259"/>
                  </a:cubicBezTo>
                  <a:cubicBezTo>
                    <a:pt x="716" y="4259"/>
                    <a:pt x="802" y="4345"/>
                    <a:pt x="802" y="4451"/>
                  </a:cubicBezTo>
                  <a:cubicBezTo>
                    <a:pt x="802" y="4557"/>
                    <a:pt x="716" y="4644"/>
                    <a:pt x="610" y="4644"/>
                  </a:cubicBezTo>
                  <a:lnTo>
                    <a:pt x="610" y="4644"/>
                  </a:lnTo>
                  <a:close/>
                  <a:moveTo>
                    <a:pt x="610" y="4104"/>
                  </a:moveTo>
                  <a:lnTo>
                    <a:pt x="610" y="4104"/>
                  </a:lnTo>
                  <a:cubicBezTo>
                    <a:pt x="418" y="4104"/>
                    <a:pt x="263" y="4260"/>
                    <a:pt x="263" y="4451"/>
                  </a:cubicBezTo>
                  <a:cubicBezTo>
                    <a:pt x="263" y="4643"/>
                    <a:pt x="418" y="4799"/>
                    <a:pt x="610" y="4799"/>
                  </a:cubicBezTo>
                  <a:cubicBezTo>
                    <a:pt x="801" y="4799"/>
                    <a:pt x="957" y="4643"/>
                    <a:pt x="957" y="4451"/>
                  </a:cubicBezTo>
                  <a:cubicBezTo>
                    <a:pt x="957" y="4260"/>
                    <a:pt x="801" y="4104"/>
                    <a:pt x="610" y="4104"/>
                  </a:cubicBezTo>
                  <a:lnTo>
                    <a:pt x="610" y="4104"/>
                  </a:lnTo>
                  <a:close/>
                  <a:moveTo>
                    <a:pt x="821" y="3387"/>
                  </a:moveTo>
                  <a:lnTo>
                    <a:pt x="821" y="3387"/>
                  </a:lnTo>
                  <a:cubicBezTo>
                    <a:pt x="820" y="3390"/>
                    <a:pt x="820" y="3392"/>
                    <a:pt x="820" y="3394"/>
                  </a:cubicBezTo>
                  <a:cubicBezTo>
                    <a:pt x="820" y="3505"/>
                    <a:pt x="730" y="3595"/>
                    <a:pt x="619" y="3595"/>
                  </a:cubicBezTo>
                  <a:lnTo>
                    <a:pt x="605" y="3595"/>
                  </a:lnTo>
                  <a:cubicBezTo>
                    <a:pt x="494" y="3595"/>
                    <a:pt x="404" y="3505"/>
                    <a:pt x="404" y="3394"/>
                  </a:cubicBezTo>
                  <a:cubicBezTo>
                    <a:pt x="404" y="3392"/>
                    <a:pt x="404" y="3390"/>
                    <a:pt x="404" y="3387"/>
                  </a:cubicBezTo>
                  <a:lnTo>
                    <a:pt x="155" y="615"/>
                  </a:lnTo>
                  <a:cubicBezTo>
                    <a:pt x="155" y="614"/>
                    <a:pt x="155" y="612"/>
                    <a:pt x="155" y="611"/>
                  </a:cubicBezTo>
                  <a:cubicBezTo>
                    <a:pt x="155" y="359"/>
                    <a:pt x="360" y="153"/>
                    <a:pt x="613" y="153"/>
                  </a:cubicBezTo>
                  <a:cubicBezTo>
                    <a:pt x="865" y="153"/>
                    <a:pt x="1070" y="359"/>
                    <a:pt x="1070" y="611"/>
                  </a:cubicBezTo>
                  <a:lnTo>
                    <a:pt x="821" y="3387"/>
                  </a:lnTo>
                  <a:lnTo>
                    <a:pt x="821" y="3387"/>
                  </a:lnTo>
                  <a:close/>
                  <a:moveTo>
                    <a:pt x="613" y="0"/>
                  </a:moveTo>
                  <a:lnTo>
                    <a:pt x="613" y="0"/>
                  </a:lnTo>
                  <a:cubicBezTo>
                    <a:pt x="275" y="0"/>
                    <a:pt x="0" y="273"/>
                    <a:pt x="0" y="605"/>
                  </a:cubicBezTo>
                  <a:cubicBezTo>
                    <a:pt x="0" y="610"/>
                    <a:pt x="0" y="616"/>
                    <a:pt x="0" y="622"/>
                  </a:cubicBezTo>
                  <a:lnTo>
                    <a:pt x="249" y="3398"/>
                  </a:lnTo>
                  <a:cubicBezTo>
                    <a:pt x="251" y="3593"/>
                    <a:pt x="410" y="3750"/>
                    <a:pt x="605" y="3750"/>
                  </a:cubicBezTo>
                  <a:lnTo>
                    <a:pt x="619" y="3750"/>
                  </a:lnTo>
                  <a:cubicBezTo>
                    <a:pt x="814" y="3750"/>
                    <a:pt x="973" y="3593"/>
                    <a:pt x="975" y="3398"/>
                  </a:cubicBezTo>
                  <a:lnTo>
                    <a:pt x="1224" y="631"/>
                  </a:lnTo>
                  <a:lnTo>
                    <a:pt x="1224" y="631"/>
                  </a:lnTo>
                  <a:cubicBezTo>
                    <a:pt x="1225" y="627"/>
                    <a:pt x="1225" y="623"/>
                    <a:pt x="1225" y="618"/>
                  </a:cubicBezTo>
                  <a:lnTo>
                    <a:pt x="1225" y="611"/>
                  </a:lnTo>
                  <a:cubicBezTo>
                    <a:pt x="1225" y="273"/>
                    <a:pt x="950" y="0"/>
                    <a:pt x="61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05370DB9-A0F1-4D63-B2B6-9D384BC93938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CBC63-75AB-40D3-BF3B-C31600015C66}"/>
              </a:ext>
            </a:extLst>
          </p:cNvPr>
          <p:cNvSpPr/>
          <p:nvPr/>
        </p:nvSpPr>
        <p:spPr>
          <a:xfrm>
            <a:off x="525463" y="1666240"/>
            <a:ext cx="8020050" cy="2092960"/>
          </a:xfrm>
          <a:prstGeom prst="roundRect">
            <a:avLst>
              <a:gd name="adj" fmla="val 89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5058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FCAD2E2-3E31-4DCB-905E-2286E6554D12}"/>
              </a:ext>
            </a:extLst>
          </p:cNvPr>
          <p:cNvGrpSpPr/>
          <p:nvPr/>
        </p:nvGrpSpPr>
        <p:grpSpPr bwMode="ltGray">
          <a:xfrm>
            <a:off x="3729147" y="2066783"/>
            <a:ext cx="1692951" cy="1662680"/>
            <a:chOff x="4186978" y="2412600"/>
            <a:chExt cx="739978" cy="730628"/>
          </a:xfrm>
          <a:gradFill>
            <a:gsLst>
              <a:gs pos="100000">
                <a:srgbClr val="881D80"/>
              </a:gs>
              <a:gs pos="0">
                <a:srgbClr val="36277F"/>
              </a:gs>
            </a:gsLst>
            <a:lin ang="12600000" scaled="0"/>
          </a:gra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613FCE9-4C89-4AB4-B0A9-1F2E2199333C}"/>
                </a:ext>
              </a:extLst>
            </p:cNvPr>
            <p:cNvSpPr/>
            <p:nvPr/>
          </p:nvSpPr>
          <p:spPr bwMode="ltGray">
            <a:xfrm>
              <a:off x="4186978" y="2412600"/>
              <a:ext cx="739978" cy="73062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" name="Freeform 16">
              <a:extLst>
                <a:ext uri="{FF2B5EF4-FFF2-40B4-BE49-F238E27FC236}">
                  <a16:creationId xmlns:a16="http://schemas.microsoft.com/office/drawing/2014/main" id="{611EF0A1-60FA-4071-898D-3A2CFD1CB29F}"/>
                </a:ext>
              </a:extLst>
            </p:cNvPr>
            <p:cNvSpPr>
              <a:spLocks noChangeAspect="1" noEditPoints="1"/>
            </p:cNvSpPr>
            <p:nvPr/>
          </p:nvSpPr>
          <p:spPr bwMode="ltGray">
            <a:xfrm>
              <a:off x="4349056" y="2552525"/>
              <a:ext cx="415822" cy="450778"/>
            </a:xfrm>
            <a:custGeom>
              <a:avLst/>
              <a:gdLst>
                <a:gd name="T0" fmla="*/ 215 w 3189"/>
                <a:gd name="T1" fmla="*/ 2567 h 3456"/>
                <a:gd name="T2" fmla="*/ 691 w 3189"/>
                <a:gd name="T3" fmla="*/ 3049 h 3456"/>
                <a:gd name="T4" fmla="*/ 394 w 3189"/>
                <a:gd name="T5" fmla="*/ 2262 h 3456"/>
                <a:gd name="T6" fmla="*/ 2995 w 3189"/>
                <a:gd name="T7" fmla="*/ 2038 h 3456"/>
                <a:gd name="T8" fmla="*/ 2748 w 3189"/>
                <a:gd name="T9" fmla="*/ 2678 h 3456"/>
                <a:gd name="T10" fmla="*/ 2926 w 3189"/>
                <a:gd name="T11" fmla="*/ 2965 h 3456"/>
                <a:gd name="T12" fmla="*/ 3062 w 3189"/>
                <a:gd name="T13" fmla="*/ 2106 h 3456"/>
                <a:gd name="T14" fmla="*/ 2114 w 3189"/>
                <a:gd name="T15" fmla="*/ 1812 h 3456"/>
                <a:gd name="T16" fmla="*/ 1919 w 3189"/>
                <a:gd name="T17" fmla="*/ 1941 h 3456"/>
                <a:gd name="T18" fmla="*/ 1876 w 3189"/>
                <a:gd name="T19" fmla="*/ 1712 h 3456"/>
                <a:gd name="T20" fmla="*/ 1445 w 3189"/>
                <a:gd name="T21" fmla="*/ 1733 h 3456"/>
                <a:gd name="T22" fmla="*/ 1357 w 3189"/>
                <a:gd name="T23" fmla="*/ 1949 h 3456"/>
                <a:gd name="T24" fmla="*/ 1192 w 3189"/>
                <a:gd name="T25" fmla="*/ 1784 h 3456"/>
                <a:gd name="T26" fmla="*/ 138 w 3189"/>
                <a:gd name="T27" fmla="*/ 1603 h 3456"/>
                <a:gd name="T28" fmla="*/ 242 w 3189"/>
                <a:gd name="T29" fmla="*/ 1943 h 3456"/>
                <a:gd name="T30" fmla="*/ 207 w 3189"/>
                <a:gd name="T31" fmla="*/ 1550 h 3456"/>
                <a:gd name="T32" fmla="*/ 3044 w 3189"/>
                <a:gd name="T33" fmla="*/ 1826 h 3456"/>
                <a:gd name="T34" fmla="*/ 2937 w 3189"/>
                <a:gd name="T35" fmla="*/ 1483 h 3456"/>
                <a:gd name="T36" fmla="*/ 2295 w 3189"/>
                <a:gd name="T37" fmla="*/ 1128 h 3456"/>
                <a:gd name="T38" fmla="*/ 1495 w 3189"/>
                <a:gd name="T39" fmla="*/ 1580 h 3456"/>
                <a:gd name="T40" fmla="*/ 583 w 3189"/>
                <a:gd name="T41" fmla="*/ 1635 h 3456"/>
                <a:gd name="T42" fmla="*/ 700 w 3189"/>
                <a:gd name="T43" fmla="*/ 2873 h 3456"/>
                <a:gd name="T44" fmla="*/ 1340 w 3189"/>
                <a:gd name="T45" fmla="*/ 3311 h 3456"/>
                <a:gd name="T46" fmla="*/ 2103 w 3189"/>
                <a:gd name="T47" fmla="*/ 3231 h 3456"/>
                <a:gd name="T48" fmla="*/ 2629 w 3189"/>
                <a:gd name="T49" fmla="*/ 2663 h 3456"/>
                <a:gd name="T50" fmla="*/ 2667 w 3189"/>
                <a:gd name="T51" fmla="*/ 946 h 3456"/>
                <a:gd name="T52" fmla="*/ 2757 w 3189"/>
                <a:gd name="T53" fmla="*/ 866 h 3456"/>
                <a:gd name="T54" fmla="*/ 2991 w 3189"/>
                <a:gd name="T55" fmla="*/ 1380 h 3456"/>
                <a:gd name="T56" fmla="*/ 2780 w 3189"/>
                <a:gd name="T57" fmla="*/ 716 h 3456"/>
                <a:gd name="T58" fmla="*/ 1481 w 3189"/>
                <a:gd name="T59" fmla="*/ 925 h 3456"/>
                <a:gd name="T60" fmla="*/ 650 w 3189"/>
                <a:gd name="T61" fmla="*/ 1281 h 3456"/>
                <a:gd name="T62" fmla="*/ 223 w 3189"/>
                <a:gd name="T63" fmla="*/ 1433 h 3456"/>
                <a:gd name="T64" fmla="*/ 781 w 3189"/>
                <a:gd name="T65" fmla="*/ 1537 h 3456"/>
                <a:gd name="T66" fmla="*/ 1639 w 3189"/>
                <a:gd name="T67" fmla="*/ 1408 h 3456"/>
                <a:gd name="T68" fmla="*/ 2288 w 3189"/>
                <a:gd name="T69" fmla="*/ 975 h 3456"/>
                <a:gd name="T70" fmla="*/ 2622 w 3189"/>
                <a:gd name="T71" fmla="*/ 583 h 3456"/>
                <a:gd name="T72" fmla="*/ 2046 w 3189"/>
                <a:gd name="T73" fmla="*/ 484 h 3456"/>
                <a:gd name="T74" fmla="*/ 2036 w 3189"/>
                <a:gd name="T75" fmla="*/ 368 h 3456"/>
                <a:gd name="T76" fmla="*/ 2218 w 3189"/>
                <a:gd name="T77" fmla="*/ 249 h 3456"/>
                <a:gd name="T78" fmla="*/ 1508 w 3189"/>
                <a:gd name="T79" fmla="*/ 295 h 3456"/>
                <a:gd name="T80" fmla="*/ 733 w 3189"/>
                <a:gd name="T81" fmla="*/ 700 h 3456"/>
                <a:gd name="T82" fmla="*/ 312 w 3189"/>
                <a:gd name="T83" fmla="*/ 1176 h 3456"/>
                <a:gd name="T84" fmla="*/ 849 w 3189"/>
                <a:gd name="T85" fmla="*/ 1109 h 3456"/>
                <a:gd name="T86" fmla="*/ 1585 w 3189"/>
                <a:gd name="T87" fmla="*/ 692 h 3456"/>
                <a:gd name="T88" fmla="*/ 1982 w 3189"/>
                <a:gd name="T89" fmla="*/ 242 h 3456"/>
                <a:gd name="T90" fmla="*/ 927 w 3189"/>
                <a:gd name="T91" fmla="*/ 303 h 3456"/>
                <a:gd name="T92" fmla="*/ 323 w 3189"/>
                <a:gd name="T93" fmla="*/ 960 h 3456"/>
                <a:gd name="T94" fmla="*/ 955 w 3189"/>
                <a:gd name="T95" fmla="*/ 401 h 3456"/>
                <a:gd name="T96" fmla="*/ 1751 w 3189"/>
                <a:gd name="T97" fmla="*/ 121 h 3456"/>
                <a:gd name="T98" fmla="*/ 2276 w 3189"/>
                <a:gd name="T99" fmla="*/ 148 h 3456"/>
                <a:gd name="T100" fmla="*/ 2958 w 3189"/>
                <a:gd name="T101" fmla="*/ 777 h 3456"/>
                <a:gd name="T102" fmla="*/ 3189 w 3189"/>
                <a:gd name="T103" fmla="*/ 1694 h 3456"/>
                <a:gd name="T104" fmla="*/ 3150 w 3189"/>
                <a:gd name="T105" fmla="*/ 2473 h 3456"/>
                <a:gd name="T106" fmla="*/ 2982 w 3189"/>
                <a:gd name="T107" fmla="*/ 3114 h 3456"/>
                <a:gd name="T108" fmla="*/ 2302 w 3189"/>
                <a:gd name="T109" fmla="*/ 3248 h 3456"/>
                <a:gd name="T110" fmla="*/ 1588 w 3189"/>
                <a:gd name="T111" fmla="*/ 3456 h 3456"/>
                <a:gd name="T112" fmla="*/ 811 w 3189"/>
                <a:gd name="T113" fmla="*/ 3167 h 3456"/>
                <a:gd name="T114" fmla="*/ 163 w 3189"/>
                <a:gd name="T115" fmla="*/ 2889 h 3456"/>
                <a:gd name="T116" fmla="*/ 67 w 3189"/>
                <a:gd name="T117" fmla="*/ 2195 h 3456"/>
                <a:gd name="T118" fmla="*/ 3 w 3189"/>
                <a:gd name="T119" fmla="*/ 1663 h 3456"/>
                <a:gd name="T120" fmla="*/ 201 w 3189"/>
                <a:gd name="T121" fmla="*/ 948 h 3456"/>
                <a:gd name="T122" fmla="*/ 812 w 3189"/>
                <a:gd name="T123" fmla="*/ 237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89" h="3456">
                  <a:moveTo>
                    <a:pt x="178" y="2039"/>
                  </a:moveTo>
                  <a:lnTo>
                    <a:pt x="179" y="2088"/>
                  </a:lnTo>
                  <a:lnTo>
                    <a:pt x="181" y="2141"/>
                  </a:lnTo>
                  <a:lnTo>
                    <a:pt x="183" y="2196"/>
                  </a:lnTo>
                  <a:lnTo>
                    <a:pt x="186" y="2255"/>
                  </a:lnTo>
                  <a:lnTo>
                    <a:pt x="190" y="2316"/>
                  </a:lnTo>
                  <a:lnTo>
                    <a:pt x="195" y="2377"/>
                  </a:lnTo>
                  <a:lnTo>
                    <a:pt x="200" y="2440"/>
                  </a:lnTo>
                  <a:lnTo>
                    <a:pt x="207" y="2503"/>
                  </a:lnTo>
                  <a:lnTo>
                    <a:pt x="215" y="2567"/>
                  </a:lnTo>
                  <a:lnTo>
                    <a:pt x="224" y="2629"/>
                  </a:lnTo>
                  <a:lnTo>
                    <a:pt x="235" y="2690"/>
                  </a:lnTo>
                  <a:lnTo>
                    <a:pt x="246" y="2750"/>
                  </a:lnTo>
                  <a:lnTo>
                    <a:pt x="260" y="2808"/>
                  </a:lnTo>
                  <a:lnTo>
                    <a:pt x="275" y="2862"/>
                  </a:lnTo>
                  <a:lnTo>
                    <a:pt x="292" y="2912"/>
                  </a:lnTo>
                  <a:lnTo>
                    <a:pt x="312" y="2960"/>
                  </a:lnTo>
                  <a:lnTo>
                    <a:pt x="333" y="3003"/>
                  </a:lnTo>
                  <a:lnTo>
                    <a:pt x="356" y="3040"/>
                  </a:lnTo>
                  <a:lnTo>
                    <a:pt x="691" y="3049"/>
                  </a:lnTo>
                  <a:lnTo>
                    <a:pt x="638" y="2984"/>
                  </a:lnTo>
                  <a:lnTo>
                    <a:pt x="590" y="2915"/>
                  </a:lnTo>
                  <a:lnTo>
                    <a:pt x="546" y="2842"/>
                  </a:lnTo>
                  <a:lnTo>
                    <a:pt x="507" y="2768"/>
                  </a:lnTo>
                  <a:lnTo>
                    <a:pt x="473" y="2689"/>
                  </a:lnTo>
                  <a:lnTo>
                    <a:pt x="445" y="2609"/>
                  </a:lnTo>
                  <a:lnTo>
                    <a:pt x="423" y="2525"/>
                  </a:lnTo>
                  <a:lnTo>
                    <a:pt x="406" y="2439"/>
                  </a:lnTo>
                  <a:lnTo>
                    <a:pt x="397" y="2351"/>
                  </a:lnTo>
                  <a:lnTo>
                    <a:pt x="394" y="2262"/>
                  </a:lnTo>
                  <a:lnTo>
                    <a:pt x="394" y="2103"/>
                  </a:lnTo>
                  <a:lnTo>
                    <a:pt x="393" y="2103"/>
                  </a:lnTo>
                  <a:lnTo>
                    <a:pt x="346" y="2101"/>
                  </a:lnTo>
                  <a:lnTo>
                    <a:pt x="301" y="2092"/>
                  </a:lnTo>
                  <a:lnTo>
                    <a:pt x="258" y="2079"/>
                  </a:lnTo>
                  <a:lnTo>
                    <a:pt x="217" y="2061"/>
                  </a:lnTo>
                  <a:lnTo>
                    <a:pt x="178" y="2039"/>
                  </a:lnTo>
                  <a:close/>
                  <a:moveTo>
                    <a:pt x="3066" y="1986"/>
                  </a:moveTo>
                  <a:lnTo>
                    <a:pt x="3033" y="2014"/>
                  </a:lnTo>
                  <a:lnTo>
                    <a:pt x="2995" y="2038"/>
                  </a:lnTo>
                  <a:lnTo>
                    <a:pt x="2955" y="2058"/>
                  </a:lnTo>
                  <a:lnTo>
                    <a:pt x="2913" y="2073"/>
                  </a:lnTo>
                  <a:lnTo>
                    <a:pt x="2868" y="2082"/>
                  </a:lnTo>
                  <a:lnTo>
                    <a:pt x="2822" y="2086"/>
                  </a:lnTo>
                  <a:lnTo>
                    <a:pt x="2822" y="2263"/>
                  </a:lnTo>
                  <a:lnTo>
                    <a:pt x="2819" y="2350"/>
                  </a:lnTo>
                  <a:lnTo>
                    <a:pt x="2810" y="2435"/>
                  </a:lnTo>
                  <a:lnTo>
                    <a:pt x="2795" y="2519"/>
                  </a:lnTo>
                  <a:lnTo>
                    <a:pt x="2774" y="2599"/>
                  </a:lnTo>
                  <a:lnTo>
                    <a:pt x="2748" y="2678"/>
                  </a:lnTo>
                  <a:lnTo>
                    <a:pt x="2716" y="2754"/>
                  </a:lnTo>
                  <a:lnTo>
                    <a:pt x="2680" y="2828"/>
                  </a:lnTo>
                  <a:lnTo>
                    <a:pt x="2638" y="2898"/>
                  </a:lnTo>
                  <a:lnTo>
                    <a:pt x="2593" y="2966"/>
                  </a:lnTo>
                  <a:lnTo>
                    <a:pt x="2543" y="3030"/>
                  </a:lnTo>
                  <a:lnTo>
                    <a:pt x="2488" y="3089"/>
                  </a:lnTo>
                  <a:lnTo>
                    <a:pt x="2855" y="3099"/>
                  </a:lnTo>
                  <a:lnTo>
                    <a:pt x="2880" y="3061"/>
                  </a:lnTo>
                  <a:lnTo>
                    <a:pt x="2904" y="3016"/>
                  </a:lnTo>
                  <a:lnTo>
                    <a:pt x="2926" y="2965"/>
                  </a:lnTo>
                  <a:lnTo>
                    <a:pt x="2946" y="2907"/>
                  </a:lnTo>
                  <a:lnTo>
                    <a:pt x="2965" y="2843"/>
                  </a:lnTo>
                  <a:lnTo>
                    <a:pt x="2982" y="2773"/>
                  </a:lnTo>
                  <a:lnTo>
                    <a:pt x="2998" y="2697"/>
                  </a:lnTo>
                  <a:lnTo>
                    <a:pt x="3013" y="2613"/>
                  </a:lnTo>
                  <a:lnTo>
                    <a:pt x="3025" y="2524"/>
                  </a:lnTo>
                  <a:lnTo>
                    <a:pt x="3037" y="2429"/>
                  </a:lnTo>
                  <a:lnTo>
                    <a:pt x="3046" y="2328"/>
                  </a:lnTo>
                  <a:lnTo>
                    <a:pt x="3055" y="2220"/>
                  </a:lnTo>
                  <a:lnTo>
                    <a:pt x="3062" y="2106"/>
                  </a:lnTo>
                  <a:lnTo>
                    <a:pt x="3066" y="1986"/>
                  </a:lnTo>
                  <a:close/>
                  <a:moveTo>
                    <a:pt x="1974" y="1671"/>
                  </a:moveTo>
                  <a:lnTo>
                    <a:pt x="2002" y="1675"/>
                  </a:lnTo>
                  <a:lnTo>
                    <a:pt x="2029" y="1682"/>
                  </a:lnTo>
                  <a:lnTo>
                    <a:pt x="2052" y="1696"/>
                  </a:lnTo>
                  <a:lnTo>
                    <a:pt x="2073" y="1712"/>
                  </a:lnTo>
                  <a:lnTo>
                    <a:pt x="2090" y="1733"/>
                  </a:lnTo>
                  <a:lnTo>
                    <a:pt x="2104" y="1757"/>
                  </a:lnTo>
                  <a:lnTo>
                    <a:pt x="2112" y="1784"/>
                  </a:lnTo>
                  <a:lnTo>
                    <a:pt x="2114" y="1812"/>
                  </a:lnTo>
                  <a:lnTo>
                    <a:pt x="2112" y="1840"/>
                  </a:lnTo>
                  <a:lnTo>
                    <a:pt x="2104" y="1866"/>
                  </a:lnTo>
                  <a:lnTo>
                    <a:pt x="2090" y="1889"/>
                  </a:lnTo>
                  <a:lnTo>
                    <a:pt x="2073" y="1910"/>
                  </a:lnTo>
                  <a:lnTo>
                    <a:pt x="2052" y="1928"/>
                  </a:lnTo>
                  <a:lnTo>
                    <a:pt x="2029" y="1941"/>
                  </a:lnTo>
                  <a:lnTo>
                    <a:pt x="2002" y="1949"/>
                  </a:lnTo>
                  <a:lnTo>
                    <a:pt x="1974" y="1952"/>
                  </a:lnTo>
                  <a:lnTo>
                    <a:pt x="1947" y="1949"/>
                  </a:lnTo>
                  <a:lnTo>
                    <a:pt x="1919" y="1941"/>
                  </a:lnTo>
                  <a:lnTo>
                    <a:pt x="1896" y="1928"/>
                  </a:lnTo>
                  <a:lnTo>
                    <a:pt x="1876" y="1910"/>
                  </a:lnTo>
                  <a:lnTo>
                    <a:pt x="1859" y="1889"/>
                  </a:lnTo>
                  <a:lnTo>
                    <a:pt x="1845" y="1866"/>
                  </a:lnTo>
                  <a:lnTo>
                    <a:pt x="1837" y="1840"/>
                  </a:lnTo>
                  <a:lnTo>
                    <a:pt x="1835" y="1812"/>
                  </a:lnTo>
                  <a:lnTo>
                    <a:pt x="1837" y="1784"/>
                  </a:lnTo>
                  <a:lnTo>
                    <a:pt x="1845" y="1757"/>
                  </a:lnTo>
                  <a:lnTo>
                    <a:pt x="1859" y="1733"/>
                  </a:lnTo>
                  <a:lnTo>
                    <a:pt x="1876" y="1712"/>
                  </a:lnTo>
                  <a:lnTo>
                    <a:pt x="1896" y="1696"/>
                  </a:lnTo>
                  <a:lnTo>
                    <a:pt x="1919" y="1682"/>
                  </a:lnTo>
                  <a:lnTo>
                    <a:pt x="1947" y="1675"/>
                  </a:lnTo>
                  <a:lnTo>
                    <a:pt x="1974" y="1671"/>
                  </a:lnTo>
                  <a:close/>
                  <a:moveTo>
                    <a:pt x="1329" y="1671"/>
                  </a:moveTo>
                  <a:lnTo>
                    <a:pt x="1357" y="1675"/>
                  </a:lnTo>
                  <a:lnTo>
                    <a:pt x="1383" y="1682"/>
                  </a:lnTo>
                  <a:lnTo>
                    <a:pt x="1407" y="1696"/>
                  </a:lnTo>
                  <a:lnTo>
                    <a:pt x="1427" y="1712"/>
                  </a:lnTo>
                  <a:lnTo>
                    <a:pt x="1445" y="1733"/>
                  </a:lnTo>
                  <a:lnTo>
                    <a:pt x="1458" y="1757"/>
                  </a:lnTo>
                  <a:lnTo>
                    <a:pt x="1466" y="1784"/>
                  </a:lnTo>
                  <a:lnTo>
                    <a:pt x="1469" y="1812"/>
                  </a:lnTo>
                  <a:lnTo>
                    <a:pt x="1466" y="1840"/>
                  </a:lnTo>
                  <a:lnTo>
                    <a:pt x="1458" y="1866"/>
                  </a:lnTo>
                  <a:lnTo>
                    <a:pt x="1445" y="1889"/>
                  </a:lnTo>
                  <a:lnTo>
                    <a:pt x="1427" y="1910"/>
                  </a:lnTo>
                  <a:lnTo>
                    <a:pt x="1407" y="1928"/>
                  </a:lnTo>
                  <a:lnTo>
                    <a:pt x="1383" y="1941"/>
                  </a:lnTo>
                  <a:lnTo>
                    <a:pt x="1357" y="1949"/>
                  </a:lnTo>
                  <a:lnTo>
                    <a:pt x="1329" y="1952"/>
                  </a:lnTo>
                  <a:lnTo>
                    <a:pt x="1301" y="1949"/>
                  </a:lnTo>
                  <a:lnTo>
                    <a:pt x="1274" y="1941"/>
                  </a:lnTo>
                  <a:lnTo>
                    <a:pt x="1250" y="1928"/>
                  </a:lnTo>
                  <a:lnTo>
                    <a:pt x="1229" y="1910"/>
                  </a:lnTo>
                  <a:lnTo>
                    <a:pt x="1213" y="1889"/>
                  </a:lnTo>
                  <a:lnTo>
                    <a:pt x="1200" y="1866"/>
                  </a:lnTo>
                  <a:lnTo>
                    <a:pt x="1192" y="1840"/>
                  </a:lnTo>
                  <a:lnTo>
                    <a:pt x="1189" y="1812"/>
                  </a:lnTo>
                  <a:lnTo>
                    <a:pt x="1192" y="1784"/>
                  </a:lnTo>
                  <a:lnTo>
                    <a:pt x="1200" y="1757"/>
                  </a:lnTo>
                  <a:lnTo>
                    <a:pt x="1213" y="1733"/>
                  </a:lnTo>
                  <a:lnTo>
                    <a:pt x="1229" y="1712"/>
                  </a:lnTo>
                  <a:lnTo>
                    <a:pt x="1250" y="1696"/>
                  </a:lnTo>
                  <a:lnTo>
                    <a:pt x="1274" y="1682"/>
                  </a:lnTo>
                  <a:lnTo>
                    <a:pt x="1301" y="1675"/>
                  </a:lnTo>
                  <a:lnTo>
                    <a:pt x="1329" y="1671"/>
                  </a:lnTo>
                  <a:close/>
                  <a:moveTo>
                    <a:pt x="176" y="1539"/>
                  </a:moveTo>
                  <a:lnTo>
                    <a:pt x="155" y="1570"/>
                  </a:lnTo>
                  <a:lnTo>
                    <a:pt x="138" y="1603"/>
                  </a:lnTo>
                  <a:lnTo>
                    <a:pt x="126" y="1637"/>
                  </a:lnTo>
                  <a:lnTo>
                    <a:pt x="118" y="1674"/>
                  </a:lnTo>
                  <a:lnTo>
                    <a:pt x="115" y="1710"/>
                  </a:lnTo>
                  <a:lnTo>
                    <a:pt x="118" y="1751"/>
                  </a:lnTo>
                  <a:lnTo>
                    <a:pt x="128" y="1790"/>
                  </a:lnTo>
                  <a:lnTo>
                    <a:pt x="141" y="1827"/>
                  </a:lnTo>
                  <a:lnTo>
                    <a:pt x="160" y="1861"/>
                  </a:lnTo>
                  <a:lnTo>
                    <a:pt x="183" y="1892"/>
                  </a:lnTo>
                  <a:lnTo>
                    <a:pt x="210" y="1920"/>
                  </a:lnTo>
                  <a:lnTo>
                    <a:pt x="242" y="1943"/>
                  </a:lnTo>
                  <a:lnTo>
                    <a:pt x="275" y="1962"/>
                  </a:lnTo>
                  <a:lnTo>
                    <a:pt x="313" y="1976"/>
                  </a:lnTo>
                  <a:lnTo>
                    <a:pt x="352" y="1985"/>
                  </a:lnTo>
                  <a:lnTo>
                    <a:pt x="393" y="1988"/>
                  </a:lnTo>
                  <a:lnTo>
                    <a:pt x="394" y="1988"/>
                  </a:lnTo>
                  <a:lnTo>
                    <a:pt x="394" y="1600"/>
                  </a:lnTo>
                  <a:lnTo>
                    <a:pt x="339" y="1588"/>
                  </a:lnTo>
                  <a:lnTo>
                    <a:pt x="289" y="1574"/>
                  </a:lnTo>
                  <a:lnTo>
                    <a:pt x="246" y="1563"/>
                  </a:lnTo>
                  <a:lnTo>
                    <a:pt x="207" y="1550"/>
                  </a:lnTo>
                  <a:lnTo>
                    <a:pt x="176" y="1539"/>
                  </a:lnTo>
                  <a:close/>
                  <a:moveTo>
                    <a:pt x="2822" y="1452"/>
                  </a:moveTo>
                  <a:lnTo>
                    <a:pt x="2822" y="1969"/>
                  </a:lnTo>
                  <a:lnTo>
                    <a:pt x="2863" y="1964"/>
                  </a:lnTo>
                  <a:lnTo>
                    <a:pt x="2901" y="1953"/>
                  </a:lnTo>
                  <a:lnTo>
                    <a:pt x="2937" y="1937"/>
                  </a:lnTo>
                  <a:lnTo>
                    <a:pt x="2970" y="1915"/>
                  </a:lnTo>
                  <a:lnTo>
                    <a:pt x="2999" y="1890"/>
                  </a:lnTo>
                  <a:lnTo>
                    <a:pt x="3023" y="1860"/>
                  </a:lnTo>
                  <a:lnTo>
                    <a:pt x="3044" y="1826"/>
                  </a:lnTo>
                  <a:lnTo>
                    <a:pt x="3059" y="1791"/>
                  </a:lnTo>
                  <a:lnTo>
                    <a:pt x="3068" y="1751"/>
                  </a:lnTo>
                  <a:lnTo>
                    <a:pt x="3072" y="1710"/>
                  </a:lnTo>
                  <a:lnTo>
                    <a:pt x="3069" y="1669"/>
                  </a:lnTo>
                  <a:lnTo>
                    <a:pt x="3060" y="1631"/>
                  </a:lnTo>
                  <a:lnTo>
                    <a:pt x="3044" y="1594"/>
                  </a:lnTo>
                  <a:lnTo>
                    <a:pt x="3024" y="1560"/>
                  </a:lnTo>
                  <a:lnTo>
                    <a:pt x="2999" y="1530"/>
                  </a:lnTo>
                  <a:lnTo>
                    <a:pt x="2970" y="1505"/>
                  </a:lnTo>
                  <a:lnTo>
                    <a:pt x="2937" y="1483"/>
                  </a:lnTo>
                  <a:lnTo>
                    <a:pt x="2902" y="1467"/>
                  </a:lnTo>
                  <a:lnTo>
                    <a:pt x="2863" y="1456"/>
                  </a:lnTo>
                  <a:lnTo>
                    <a:pt x="2822" y="1452"/>
                  </a:lnTo>
                  <a:close/>
                  <a:moveTo>
                    <a:pt x="2590" y="821"/>
                  </a:moveTo>
                  <a:lnTo>
                    <a:pt x="2551" y="868"/>
                  </a:lnTo>
                  <a:lnTo>
                    <a:pt x="2507" y="917"/>
                  </a:lnTo>
                  <a:lnTo>
                    <a:pt x="2461" y="969"/>
                  </a:lnTo>
                  <a:lnTo>
                    <a:pt x="2410" y="1021"/>
                  </a:lnTo>
                  <a:lnTo>
                    <a:pt x="2354" y="1075"/>
                  </a:lnTo>
                  <a:lnTo>
                    <a:pt x="2295" y="1128"/>
                  </a:lnTo>
                  <a:lnTo>
                    <a:pt x="2234" y="1181"/>
                  </a:lnTo>
                  <a:lnTo>
                    <a:pt x="2167" y="1234"/>
                  </a:lnTo>
                  <a:lnTo>
                    <a:pt x="2096" y="1286"/>
                  </a:lnTo>
                  <a:lnTo>
                    <a:pt x="2022" y="1336"/>
                  </a:lnTo>
                  <a:lnTo>
                    <a:pt x="1945" y="1384"/>
                  </a:lnTo>
                  <a:lnTo>
                    <a:pt x="1863" y="1431"/>
                  </a:lnTo>
                  <a:lnTo>
                    <a:pt x="1778" y="1474"/>
                  </a:lnTo>
                  <a:lnTo>
                    <a:pt x="1689" y="1512"/>
                  </a:lnTo>
                  <a:lnTo>
                    <a:pt x="1596" y="1548"/>
                  </a:lnTo>
                  <a:lnTo>
                    <a:pt x="1495" y="1580"/>
                  </a:lnTo>
                  <a:lnTo>
                    <a:pt x="1395" y="1607"/>
                  </a:lnTo>
                  <a:lnTo>
                    <a:pt x="1296" y="1626"/>
                  </a:lnTo>
                  <a:lnTo>
                    <a:pt x="1199" y="1642"/>
                  </a:lnTo>
                  <a:lnTo>
                    <a:pt x="1104" y="1653"/>
                  </a:lnTo>
                  <a:lnTo>
                    <a:pt x="1011" y="1658"/>
                  </a:lnTo>
                  <a:lnTo>
                    <a:pt x="919" y="1660"/>
                  </a:lnTo>
                  <a:lnTo>
                    <a:pt x="829" y="1658"/>
                  </a:lnTo>
                  <a:lnTo>
                    <a:pt x="743" y="1653"/>
                  </a:lnTo>
                  <a:lnTo>
                    <a:pt x="661" y="1645"/>
                  </a:lnTo>
                  <a:lnTo>
                    <a:pt x="583" y="1635"/>
                  </a:lnTo>
                  <a:lnTo>
                    <a:pt x="509" y="1623"/>
                  </a:lnTo>
                  <a:lnTo>
                    <a:pt x="509" y="2262"/>
                  </a:lnTo>
                  <a:lnTo>
                    <a:pt x="512" y="2346"/>
                  </a:lnTo>
                  <a:lnTo>
                    <a:pt x="521" y="2429"/>
                  </a:lnTo>
                  <a:lnTo>
                    <a:pt x="537" y="2509"/>
                  </a:lnTo>
                  <a:lnTo>
                    <a:pt x="559" y="2587"/>
                  </a:lnTo>
                  <a:lnTo>
                    <a:pt x="586" y="2663"/>
                  </a:lnTo>
                  <a:lnTo>
                    <a:pt x="619" y="2735"/>
                  </a:lnTo>
                  <a:lnTo>
                    <a:pt x="657" y="2806"/>
                  </a:lnTo>
                  <a:lnTo>
                    <a:pt x="700" y="2873"/>
                  </a:lnTo>
                  <a:lnTo>
                    <a:pt x="747" y="2936"/>
                  </a:lnTo>
                  <a:lnTo>
                    <a:pt x="798" y="2995"/>
                  </a:lnTo>
                  <a:lnTo>
                    <a:pt x="853" y="3052"/>
                  </a:lnTo>
                  <a:lnTo>
                    <a:pt x="913" y="3103"/>
                  </a:lnTo>
                  <a:lnTo>
                    <a:pt x="977" y="3150"/>
                  </a:lnTo>
                  <a:lnTo>
                    <a:pt x="1043" y="3193"/>
                  </a:lnTo>
                  <a:lnTo>
                    <a:pt x="1113" y="3231"/>
                  </a:lnTo>
                  <a:lnTo>
                    <a:pt x="1186" y="3263"/>
                  </a:lnTo>
                  <a:lnTo>
                    <a:pt x="1262" y="3291"/>
                  </a:lnTo>
                  <a:lnTo>
                    <a:pt x="1340" y="3311"/>
                  </a:lnTo>
                  <a:lnTo>
                    <a:pt x="1421" y="3327"/>
                  </a:lnTo>
                  <a:lnTo>
                    <a:pt x="1503" y="3337"/>
                  </a:lnTo>
                  <a:lnTo>
                    <a:pt x="1588" y="3340"/>
                  </a:lnTo>
                  <a:lnTo>
                    <a:pt x="1629" y="3340"/>
                  </a:lnTo>
                  <a:lnTo>
                    <a:pt x="1714" y="3337"/>
                  </a:lnTo>
                  <a:lnTo>
                    <a:pt x="1796" y="3327"/>
                  </a:lnTo>
                  <a:lnTo>
                    <a:pt x="1877" y="3311"/>
                  </a:lnTo>
                  <a:lnTo>
                    <a:pt x="1954" y="3291"/>
                  </a:lnTo>
                  <a:lnTo>
                    <a:pt x="2030" y="3263"/>
                  </a:lnTo>
                  <a:lnTo>
                    <a:pt x="2103" y="3231"/>
                  </a:lnTo>
                  <a:lnTo>
                    <a:pt x="2173" y="3193"/>
                  </a:lnTo>
                  <a:lnTo>
                    <a:pt x="2240" y="3150"/>
                  </a:lnTo>
                  <a:lnTo>
                    <a:pt x="2303" y="3103"/>
                  </a:lnTo>
                  <a:lnTo>
                    <a:pt x="2362" y="3052"/>
                  </a:lnTo>
                  <a:lnTo>
                    <a:pt x="2418" y="2996"/>
                  </a:lnTo>
                  <a:lnTo>
                    <a:pt x="2469" y="2937"/>
                  </a:lnTo>
                  <a:lnTo>
                    <a:pt x="2516" y="2873"/>
                  </a:lnTo>
                  <a:lnTo>
                    <a:pt x="2559" y="2807"/>
                  </a:lnTo>
                  <a:lnTo>
                    <a:pt x="2597" y="2737"/>
                  </a:lnTo>
                  <a:lnTo>
                    <a:pt x="2629" y="2663"/>
                  </a:lnTo>
                  <a:lnTo>
                    <a:pt x="2657" y="2588"/>
                  </a:lnTo>
                  <a:lnTo>
                    <a:pt x="2678" y="2510"/>
                  </a:lnTo>
                  <a:lnTo>
                    <a:pt x="2693" y="2430"/>
                  </a:lnTo>
                  <a:lnTo>
                    <a:pt x="2704" y="2347"/>
                  </a:lnTo>
                  <a:lnTo>
                    <a:pt x="2707" y="2263"/>
                  </a:lnTo>
                  <a:lnTo>
                    <a:pt x="2707" y="1136"/>
                  </a:lnTo>
                  <a:lnTo>
                    <a:pt x="2704" y="1087"/>
                  </a:lnTo>
                  <a:lnTo>
                    <a:pt x="2696" y="1039"/>
                  </a:lnTo>
                  <a:lnTo>
                    <a:pt x="2684" y="992"/>
                  </a:lnTo>
                  <a:lnTo>
                    <a:pt x="2667" y="946"/>
                  </a:lnTo>
                  <a:lnTo>
                    <a:pt x="2645" y="902"/>
                  </a:lnTo>
                  <a:lnTo>
                    <a:pt x="2620" y="860"/>
                  </a:lnTo>
                  <a:lnTo>
                    <a:pt x="2590" y="821"/>
                  </a:lnTo>
                  <a:close/>
                  <a:moveTo>
                    <a:pt x="2723" y="642"/>
                  </a:moveTo>
                  <a:lnTo>
                    <a:pt x="2706" y="667"/>
                  </a:lnTo>
                  <a:lnTo>
                    <a:pt x="2685" y="696"/>
                  </a:lnTo>
                  <a:lnTo>
                    <a:pt x="2662" y="728"/>
                  </a:lnTo>
                  <a:lnTo>
                    <a:pt x="2699" y="772"/>
                  </a:lnTo>
                  <a:lnTo>
                    <a:pt x="2730" y="818"/>
                  </a:lnTo>
                  <a:lnTo>
                    <a:pt x="2757" y="866"/>
                  </a:lnTo>
                  <a:lnTo>
                    <a:pt x="2780" y="917"/>
                  </a:lnTo>
                  <a:lnTo>
                    <a:pt x="2798" y="970"/>
                  </a:lnTo>
                  <a:lnTo>
                    <a:pt x="2812" y="1024"/>
                  </a:lnTo>
                  <a:lnTo>
                    <a:pt x="2820" y="1080"/>
                  </a:lnTo>
                  <a:lnTo>
                    <a:pt x="2822" y="1136"/>
                  </a:lnTo>
                  <a:lnTo>
                    <a:pt x="2822" y="1335"/>
                  </a:lnTo>
                  <a:lnTo>
                    <a:pt x="2867" y="1338"/>
                  </a:lnTo>
                  <a:lnTo>
                    <a:pt x="2910" y="1348"/>
                  </a:lnTo>
                  <a:lnTo>
                    <a:pt x="2952" y="1361"/>
                  </a:lnTo>
                  <a:lnTo>
                    <a:pt x="2991" y="1380"/>
                  </a:lnTo>
                  <a:lnTo>
                    <a:pt x="3026" y="1402"/>
                  </a:lnTo>
                  <a:lnTo>
                    <a:pt x="3060" y="1428"/>
                  </a:lnTo>
                  <a:lnTo>
                    <a:pt x="3045" y="1331"/>
                  </a:lnTo>
                  <a:lnTo>
                    <a:pt x="3023" y="1235"/>
                  </a:lnTo>
                  <a:lnTo>
                    <a:pt x="2996" y="1140"/>
                  </a:lnTo>
                  <a:lnTo>
                    <a:pt x="2964" y="1049"/>
                  </a:lnTo>
                  <a:lnTo>
                    <a:pt x="2925" y="961"/>
                  </a:lnTo>
                  <a:lnTo>
                    <a:pt x="2882" y="877"/>
                  </a:lnTo>
                  <a:lnTo>
                    <a:pt x="2834" y="795"/>
                  </a:lnTo>
                  <a:lnTo>
                    <a:pt x="2780" y="716"/>
                  </a:lnTo>
                  <a:lnTo>
                    <a:pt x="2723" y="642"/>
                  </a:lnTo>
                  <a:close/>
                  <a:moveTo>
                    <a:pt x="1952" y="478"/>
                  </a:moveTo>
                  <a:lnTo>
                    <a:pt x="1908" y="531"/>
                  </a:lnTo>
                  <a:lnTo>
                    <a:pt x="1860" y="585"/>
                  </a:lnTo>
                  <a:lnTo>
                    <a:pt x="1807" y="641"/>
                  </a:lnTo>
                  <a:lnTo>
                    <a:pt x="1751" y="699"/>
                  </a:lnTo>
                  <a:lnTo>
                    <a:pt x="1690" y="756"/>
                  </a:lnTo>
                  <a:lnTo>
                    <a:pt x="1624" y="813"/>
                  </a:lnTo>
                  <a:lnTo>
                    <a:pt x="1555" y="869"/>
                  </a:lnTo>
                  <a:lnTo>
                    <a:pt x="1481" y="925"/>
                  </a:lnTo>
                  <a:lnTo>
                    <a:pt x="1402" y="977"/>
                  </a:lnTo>
                  <a:lnTo>
                    <a:pt x="1319" y="1028"/>
                  </a:lnTo>
                  <a:lnTo>
                    <a:pt x="1230" y="1078"/>
                  </a:lnTo>
                  <a:lnTo>
                    <a:pt x="1142" y="1121"/>
                  </a:lnTo>
                  <a:lnTo>
                    <a:pt x="1055" y="1158"/>
                  </a:lnTo>
                  <a:lnTo>
                    <a:pt x="969" y="1192"/>
                  </a:lnTo>
                  <a:lnTo>
                    <a:pt x="885" y="1220"/>
                  </a:lnTo>
                  <a:lnTo>
                    <a:pt x="803" y="1244"/>
                  </a:lnTo>
                  <a:lnTo>
                    <a:pt x="725" y="1264"/>
                  </a:lnTo>
                  <a:lnTo>
                    <a:pt x="650" y="1281"/>
                  </a:lnTo>
                  <a:lnTo>
                    <a:pt x="579" y="1294"/>
                  </a:lnTo>
                  <a:lnTo>
                    <a:pt x="512" y="1305"/>
                  </a:lnTo>
                  <a:lnTo>
                    <a:pt x="450" y="1313"/>
                  </a:lnTo>
                  <a:lnTo>
                    <a:pt x="393" y="1319"/>
                  </a:lnTo>
                  <a:lnTo>
                    <a:pt x="342" y="1323"/>
                  </a:lnTo>
                  <a:lnTo>
                    <a:pt x="297" y="1325"/>
                  </a:lnTo>
                  <a:lnTo>
                    <a:pt x="275" y="1356"/>
                  </a:lnTo>
                  <a:lnTo>
                    <a:pt x="256" y="1384"/>
                  </a:lnTo>
                  <a:lnTo>
                    <a:pt x="238" y="1411"/>
                  </a:lnTo>
                  <a:lnTo>
                    <a:pt x="223" y="1433"/>
                  </a:lnTo>
                  <a:lnTo>
                    <a:pt x="256" y="1443"/>
                  </a:lnTo>
                  <a:lnTo>
                    <a:pt x="294" y="1455"/>
                  </a:lnTo>
                  <a:lnTo>
                    <a:pt x="338" y="1467"/>
                  </a:lnTo>
                  <a:lnTo>
                    <a:pt x="389" y="1479"/>
                  </a:lnTo>
                  <a:lnTo>
                    <a:pt x="443" y="1491"/>
                  </a:lnTo>
                  <a:lnTo>
                    <a:pt x="503" y="1503"/>
                  </a:lnTo>
                  <a:lnTo>
                    <a:pt x="567" y="1514"/>
                  </a:lnTo>
                  <a:lnTo>
                    <a:pt x="635" y="1524"/>
                  </a:lnTo>
                  <a:lnTo>
                    <a:pt x="707" y="1532"/>
                  </a:lnTo>
                  <a:lnTo>
                    <a:pt x="781" y="1537"/>
                  </a:lnTo>
                  <a:lnTo>
                    <a:pt x="860" y="1542"/>
                  </a:lnTo>
                  <a:lnTo>
                    <a:pt x="940" y="1543"/>
                  </a:lnTo>
                  <a:lnTo>
                    <a:pt x="1024" y="1541"/>
                  </a:lnTo>
                  <a:lnTo>
                    <a:pt x="1110" y="1534"/>
                  </a:lnTo>
                  <a:lnTo>
                    <a:pt x="1197" y="1525"/>
                  </a:lnTo>
                  <a:lnTo>
                    <a:pt x="1286" y="1510"/>
                  </a:lnTo>
                  <a:lnTo>
                    <a:pt x="1376" y="1491"/>
                  </a:lnTo>
                  <a:lnTo>
                    <a:pt x="1466" y="1468"/>
                  </a:lnTo>
                  <a:lnTo>
                    <a:pt x="1558" y="1439"/>
                  </a:lnTo>
                  <a:lnTo>
                    <a:pt x="1639" y="1408"/>
                  </a:lnTo>
                  <a:lnTo>
                    <a:pt x="1717" y="1374"/>
                  </a:lnTo>
                  <a:lnTo>
                    <a:pt x="1793" y="1336"/>
                  </a:lnTo>
                  <a:lnTo>
                    <a:pt x="1865" y="1297"/>
                  </a:lnTo>
                  <a:lnTo>
                    <a:pt x="1934" y="1255"/>
                  </a:lnTo>
                  <a:lnTo>
                    <a:pt x="2001" y="1210"/>
                  </a:lnTo>
                  <a:lnTo>
                    <a:pt x="2065" y="1165"/>
                  </a:lnTo>
                  <a:lnTo>
                    <a:pt x="2125" y="1117"/>
                  </a:lnTo>
                  <a:lnTo>
                    <a:pt x="2182" y="1070"/>
                  </a:lnTo>
                  <a:lnTo>
                    <a:pt x="2237" y="1023"/>
                  </a:lnTo>
                  <a:lnTo>
                    <a:pt x="2288" y="975"/>
                  </a:lnTo>
                  <a:lnTo>
                    <a:pt x="2336" y="928"/>
                  </a:lnTo>
                  <a:lnTo>
                    <a:pt x="2381" y="881"/>
                  </a:lnTo>
                  <a:lnTo>
                    <a:pt x="2423" y="836"/>
                  </a:lnTo>
                  <a:lnTo>
                    <a:pt x="2461" y="792"/>
                  </a:lnTo>
                  <a:lnTo>
                    <a:pt x="2496" y="750"/>
                  </a:lnTo>
                  <a:lnTo>
                    <a:pt x="2528" y="711"/>
                  </a:lnTo>
                  <a:lnTo>
                    <a:pt x="2557" y="674"/>
                  </a:lnTo>
                  <a:lnTo>
                    <a:pt x="2582" y="640"/>
                  </a:lnTo>
                  <a:lnTo>
                    <a:pt x="2603" y="610"/>
                  </a:lnTo>
                  <a:lnTo>
                    <a:pt x="2622" y="583"/>
                  </a:lnTo>
                  <a:lnTo>
                    <a:pt x="2588" y="574"/>
                  </a:lnTo>
                  <a:lnTo>
                    <a:pt x="2548" y="562"/>
                  </a:lnTo>
                  <a:lnTo>
                    <a:pt x="2501" y="551"/>
                  </a:lnTo>
                  <a:lnTo>
                    <a:pt x="2449" y="539"/>
                  </a:lnTo>
                  <a:lnTo>
                    <a:pt x="2393" y="528"/>
                  </a:lnTo>
                  <a:lnTo>
                    <a:pt x="2332" y="516"/>
                  </a:lnTo>
                  <a:lnTo>
                    <a:pt x="2266" y="506"/>
                  </a:lnTo>
                  <a:lnTo>
                    <a:pt x="2196" y="497"/>
                  </a:lnTo>
                  <a:lnTo>
                    <a:pt x="2123" y="490"/>
                  </a:lnTo>
                  <a:lnTo>
                    <a:pt x="2046" y="484"/>
                  </a:lnTo>
                  <a:lnTo>
                    <a:pt x="1967" y="481"/>
                  </a:lnTo>
                  <a:lnTo>
                    <a:pt x="1961" y="481"/>
                  </a:lnTo>
                  <a:lnTo>
                    <a:pt x="1957" y="480"/>
                  </a:lnTo>
                  <a:lnTo>
                    <a:pt x="1952" y="478"/>
                  </a:lnTo>
                  <a:close/>
                  <a:moveTo>
                    <a:pt x="2137" y="214"/>
                  </a:moveTo>
                  <a:lnTo>
                    <a:pt x="2124" y="237"/>
                  </a:lnTo>
                  <a:lnTo>
                    <a:pt x="2107" y="263"/>
                  </a:lnTo>
                  <a:lnTo>
                    <a:pt x="2087" y="294"/>
                  </a:lnTo>
                  <a:lnTo>
                    <a:pt x="2063" y="330"/>
                  </a:lnTo>
                  <a:lnTo>
                    <a:pt x="2036" y="368"/>
                  </a:lnTo>
                  <a:lnTo>
                    <a:pt x="2129" y="374"/>
                  </a:lnTo>
                  <a:lnTo>
                    <a:pt x="2218" y="383"/>
                  </a:lnTo>
                  <a:lnTo>
                    <a:pt x="2301" y="394"/>
                  </a:lnTo>
                  <a:lnTo>
                    <a:pt x="2378" y="406"/>
                  </a:lnTo>
                  <a:lnTo>
                    <a:pt x="2449" y="420"/>
                  </a:lnTo>
                  <a:lnTo>
                    <a:pt x="2513" y="435"/>
                  </a:lnTo>
                  <a:lnTo>
                    <a:pt x="2444" y="381"/>
                  </a:lnTo>
                  <a:lnTo>
                    <a:pt x="2372" y="333"/>
                  </a:lnTo>
                  <a:lnTo>
                    <a:pt x="2296" y="288"/>
                  </a:lnTo>
                  <a:lnTo>
                    <a:pt x="2218" y="249"/>
                  </a:lnTo>
                  <a:lnTo>
                    <a:pt x="2137" y="214"/>
                  </a:lnTo>
                  <a:close/>
                  <a:moveTo>
                    <a:pt x="2003" y="211"/>
                  </a:moveTo>
                  <a:lnTo>
                    <a:pt x="1959" y="214"/>
                  </a:lnTo>
                  <a:lnTo>
                    <a:pt x="1910" y="218"/>
                  </a:lnTo>
                  <a:lnTo>
                    <a:pt x="1855" y="225"/>
                  </a:lnTo>
                  <a:lnTo>
                    <a:pt x="1793" y="234"/>
                  </a:lnTo>
                  <a:lnTo>
                    <a:pt x="1728" y="244"/>
                  </a:lnTo>
                  <a:lnTo>
                    <a:pt x="1658" y="259"/>
                  </a:lnTo>
                  <a:lnTo>
                    <a:pt x="1584" y="275"/>
                  </a:lnTo>
                  <a:lnTo>
                    <a:pt x="1508" y="295"/>
                  </a:lnTo>
                  <a:lnTo>
                    <a:pt x="1428" y="319"/>
                  </a:lnTo>
                  <a:lnTo>
                    <a:pt x="1348" y="347"/>
                  </a:lnTo>
                  <a:lnTo>
                    <a:pt x="1265" y="378"/>
                  </a:lnTo>
                  <a:lnTo>
                    <a:pt x="1181" y="415"/>
                  </a:lnTo>
                  <a:lnTo>
                    <a:pt x="1097" y="456"/>
                  </a:lnTo>
                  <a:lnTo>
                    <a:pt x="1013" y="502"/>
                  </a:lnTo>
                  <a:lnTo>
                    <a:pt x="937" y="549"/>
                  </a:lnTo>
                  <a:lnTo>
                    <a:pt x="865" y="597"/>
                  </a:lnTo>
                  <a:lnTo>
                    <a:pt x="797" y="648"/>
                  </a:lnTo>
                  <a:lnTo>
                    <a:pt x="733" y="700"/>
                  </a:lnTo>
                  <a:lnTo>
                    <a:pt x="673" y="752"/>
                  </a:lnTo>
                  <a:lnTo>
                    <a:pt x="617" y="805"/>
                  </a:lnTo>
                  <a:lnTo>
                    <a:pt x="565" y="858"/>
                  </a:lnTo>
                  <a:lnTo>
                    <a:pt x="517" y="909"/>
                  </a:lnTo>
                  <a:lnTo>
                    <a:pt x="473" y="959"/>
                  </a:lnTo>
                  <a:lnTo>
                    <a:pt x="434" y="1009"/>
                  </a:lnTo>
                  <a:lnTo>
                    <a:pt x="397" y="1055"/>
                  </a:lnTo>
                  <a:lnTo>
                    <a:pt x="365" y="1099"/>
                  </a:lnTo>
                  <a:lnTo>
                    <a:pt x="336" y="1139"/>
                  </a:lnTo>
                  <a:lnTo>
                    <a:pt x="312" y="1176"/>
                  </a:lnTo>
                  <a:lnTo>
                    <a:pt x="291" y="1209"/>
                  </a:lnTo>
                  <a:lnTo>
                    <a:pt x="333" y="1206"/>
                  </a:lnTo>
                  <a:lnTo>
                    <a:pt x="381" y="1202"/>
                  </a:lnTo>
                  <a:lnTo>
                    <a:pt x="435" y="1197"/>
                  </a:lnTo>
                  <a:lnTo>
                    <a:pt x="493" y="1190"/>
                  </a:lnTo>
                  <a:lnTo>
                    <a:pt x="557" y="1179"/>
                  </a:lnTo>
                  <a:lnTo>
                    <a:pt x="625" y="1167"/>
                  </a:lnTo>
                  <a:lnTo>
                    <a:pt x="696" y="1151"/>
                  </a:lnTo>
                  <a:lnTo>
                    <a:pt x="772" y="1132"/>
                  </a:lnTo>
                  <a:lnTo>
                    <a:pt x="849" y="1109"/>
                  </a:lnTo>
                  <a:lnTo>
                    <a:pt x="929" y="1082"/>
                  </a:lnTo>
                  <a:lnTo>
                    <a:pt x="1011" y="1050"/>
                  </a:lnTo>
                  <a:lnTo>
                    <a:pt x="1093" y="1015"/>
                  </a:lnTo>
                  <a:lnTo>
                    <a:pt x="1177" y="974"/>
                  </a:lnTo>
                  <a:lnTo>
                    <a:pt x="1261" y="928"/>
                  </a:lnTo>
                  <a:lnTo>
                    <a:pt x="1333" y="885"/>
                  </a:lnTo>
                  <a:lnTo>
                    <a:pt x="1401" y="839"/>
                  </a:lnTo>
                  <a:lnTo>
                    <a:pt x="1466" y="791"/>
                  </a:lnTo>
                  <a:lnTo>
                    <a:pt x="1528" y="743"/>
                  </a:lnTo>
                  <a:lnTo>
                    <a:pt x="1585" y="692"/>
                  </a:lnTo>
                  <a:lnTo>
                    <a:pt x="1641" y="643"/>
                  </a:lnTo>
                  <a:lnTo>
                    <a:pt x="1692" y="593"/>
                  </a:lnTo>
                  <a:lnTo>
                    <a:pt x="1740" y="542"/>
                  </a:lnTo>
                  <a:lnTo>
                    <a:pt x="1785" y="494"/>
                  </a:lnTo>
                  <a:lnTo>
                    <a:pt x="1826" y="446"/>
                  </a:lnTo>
                  <a:lnTo>
                    <a:pt x="1864" y="401"/>
                  </a:lnTo>
                  <a:lnTo>
                    <a:pt x="1899" y="357"/>
                  </a:lnTo>
                  <a:lnTo>
                    <a:pt x="1930" y="315"/>
                  </a:lnTo>
                  <a:lnTo>
                    <a:pt x="1957" y="276"/>
                  </a:lnTo>
                  <a:lnTo>
                    <a:pt x="1982" y="242"/>
                  </a:lnTo>
                  <a:lnTo>
                    <a:pt x="2003" y="211"/>
                  </a:lnTo>
                  <a:close/>
                  <a:moveTo>
                    <a:pt x="1624" y="116"/>
                  </a:moveTo>
                  <a:lnTo>
                    <a:pt x="1530" y="119"/>
                  </a:lnTo>
                  <a:lnTo>
                    <a:pt x="1438" y="128"/>
                  </a:lnTo>
                  <a:lnTo>
                    <a:pt x="1348" y="143"/>
                  </a:lnTo>
                  <a:lnTo>
                    <a:pt x="1259" y="164"/>
                  </a:lnTo>
                  <a:lnTo>
                    <a:pt x="1172" y="191"/>
                  </a:lnTo>
                  <a:lnTo>
                    <a:pt x="1088" y="223"/>
                  </a:lnTo>
                  <a:lnTo>
                    <a:pt x="1005" y="260"/>
                  </a:lnTo>
                  <a:lnTo>
                    <a:pt x="927" y="303"/>
                  </a:lnTo>
                  <a:lnTo>
                    <a:pt x="850" y="350"/>
                  </a:lnTo>
                  <a:lnTo>
                    <a:pt x="777" y="401"/>
                  </a:lnTo>
                  <a:lnTo>
                    <a:pt x="706" y="458"/>
                  </a:lnTo>
                  <a:lnTo>
                    <a:pt x="640" y="517"/>
                  </a:lnTo>
                  <a:lnTo>
                    <a:pt x="576" y="582"/>
                  </a:lnTo>
                  <a:lnTo>
                    <a:pt x="517" y="650"/>
                  </a:lnTo>
                  <a:lnTo>
                    <a:pt x="462" y="723"/>
                  </a:lnTo>
                  <a:lnTo>
                    <a:pt x="410" y="799"/>
                  </a:lnTo>
                  <a:lnTo>
                    <a:pt x="364" y="879"/>
                  </a:lnTo>
                  <a:lnTo>
                    <a:pt x="323" y="960"/>
                  </a:lnTo>
                  <a:lnTo>
                    <a:pt x="364" y="908"/>
                  </a:lnTo>
                  <a:lnTo>
                    <a:pt x="412" y="852"/>
                  </a:lnTo>
                  <a:lnTo>
                    <a:pt x="463" y="796"/>
                  </a:lnTo>
                  <a:lnTo>
                    <a:pt x="518" y="738"/>
                  </a:lnTo>
                  <a:lnTo>
                    <a:pt x="579" y="681"/>
                  </a:lnTo>
                  <a:lnTo>
                    <a:pt x="644" y="622"/>
                  </a:lnTo>
                  <a:lnTo>
                    <a:pt x="714" y="564"/>
                  </a:lnTo>
                  <a:lnTo>
                    <a:pt x="790" y="509"/>
                  </a:lnTo>
                  <a:lnTo>
                    <a:pt x="869" y="453"/>
                  </a:lnTo>
                  <a:lnTo>
                    <a:pt x="955" y="401"/>
                  </a:lnTo>
                  <a:lnTo>
                    <a:pt x="1041" y="354"/>
                  </a:lnTo>
                  <a:lnTo>
                    <a:pt x="1127" y="312"/>
                  </a:lnTo>
                  <a:lnTo>
                    <a:pt x="1212" y="274"/>
                  </a:lnTo>
                  <a:lnTo>
                    <a:pt x="1296" y="242"/>
                  </a:lnTo>
                  <a:lnTo>
                    <a:pt x="1378" y="213"/>
                  </a:lnTo>
                  <a:lnTo>
                    <a:pt x="1459" y="187"/>
                  </a:lnTo>
                  <a:lnTo>
                    <a:pt x="1537" y="167"/>
                  </a:lnTo>
                  <a:lnTo>
                    <a:pt x="1612" y="149"/>
                  </a:lnTo>
                  <a:lnTo>
                    <a:pt x="1684" y="134"/>
                  </a:lnTo>
                  <a:lnTo>
                    <a:pt x="1751" y="121"/>
                  </a:lnTo>
                  <a:lnTo>
                    <a:pt x="1688" y="117"/>
                  </a:lnTo>
                  <a:lnTo>
                    <a:pt x="1624" y="116"/>
                  </a:lnTo>
                  <a:close/>
                  <a:moveTo>
                    <a:pt x="1624" y="0"/>
                  </a:moveTo>
                  <a:lnTo>
                    <a:pt x="1723" y="3"/>
                  </a:lnTo>
                  <a:lnTo>
                    <a:pt x="1820" y="13"/>
                  </a:lnTo>
                  <a:lnTo>
                    <a:pt x="1915" y="28"/>
                  </a:lnTo>
                  <a:lnTo>
                    <a:pt x="2008" y="49"/>
                  </a:lnTo>
                  <a:lnTo>
                    <a:pt x="2100" y="76"/>
                  </a:lnTo>
                  <a:lnTo>
                    <a:pt x="2189" y="109"/>
                  </a:lnTo>
                  <a:lnTo>
                    <a:pt x="2276" y="148"/>
                  </a:lnTo>
                  <a:lnTo>
                    <a:pt x="2359" y="191"/>
                  </a:lnTo>
                  <a:lnTo>
                    <a:pt x="2440" y="239"/>
                  </a:lnTo>
                  <a:lnTo>
                    <a:pt x="2517" y="291"/>
                  </a:lnTo>
                  <a:lnTo>
                    <a:pt x="2592" y="349"/>
                  </a:lnTo>
                  <a:lnTo>
                    <a:pt x="2663" y="411"/>
                  </a:lnTo>
                  <a:lnTo>
                    <a:pt x="2730" y="475"/>
                  </a:lnTo>
                  <a:lnTo>
                    <a:pt x="2793" y="546"/>
                  </a:lnTo>
                  <a:lnTo>
                    <a:pt x="2853" y="619"/>
                  </a:lnTo>
                  <a:lnTo>
                    <a:pt x="2908" y="696"/>
                  </a:lnTo>
                  <a:lnTo>
                    <a:pt x="2958" y="777"/>
                  </a:lnTo>
                  <a:lnTo>
                    <a:pt x="3005" y="861"/>
                  </a:lnTo>
                  <a:lnTo>
                    <a:pt x="3046" y="948"/>
                  </a:lnTo>
                  <a:lnTo>
                    <a:pt x="3083" y="1037"/>
                  </a:lnTo>
                  <a:lnTo>
                    <a:pt x="3114" y="1129"/>
                  </a:lnTo>
                  <a:lnTo>
                    <a:pt x="3140" y="1224"/>
                  </a:lnTo>
                  <a:lnTo>
                    <a:pt x="3161" y="1321"/>
                  </a:lnTo>
                  <a:lnTo>
                    <a:pt x="3176" y="1420"/>
                  </a:lnTo>
                  <a:lnTo>
                    <a:pt x="3186" y="1521"/>
                  </a:lnTo>
                  <a:lnTo>
                    <a:pt x="3189" y="1623"/>
                  </a:lnTo>
                  <a:lnTo>
                    <a:pt x="3189" y="1694"/>
                  </a:lnTo>
                  <a:lnTo>
                    <a:pt x="3188" y="1769"/>
                  </a:lnTo>
                  <a:lnTo>
                    <a:pt x="3187" y="1845"/>
                  </a:lnTo>
                  <a:lnTo>
                    <a:pt x="3186" y="1922"/>
                  </a:lnTo>
                  <a:lnTo>
                    <a:pt x="3182" y="2000"/>
                  </a:lnTo>
                  <a:lnTo>
                    <a:pt x="3180" y="2079"/>
                  </a:lnTo>
                  <a:lnTo>
                    <a:pt x="3176" y="2158"/>
                  </a:lnTo>
                  <a:lnTo>
                    <a:pt x="3171" y="2238"/>
                  </a:lnTo>
                  <a:lnTo>
                    <a:pt x="3166" y="2317"/>
                  </a:lnTo>
                  <a:lnTo>
                    <a:pt x="3158" y="2395"/>
                  </a:lnTo>
                  <a:lnTo>
                    <a:pt x="3150" y="2473"/>
                  </a:lnTo>
                  <a:lnTo>
                    <a:pt x="3140" y="2548"/>
                  </a:lnTo>
                  <a:lnTo>
                    <a:pt x="3130" y="2622"/>
                  </a:lnTo>
                  <a:lnTo>
                    <a:pt x="3117" y="2695"/>
                  </a:lnTo>
                  <a:lnTo>
                    <a:pt x="3104" y="2764"/>
                  </a:lnTo>
                  <a:lnTo>
                    <a:pt x="3088" y="2831"/>
                  </a:lnTo>
                  <a:lnTo>
                    <a:pt x="3071" y="2895"/>
                  </a:lnTo>
                  <a:lnTo>
                    <a:pt x="3051" y="2955"/>
                  </a:lnTo>
                  <a:lnTo>
                    <a:pt x="3031" y="3013"/>
                  </a:lnTo>
                  <a:lnTo>
                    <a:pt x="3008" y="3065"/>
                  </a:lnTo>
                  <a:lnTo>
                    <a:pt x="2982" y="3114"/>
                  </a:lnTo>
                  <a:lnTo>
                    <a:pt x="2955" y="3158"/>
                  </a:lnTo>
                  <a:lnTo>
                    <a:pt x="2926" y="3195"/>
                  </a:lnTo>
                  <a:lnTo>
                    <a:pt x="2913" y="3207"/>
                  </a:lnTo>
                  <a:lnTo>
                    <a:pt x="2899" y="3213"/>
                  </a:lnTo>
                  <a:lnTo>
                    <a:pt x="2882" y="3216"/>
                  </a:lnTo>
                  <a:lnTo>
                    <a:pt x="2881" y="3216"/>
                  </a:lnTo>
                  <a:lnTo>
                    <a:pt x="2369" y="3203"/>
                  </a:lnTo>
                  <a:lnTo>
                    <a:pt x="2367" y="3203"/>
                  </a:lnTo>
                  <a:lnTo>
                    <a:pt x="2363" y="3202"/>
                  </a:lnTo>
                  <a:lnTo>
                    <a:pt x="2302" y="3248"/>
                  </a:lnTo>
                  <a:lnTo>
                    <a:pt x="2236" y="3288"/>
                  </a:lnTo>
                  <a:lnTo>
                    <a:pt x="2169" y="3326"/>
                  </a:lnTo>
                  <a:lnTo>
                    <a:pt x="2098" y="3360"/>
                  </a:lnTo>
                  <a:lnTo>
                    <a:pt x="2024" y="3388"/>
                  </a:lnTo>
                  <a:lnTo>
                    <a:pt x="1950" y="3412"/>
                  </a:lnTo>
                  <a:lnTo>
                    <a:pt x="1872" y="3431"/>
                  </a:lnTo>
                  <a:lnTo>
                    <a:pt x="1793" y="3444"/>
                  </a:lnTo>
                  <a:lnTo>
                    <a:pt x="1712" y="3453"/>
                  </a:lnTo>
                  <a:lnTo>
                    <a:pt x="1629" y="3456"/>
                  </a:lnTo>
                  <a:lnTo>
                    <a:pt x="1588" y="3456"/>
                  </a:lnTo>
                  <a:lnTo>
                    <a:pt x="1499" y="3453"/>
                  </a:lnTo>
                  <a:lnTo>
                    <a:pt x="1413" y="3443"/>
                  </a:lnTo>
                  <a:lnTo>
                    <a:pt x="1328" y="3428"/>
                  </a:lnTo>
                  <a:lnTo>
                    <a:pt x="1246" y="3406"/>
                  </a:lnTo>
                  <a:lnTo>
                    <a:pt x="1167" y="3379"/>
                  </a:lnTo>
                  <a:lnTo>
                    <a:pt x="1089" y="3346"/>
                  </a:lnTo>
                  <a:lnTo>
                    <a:pt x="1015" y="3308"/>
                  </a:lnTo>
                  <a:lnTo>
                    <a:pt x="944" y="3266"/>
                  </a:lnTo>
                  <a:lnTo>
                    <a:pt x="875" y="3219"/>
                  </a:lnTo>
                  <a:lnTo>
                    <a:pt x="811" y="3167"/>
                  </a:lnTo>
                  <a:lnTo>
                    <a:pt x="811" y="3167"/>
                  </a:lnTo>
                  <a:lnTo>
                    <a:pt x="325" y="3155"/>
                  </a:lnTo>
                  <a:lnTo>
                    <a:pt x="309" y="3153"/>
                  </a:lnTo>
                  <a:lnTo>
                    <a:pt x="294" y="3146"/>
                  </a:lnTo>
                  <a:lnTo>
                    <a:pt x="282" y="3134"/>
                  </a:lnTo>
                  <a:lnTo>
                    <a:pt x="253" y="3095"/>
                  </a:lnTo>
                  <a:lnTo>
                    <a:pt x="227" y="3051"/>
                  </a:lnTo>
                  <a:lnTo>
                    <a:pt x="203" y="3000"/>
                  </a:lnTo>
                  <a:lnTo>
                    <a:pt x="182" y="2947"/>
                  </a:lnTo>
                  <a:lnTo>
                    <a:pt x="163" y="2889"/>
                  </a:lnTo>
                  <a:lnTo>
                    <a:pt x="147" y="2829"/>
                  </a:lnTo>
                  <a:lnTo>
                    <a:pt x="132" y="2764"/>
                  </a:lnTo>
                  <a:lnTo>
                    <a:pt x="118" y="2698"/>
                  </a:lnTo>
                  <a:lnTo>
                    <a:pt x="107" y="2629"/>
                  </a:lnTo>
                  <a:lnTo>
                    <a:pt x="97" y="2558"/>
                  </a:lnTo>
                  <a:lnTo>
                    <a:pt x="89" y="2486"/>
                  </a:lnTo>
                  <a:lnTo>
                    <a:pt x="82" y="2414"/>
                  </a:lnTo>
                  <a:lnTo>
                    <a:pt x="75" y="2341"/>
                  </a:lnTo>
                  <a:lnTo>
                    <a:pt x="71" y="2267"/>
                  </a:lnTo>
                  <a:lnTo>
                    <a:pt x="67" y="2195"/>
                  </a:lnTo>
                  <a:lnTo>
                    <a:pt x="65" y="2124"/>
                  </a:lnTo>
                  <a:lnTo>
                    <a:pt x="63" y="2054"/>
                  </a:lnTo>
                  <a:lnTo>
                    <a:pt x="61" y="1985"/>
                  </a:lnTo>
                  <a:lnTo>
                    <a:pt x="60" y="1919"/>
                  </a:lnTo>
                  <a:lnTo>
                    <a:pt x="39" y="1881"/>
                  </a:lnTo>
                  <a:lnTo>
                    <a:pt x="22" y="1841"/>
                  </a:lnTo>
                  <a:lnTo>
                    <a:pt x="10" y="1799"/>
                  </a:lnTo>
                  <a:lnTo>
                    <a:pt x="2" y="1755"/>
                  </a:lnTo>
                  <a:lnTo>
                    <a:pt x="0" y="1710"/>
                  </a:lnTo>
                  <a:lnTo>
                    <a:pt x="3" y="1663"/>
                  </a:lnTo>
                  <a:lnTo>
                    <a:pt x="12" y="1617"/>
                  </a:lnTo>
                  <a:lnTo>
                    <a:pt x="25" y="1573"/>
                  </a:lnTo>
                  <a:lnTo>
                    <a:pt x="44" y="1530"/>
                  </a:lnTo>
                  <a:lnTo>
                    <a:pt x="68" y="1490"/>
                  </a:lnTo>
                  <a:lnTo>
                    <a:pt x="71" y="1427"/>
                  </a:lnTo>
                  <a:lnTo>
                    <a:pt x="86" y="1327"/>
                  </a:lnTo>
                  <a:lnTo>
                    <a:pt x="107" y="1228"/>
                  </a:lnTo>
                  <a:lnTo>
                    <a:pt x="133" y="1132"/>
                  </a:lnTo>
                  <a:lnTo>
                    <a:pt x="164" y="1039"/>
                  </a:lnTo>
                  <a:lnTo>
                    <a:pt x="201" y="948"/>
                  </a:lnTo>
                  <a:lnTo>
                    <a:pt x="243" y="860"/>
                  </a:lnTo>
                  <a:lnTo>
                    <a:pt x="290" y="776"/>
                  </a:lnTo>
                  <a:lnTo>
                    <a:pt x="341" y="695"/>
                  </a:lnTo>
                  <a:lnTo>
                    <a:pt x="397" y="618"/>
                  </a:lnTo>
                  <a:lnTo>
                    <a:pt x="457" y="544"/>
                  </a:lnTo>
                  <a:lnTo>
                    <a:pt x="520" y="473"/>
                  </a:lnTo>
                  <a:lnTo>
                    <a:pt x="587" y="407"/>
                  </a:lnTo>
                  <a:lnTo>
                    <a:pt x="659" y="347"/>
                  </a:lnTo>
                  <a:lnTo>
                    <a:pt x="733" y="289"/>
                  </a:lnTo>
                  <a:lnTo>
                    <a:pt x="812" y="237"/>
                  </a:lnTo>
                  <a:lnTo>
                    <a:pt x="892" y="189"/>
                  </a:lnTo>
                  <a:lnTo>
                    <a:pt x="976" y="146"/>
                  </a:lnTo>
                  <a:lnTo>
                    <a:pt x="1062" y="108"/>
                  </a:lnTo>
                  <a:lnTo>
                    <a:pt x="1151" y="76"/>
                  </a:lnTo>
                  <a:lnTo>
                    <a:pt x="1242" y="49"/>
                  </a:lnTo>
                  <a:lnTo>
                    <a:pt x="1334" y="28"/>
                  </a:lnTo>
                  <a:lnTo>
                    <a:pt x="1429" y="13"/>
                  </a:lnTo>
                  <a:lnTo>
                    <a:pt x="1526" y="3"/>
                  </a:lnTo>
                  <a:lnTo>
                    <a:pt x="162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55A2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BC2C89D-996F-41F0-B9A0-7981E8176D8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729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BC2C89D-996F-41F0-B9A0-7981E8176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959B5B5-9D94-4102-ADB5-E7E47FFEB608}"/>
              </a:ext>
            </a:extLst>
          </p:cNvPr>
          <p:cNvCxnSpPr>
            <a:cxnSpLocks/>
          </p:cNvCxnSpPr>
          <p:nvPr/>
        </p:nvCxnSpPr>
        <p:spPr>
          <a:xfrm>
            <a:off x="5993130" y="1904357"/>
            <a:ext cx="92964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id="{E82C0E38-770D-4A5C-BF7A-4E040B166E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1DE16CC-3A14-4B92-A213-7168D2B610B2}"/>
              </a:ext>
            </a:extLst>
          </p:cNvPr>
          <p:cNvGrpSpPr/>
          <p:nvPr/>
        </p:nvGrpSpPr>
        <p:grpSpPr bwMode="ltGray">
          <a:xfrm>
            <a:off x="2982325" y="1304826"/>
            <a:ext cx="3186596" cy="3186595"/>
            <a:chOff x="2982325" y="1304825"/>
            <a:chExt cx="3186595" cy="3186595"/>
          </a:xfrm>
        </p:grpSpPr>
        <p:sp>
          <p:nvSpPr>
            <p:cNvPr id="25" name="Doughnut 10">
              <a:extLst>
                <a:ext uri="{FF2B5EF4-FFF2-40B4-BE49-F238E27FC236}">
                  <a16:creationId xmlns:a16="http://schemas.microsoft.com/office/drawing/2014/main" id="{92CAD892-E21A-4F83-B04D-04AE94C55C12}"/>
                </a:ext>
              </a:extLst>
            </p:cNvPr>
            <p:cNvSpPr/>
            <p:nvPr/>
          </p:nvSpPr>
          <p:spPr bwMode="ltGray">
            <a:xfrm>
              <a:off x="2982325" y="1304825"/>
              <a:ext cx="3186595" cy="3186595"/>
            </a:xfrm>
            <a:prstGeom prst="donut">
              <a:avLst>
                <a:gd name="adj" fmla="val 6135"/>
              </a:avLst>
            </a:prstGeom>
            <a:solidFill>
              <a:srgbClr val="2946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6555A2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6" name="Oval 25" hidden="1">
              <a:extLst>
                <a:ext uri="{FF2B5EF4-FFF2-40B4-BE49-F238E27FC236}">
                  <a16:creationId xmlns:a16="http://schemas.microsoft.com/office/drawing/2014/main" id="{B812C527-4DE6-46F8-BB79-5F7D80CE1E57}"/>
                </a:ext>
              </a:extLst>
            </p:cNvPr>
            <p:cNvSpPr/>
            <p:nvPr/>
          </p:nvSpPr>
          <p:spPr bwMode="ltGray">
            <a:xfrm>
              <a:off x="3068094" y="1396775"/>
              <a:ext cx="3003072" cy="3003072"/>
            </a:xfrm>
            <a:prstGeom prst="ellipse">
              <a:avLst/>
            </a:prstGeom>
            <a:noFill/>
            <a:ln w="15875" cap="rnd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6555A2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F562B4-A581-4EDB-9A11-E84E5F3B3DEA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AD2721E4-30F5-428F-AC28-6D3A6E716314}"/>
              </a:ext>
            </a:extLst>
          </p:cNvPr>
          <p:cNvGrpSpPr/>
          <p:nvPr/>
        </p:nvGrpSpPr>
        <p:grpSpPr>
          <a:xfrm>
            <a:off x="4239381" y="1266971"/>
            <a:ext cx="665238" cy="3230880"/>
            <a:chOff x="5715273" y="1689243"/>
            <a:chExt cx="886984" cy="4330425"/>
          </a:xfrm>
        </p:grpSpPr>
        <p:sp>
          <p:nvSpPr>
            <p:cNvPr id="70" name="L-Shape 69">
              <a:extLst>
                <a:ext uri="{FF2B5EF4-FFF2-40B4-BE49-F238E27FC236}">
                  <a16:creationId xmlns:a16="http://schemas.microsoft.com/office/drawing/2014/main" id="{A726046F-237A-4E76-876A-14FBE2F8FE17}"/>
                </a:ext>
              </a:extLst>
            </p:cNvPr>
            <p:cNvSpPr/>
            <p:nvPr/>
          </p:nvSpPr>
          <p:spPr>
            <a:xfrm rot="13761645">
              <a:off x="5715273" y="1689243"/>
              <a:ext cx="354554" cy="354554"/>
            </a:xfrm>
            <a:prstGeom prst="corner">
              <a:avLst>
                <a:gd name="adj1" fmla="val 8511"/>
                <a:gd name="adj2" fmla="val 8511"/>
              </a:avLst>
            </a:prstGeom>
            <a:solidFill>
              <a:schemeClr val="tx1"/>
            </a:solidFill>
            <a:ln w="38100">
              <a:solidFill>
                <a:srgbClr val="1F1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1" name="L-Shape 70">
              <a:extLst>
                <a:ext uri="{FF2B5EF4-FFF2-40B4-BE49-F238E27FC236}">
                  <a16:creationId xmlns:a16="http://schemas.microsoft.com/office/drawing/2014/main" id="{09CC925F-EC68-4AC3-B614-FB794E55B7E3}"/>
                </a:ext>
              </a:extLst>
            </p:cNvPr>
            <p:cNvSpPr/>
            <p:nvPr/>
          </p:nvSpPr>
          <p:spPr>
            <a:xfrm rot="7838355" flipH="1">
              <a:off x="6247703" y="5665114"/>
              <a:ext cx="354554" cy="354554"/>
            </a:xfrm>
            <a:prstGeom prst="corner">
              <a:avLst>
                <a:gd name="adj1" fmla="val 8511"/>
                <a:gd name="adj2" fmla="val 8511"/>
              </a:avLst>
            </a:prstGeom>
            <a:solidFill>
              <a:schemeClr val="tx1"/>
            </a:solidFill>
            <a:ln w="38100">
              <a:solidFill>
                <a:srgbClr val="1F1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E42867-E59A-4651-A4D7-E47CDC9A419E}"/>
              </a:ext>
            </a:extLst>
          </p:cNvPr>
          <p:cNvGrpSpPr/>
          <p:nvPr/>
        </p:nvGrpSpPr>
        <p:grpSpPr>
          <a:xfrm rot="16200000">
            <a:off x="4341057" y="1276968"/>
            <a:ext cx="464036" cy="3242310"/>
            <a:chOff x="5776233" y="1699457"/>
            <a:chExt cx="618714" cy="4345746"/>
          </a:xfrm>
        </p:grpSpPr>
        <p:sp>
          <p:nvSpPr>
            <p:cNvPr id="74" name="L-Shape 73">
              <a:extLst>
                <a:ext uri="{FF2B5EF4-FFF2-40B4-BE49-F238E27FC236}">
                  <a16:creationId xmlns:a16="http://schemas.microsoft.com/office/drawing/2014/main" id="{8B8A578D-E3FC-41D8-8657-29B196C42841}"/>
                </a:ext>
              </a:extLst>
            </p:cNvPr>
            <p:cNvSpPr/>
            <p:nvPr/>
          </p:nvSpPr>
          <p:spPr>
            <a:xfrm rot="13761645">
              <a:off x="5776233" y="1699457"/>
              <a:ext cx="354554" cy="354554"/>
            </a:xfrm>
            <a:prstGeom prst="corner">
              <a:avLst>
                <a:gd name="adj1" fmla="val 8511"/>
                <a:gd name="adj2" fmla="val 8511"/>
              </a:avLst>
            </a:prstGeom>
            <a:solidFill>
              <a:schemeClr val="tx1"/>
            </a:solidFill>
            <a:ln w="38100">
              <a:solidFill>
                <a:srgbClr val="1F1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L-Shape 74">
              <a:extLst>
                <a:ext uri="{FF2B5EF4-FFF2-40B4-BE49-F238E27FC236}">
                  <a16:creationId xmlns:a16="http://schemas.microsoft.com/office/drawing/2014/main" id="{57944558-A171-4D49-808F-13588B0237A5}"/>
                </a:ext>
              </a:extLst>
            </p:cNvPr>
            <p:cNvSpPr/>
            <p:nvPr/>
          </p:nvSpPr>
          <p:spPr>
            <a:xfrm rot="7838355" flipH="1">
              <a:off x="6040393" y="5690649"/>
              <a:ext cx="354554" cy="354554"/>
            </a:xfrm>
            <a:prstGeom prst="corner">
              <a:avLst>
                <a:gd name="adj1" fmla="val 8511"/>
                <a:gd name="adj2" fmla="val 8511"/>
              </a:avLst>
            </a:prstGeom>
            <a:solidFill>
              <a:schemeClr val="tx1"/>
            </a:solidFill>
            <a:ln w="38100">
              <a:solidFill>
                <a:srgbClr val="1F1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78" name="Rounded Rectangle 94">
            <a:extLst>
              <a:ext uri="{FF2B5EF4-FFF2-40B4-BE49-F238E27FC236}">
                <a16:creationId xmlns:a16="http://schemas.microsoft.com/office/drawing/2014/main" id="{73025F0F-C398-42D4-9CD9-A1B7A881CBA2}"/>
              </a:ext>
            </a:extLst>
          </p:cNvPr>
          <p:cNvSpPr/>
          <p:nvPr/>
        </p:nvSpPr>
        <p:spPr>
          <a:xfrm>
            <a:off x="6920747" y="1772343"/>
            <a:ext cx="945173" cy="2575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STEN</a:t>
            </a:r>
          </a:p>
        </p:txBody>
      </p:sp>
      <p:sp>
        <p:nvSpPr>
          <p:cNvPr id="79" name="Freeform 13">
            <a:extLst>
              <a:ext uri="{FF2B5EF4-FFF2-40B4-BE49-F238E27FC236}">
                <a16:creationId xmlns:a16="http://schemas.microsoft.com/office/drawing/2014/main" id="{5EC50063-136C-4732-91C0-E6B1E8B7F54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46012" y="1673854"/>
            <a:ext cx="231879" cy="370332"/>
          </a:xfrm>
          <a:custGeom>
            <a:avLst/>
            <a:gdLst>
              <a:gd name="T0" fmla="*/ 712 w 3039"/>
              <a:gd name="T1" fmla="*/ 3154 h 4879"/>
              <a:gd name="T2" fmla="*/ 712 w 3039"/>
              <a:gd name="T3" fmla="*/ 3154 h 4879"/>
              <a:gd name="T4" fmla="*/ 684 w 3039"/>
              <a:gd name="T5" fmla="*/ 3152 h 4879"/>
              <a:gd name="T6" fmla="*/ 368 w 3039"/>
              <a:gd name="T7" fmla="*/ 3468 h 4879"/>
              <a:gd name="T8" fmla="*/ 684 w 3039"/>
              <a:gd name="T9" fmla="*/ 3785 h 4879"/>
              <a:gd name="T10" fmla="*/ 761 w 3039"/>
              <a:gd name="T11" fmla="*/ 3708 h 4879"/>
              <a:gd name="T12" fmla="*/ 684 w 3039"/>
              <a:gd name="T13" fmla="*/ 3631 h 4879"/>
              <a:gd name="T14" fmla="*/ 522 w 3039"/>
              <a:gd name="T15" fmla="*/ 3468 h 4879"/>
              <a:gd name="T16" fmla="*/ 679 w 3039"/>
              <a:gd name="T17" fmla="*/ 3306 h 4879"/>
              <a:gd name="T18" fmla="*/ 695 w 3039"/>
              <a:gd name="T19" fmla="*/ 3306 h 4879"/>
              <a:gd name="T20" fmla="*/ 1473 w 3039"/>
              <a:gd name="T21" fmla="*/ 2732 h 4879"/>
              <a:gd name="T22" fmla="*/ 1346 w 3039"/>
              <a:gd name="T23" fmla="*/ 2224 h 4879"/>
              <a:gd name="T24" fmla="*/ 898 w 3039"/>
              <a:gd name="T25" fmla="*/ 1954 h 4879"/>
              <a:gd name="T26" fmla="*/ 886 w 3039"/>
              <a:gd name="T27" fmla="*/ 1953 h 4879"/>
              <a:gd name="T28" fmla="*/ 535 w 3039"/>
              <a:gd name="T29" fmla="*/ 1953 h 4879"/>
              <a:gd name="T30" fmla="*/ 535 w 3039"/>
              <a:gd name="T31" fmla="*/ 1744 h 4879"/>
              <a:gd name="T32" fmla="*/ 556 w 3039"/>
              <a:gd name="T33" fmla="*/ 1604 h 4879"/>
              <a:gd name="T34" fmla="*/ 902 w 3039"/>
              <a:gd name="T35" fmla="*/ 1031 h 4879"/>
              <a:gd name="T36" fmla="*/ 1552 w 3039"/>
              <a:gd name="T37" fmla="*/ 868 h 4879"/>
              <a:gd name="T38" fmla="*/ 2288 w 3039"/>
              <a:gd name="T39" fmla="*/ 1864 h 4879"/>
              <a:gd name="T40" fmla="*/ 2353 w 3039"/>
              <a:gd name="T41" fmla="*/ 1951 h 4879"/>
              <a:gd name="T42" fmla="*/ 2440 w 3039"/>
              <a:gd name="T43" fmla="*/ 1887 h 4879"/>
              <a:gd name="T44" fmla="*/ 1575 w 3039"/>
              <a:gd name="T45" fmla="*/ 716 h 4879"/>
              <a:gd name="T46" fmla="*/ 811 w 3039"/>
              <a:gd name="T47" fmla="*/ 907 h 4879"/>
              <a:gd name="T48" fmla="*/ 404 w 3039"/>
              <a:gd name="T49" fmla="*/ 1581 h 4879"/>
              <a:gd name="T50" fmla="*/ 382 w 3039"/>
              <a:gd name="T51" fmla="*/ 1727 h 4879"/>
              <a:gd name="T52" fmla="*/ 382 w 3039"/>
              <a:gd name="T53" fmla="*/ 1738 h 4879"/>
              <a:gd name="T54" fmla="*/ 382 w 3039"/>
              <a:gd name="T55" fmla="*/ 2030 h 4879"/>
              <a:gd name="T56" fmla="*/ 458 w 3039"/>
              <a:gd name="T57" fmla="*/ 2107 h 4879"/>
              <a:gd name="T58" fmla="*/ 881 w 3039"/>
              <a:gd name="T59" fmla="*/ 2107 h 4879"/>
              <a:gd name="T60" fmla="*/ 1223 w 3039"/>
              <a:gd name="T61" fmla="*/ 2315 h 4879"/>
              <a:gd name="T62" fmla="*/ 1321 w 3039"/>
              <a:gd name="T63" fmla="*/ 2709 h 4879"/>
              <a:gd name="T64" fmla="*/ 712 w 3039"/>
              <a:gd name="T65" fmla="*/ 3154 h 4879"/>
              <a:gd name="T66" fmla="*/ 712 w 3039"/>
              <a:gd name="T67" fmla="*/ 3154 h 4879"/>
              <a:gd name="T68" fmla="*/ 2976 w 3039"/>
              <a:gd name="T69" fmla="*/ 1902 h 4879"/>
              <a:gd name="T70" fmla="*/ 2976 w 3039"/>
              <a:gd name="T71" fmla="*/ 1902 h 4879"/>
              <a:gd name="T72" fmla="*/ 2423 w 3039"/>
              <a:gd name="T73" fmla="*/ 2886 h 4879"/>
              <a:gd name="T74" fmla="*/ 2342 w 3039"/>
              <a:gd name="T75" fmla="*/ 2963 h 4879"/>
              <a:gd name="T76" fmla="*/ 1662 w 3039"/>
              <a:gd name="T77" fmla="*/ 3966 h 4879"/>
              <a:gd name="T78" fmla="*/ 1645 w 3039"/>
              <a:gd name="T79" fmla="*/ 4190 h 4879"/>
              <a:gd name="T80" fmla="*/ 1638 w 3039"/>
              <a:gd name="T81" fmla="*/ 4238 h 4879"/>
              <a:gd name="T82" fmla="*/ 1636 w 3039"/>
              <a:gd name="T83" fmla="*/ 4247 h 4879"/>
              <a:gd name="T84" fmla="*/ 855 w 3039"/>
              <a:gd name="T85" fmla="*/ 4879 h 4879"/>
              <a:gd name="T86" fmla="*/ 736 w 3039"/>
              <a:gd name="T87" fmla="*/ 4870 h 4879"/>
              <a:gd name="T88" fmla="*/ 65 w 3039"/>
              <a:gd name="T89" fmla="*/ 3961 h 4879"/>
              <a:gd name="T90" fmla="*/ 152 w 3039"/>
              <a:gd name="T91" fmla="*/ 3897 h 4879"/>
              <a:gd name="T92" fmla="*/ 217 w 3039"/>
              <a:gd name="T93" fmla="*/ 3984 h 4879"/>
              <a:gd name="T94" fmla="*/ 759 w 3039"/>
              <a:gd name="T95" fmla="*/ 4718 h 4879"/>
              <a:gd name="T96" fmla="*/ 1485 w 3039"/>
              <a:gd name="T97" fmla="*/ 4215 h 4879"/>
              <a:gd name="T98" fmla="*/ 1488 w 3039"/>
              <a:gd name="T99" fmla="*/ 4204 h 4879"/>
              <a:gd name="T100" fmla="*/ 1492 w 3039"/>
              <a:gd name="T101" fmla="*/ 4180 h 4879"/>
              <a:gd name="T102" fmla="*/ 1510 w 3039"/>
              <a:gd name="T103" fmla="*/ 3944 h 4879"/>
              <a:gd name="T104" fmla="*/ 2236 w 3039"/>
              <a:gd name="T105" fmla="*/ 2852 h 4879"/>
              <a:gd name="T106" fmla="*/ 2316 w 3039"/>
              <a:gd name="T107" fmla="*/ 2775 h 4879"/>
              <a:gd name="T108" fmla="*/ 2824 w 3039"/>
              <a:gd name="T109" fmla="*/ 1879 h 4879"/>
              <a:gd name="T110" fmla="*/ 2559 w 3039"/>
              <a:gd name="T111" fmla="*/ 814 h 4879"/>
              <a:gd name="T112" fmla="*/ 1619 w 3039"/>
              <a:gd name="T113" fmla="*/ 248 h 4879"/>
              <a:gd name="T114" fmla="*/ 165 w 3039"/>
              <a:gd name="T115" fmla="*/ 948 h 4879"/>
              <a:gd name="T116" fmla="*/ 60 w 3039"/>
              <a:gd name="T117" fmla="*/ 976 h 4879"/>
              <a:gd name="T118" fmla="*/ 32 w 3039"/>
              <a:gd name="T119" fmla="*/ 871 h 4879"/>
              <a:gd name="T120" fmla="*/ 1641 w 3039"/>
              <a:gd name="T121" fmla="*/ 96 h 4879"/>
              <a:gd name="T122" fmla="*/ 2683 w 3039"/>
              <a:gd name="T123" fmla="*/ 723 h 4879"/>
              <a:gd name="T124" fmla="*/ 2976 w 3039"/>
              <a:gd name="T125" fmla="*/ 1902 h 48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39" h="4879">
                <a:moveTo>
                  <a:pt x="712" y="3154"/>
                </a:moveTo>
                <a:lnTo>
                  <a:pt x="712" y="3154"/>
                </a:lnTo>
                <a:lnTo>
                  <a:pt x="684" y="3152"/>
                </a:lnTo>
                <a:cubicBezTo>
                  <a:pt x="510" y="3152"/>
                  <a:pt x="368" y="3294"/>
                  <a:pt x="368" y="3468"/>
                </a:cubicBezTo>
                <a:cubicBezTo>
                  <a:pt x="368" y="3643"/>
                  <a:pt x="510" y="3785"/>
                  <a:pt x="684" y="3785"/>
                </a:cubicBezTo>
                <a:cubicBezTo>
                  <a:pt x="727" y="3785"/>
                  <a:pt x="761" y="3750"/>
                  <a:pt x="761" y="3708"/>
                </a:cubicBezTo>
                <a:cubicBezTo>
                  <a:pt x="761" y="3666"/>
                  <a:pt x="727" y="3631"/>
                  <a:pt x="684" y="3631"/>
                </a:cubicBezTo>
                <a:cubicBezTo>
                  <a:pt x="595" y="3631"/>
                  <a:pt x="522" y="3558"/>
                  <a:pt x="522" y="3468"/>
                </a:cubicBezTo>
                <a:cubicBezTo>
                  <a:pt x="522" y="3379"/>
                  <a:pt x="595" y="3306"/>
                  <a:pt x="679" y="3306"/>
                </a:cubicBezTo>
                <a:lnTo>
                  <a:pt x="695" y="3306"/>
                </a:lnTo>
                <a:cubicBezTo>
                  <a:pt x="1068" y="3362"/>
                  <a:pt x="1417" y="3104"/>
                  <a:pt x="1473" y="2732"/>
                </a:cubicBezTo>
                <a:cubicBezTo>
                  <a:pt x="1500" y="2551"/>
                  <a:pt x="1455" y="2371"/>
                  <a:pt x="1346" y="2224"/>
                </a:cubicBezTo>
                <a:cubicBezTo>
                  <a:pt x="1238" y="2077"/>
                  <a:pt x="1079" y="1981"/>
                  <a:pt x="898" y="1954"/>
                </a:cubicBezTo>
                <a:cubicBezTo>
                  <a:pt x="894" y="1953"/>
                  <a:pt x="890" y="1953"/>
                  <a:pt x="886" y="1953"/>
                </a:cubicBezTo>
                <a:lnTo>
                  <a:pt x="535" y="1953"/>
                </a:lnTo>
                <a:lnTo>
                  <a:pt x="535" y="1744"/>
                </a:lnTo>
                <a:lnTo>
                  <a:pt x="556" y="1604"/>
                </a:lnTo>
                <a:cubicBezTo>
                  <a:pt x="591" y="1374"/>
                  <a:pt x="714" y="1170"/>
                  <a:pt x="902" y="1031"/>
                </a:cubicBezTo>
                <a:cubicBezTo>
                  <a:pt x="1091" y="891"/>
                  <a:pt x="1322" y="833"/>
                  <a:pt x="1552" y="868"/>
                </a:cubicBezTo>
                <a:cubicBezTo>
                  <a:pt x="2030" y="939"/>
                  <a:pt x="2360" y="1386"/>
                  <a:pt x="2288" y="1864"/>
                </a:cubicBezTo>
                <a:cubicBezTo>
                  <a:pt x="2282" y="1906"/>
                  <a:pt x="2311" y="1945"/>
                  <a:pt x="2353" y="1951"/>
                </a:cubicBezTo>
                <a:cubicBezTo>
                  <a:pt x="2395" y="1957"/>
                  <a:pt x="2434" y="1929"/>
                  <a:pt x="2440" y="1887"/>
                </a:cubicBezTo>
                <a:cubicBezTo>
                  <a:pt x="2525" y="1325"/>
                  <a:pt x="2136" y="800"/>
                  <a:pt x="1575" y="716"/>
                </a:cubicBezTo>
                <a:cubicBezTo>
                  <a:pt x="1304" y="675"/>
                  <a:pt x="1033" y="743"/>
                  <a:pt x="811" y="907"/>
                </a:cubicBezTo>
                <a:cubicBezTo>
                  <a:pt x="589" y="1071"/>
                  <a:pt x="445" y="1310"/>
                  <a:pt x="404" y="1581"/>
                </a:cubicBezTo>
                <a:lnTo>
                  <a:pt x="382" y="1727"/>
                </a:lnTo>
                <a:cubicBezTo>
                  <a:pt x="382" y="1730"/>
                  <a:pt x="382" y="1734"/>
                  <a:pt x="382" y="1738"/>
                </a:cubicBezTo>
                <a:lnTo>
                  <a:pt x="382" y="2030"/>
                </a:lnTo>
                <a:cubicBezTo>
                  <a:pt x="382" y="2072"/>
                  <a:pt x="416" y="2107"/>
                  <a:pt x="458" y="2107"/>
                </a:cubicBezTo>
                <a:lnTo>
                  <a:pt x="881" y="2107"/>
                </a:lnTo>
                <a:cubicBezTo>
                  <a:pt x="1018" y="2129"/>
                  <a:pt x="1140" y="2203"/>
                  <a:pt x="1223" y="2315"/>
                </a:cubicBezTo>
                <a:cubicBezTo>
                  <a:pt x="1307" y="2429"/>
                  <a:pt x="1342" y="2569"/>
                  <a:pt x="1321" y="2709"/>
                </a:cubicBezTo>
                <a:cubicBezTo>
                  <a:pt x="1277" y="2998"/>
                  <a:pt x="1007" y="3198"/>
                  <a:pt x="712" y="3154"/>
                </a:cubicBezTo>
                <a:lnTo>
                  <a:pt x="712" y="3154"/>
                </a:lnTo>
                <a:close/>
                <a:moveTo>
                  <a:pt x="2976" y="1902"/>
                </a:moveTo>
                <a:lnTo>
                  <a:pt x="2976" y="1902"/>
                </a:lnTo>
                <a:cubicBezTo>
                  <a:pt x="2920" y="2273"/>
                  <a:pt x="2760" y="2559"/>
                  <a:pt x="2423" y="2886"/>
                </a:cubicBezTo>
                <a:cubicBezTo>
                  <a:pt x="2397" y="2911"/>
                  <a:pt x="2370" y="2937"/>
                  <a:pt x="2342" y="2963"/>
                </a:cubicBezTo>
                <a:cubicBezTo>
                  <a:pt x="2067" y="3227"/>
                  <a:pt x="1724" y="3556"/>
                  <a:pt x="1662" y="3966"/>
                </a:cubicBezTo>
                <a:cubicBezTo>
                  <a:pt x="1654" y="4019"/>
                  <a:pt x="1647" y="4146"/>
                  <a:pt x="1645" y="4190"/>
                </a:cubicBezTo>
                <a:cubicBezTo>
                  <a:pt x="1644" y="4212"/>
                  <a:pt x="1641" y="4225"/>
                  <a:pt x="1638" y="4238"/>
                </a:cubicBezTo>
                <a:lnTo>
                  <a:pt x="1636" y="4247"/>
                </a:lnTo>
                <a:cubicBezTo>
                  <a:pt x="1556" y="4619"/>
                  <a:pt x="1225" y="4878"/>
                  <a:pt x="855" y="4879"/>
                </a:cubicBezTo>
                <a:cubicBezTo>
                  <a:pt x="816" y="4879"/>
                  <a:pt x="776" y="4876"/>
                  <a:pt x="736" y="4870"/>
                </a:cubicBezTo>
                <a:cubicBezTo>
                  <a:pt x="301" y="4804"/>
                  <a:pt x="0" y="4397"/>
                  <a:pt x="65" y="3961"/>
                </a:cubicBezTo>
                <a:cubicBezTo>
                  <a:pt x="71" y="3919"/>
                  <a:pt x="110" y="3890"/>
                  <a:pt x="152" y="3897"/>
                </a:cubicBezTo>
                <a:cubicBezTo>
                  <a:pt x="194" y="3903"/>
                  <a:pt x="223" y="3942"/>
                  <a:pt x="217" y="3984"/>
                </a:cubicBezTo>
                <a:cubicBezTo>
                  <a:pt x="164" y="4336"/>
                  <a:pt x="407" y="4665"/>
                  <a:pt x="759" y="4718"/>
                </a:cubicBezTo>
                <a:cubicBezTo>
                  <a:pt x="1095" y="4768"/>
                  <a:pt x="1414" y="4547"/>
                  <a:pt x="1485" y="4215"/>
                </a:cubicBezTo>
                <a:lnTo>
                  <a:pt x="1488" y="4204"/>
                </a:lnTo>
                <a:cubicBezTo>
                  <a:pt x="1490" y="4197"/>
                  <a:pt x="1491" y="4190"/>
                  <a:pt x="1492" y="4180"/>
                </a:cubicBezTo>
                <a:cubicBezTo>
                  <a:pt x="1492" y="4177"/>
                  <a:pt x="1499" y="4016"/>
                  <a:pt x="1510" y="3944"/>
                </a:cubicBezTo>
                <a:cubicBezTo>
                  <a:pt x="1579" y="3481"/>
                  <a:pt x="1943" y="3132"/>
                  <a:pt x="2236" y="2852"/>
                </a:cubicBezTo>
                <a:cubicBezTo>
                  <a:pt x="2263" y="2826"/>
                  <a:pt x="2290" y="2801"/>
                  <a:pt x="2316" y="2775"/>
                </a:cubicBezTo>
                <a:cubicBezTo>
                  <a:pt x="2631" y="2470"/>
                  <a:pt x="2773" y="2219"/>
                  <a:pt x="2824" y="1879"/>
                </a:cubicBezTo>
                <a:cubicBezTo>
                  <a:pt x="2881" y="1500"/>
                  <a:pt x="2787" y="1122"/>
                  <a:pt x="2559" y="814"/>
                </a:cubicBezTo>
                <a:cubicBezTo>
                  <a:pt x="2331" y="506"/>
                  <a:pt x="1997" y="305"/>
                  <a:pt x="1619" y="248"/>
                </a:cubicBezTo>
                <a:cubicBezTo>
                  <a:pt x="1033" y="160"/>
                  <a:pt x="462" y="435"/>
                  <a:pt x="165" y="948"/>
                </a:cubicBezTo>
                <a:cubicBezTo>
                  <a:pt x="144" y="984"/>
                  <a:pt x="97" y="997"/>
                  <a:pt x="60" y="976"/>
                </a:cubicBezTo>
                <a:cubicBezTo>
                  <a:pt x="23" y="954"/>
                  <a:pt x="12" y="907"/>
                  <a:pt x="32" y="871"/>
                </a:cubicBezTo>
                <a:cubicBezTo>
                  <a:pt x="361" y="303"/>
                  <a:pt x="993" y="0"/>
                  <a:pt x="1641" y="96"/>
                </a:cubicBezTo>
                <a:cubicBezTo>
                  <a:pt x="2061" y="159"/>
                  <a:pt x="2431" y="382"/>
                  <a:pt x="2683" y="723"/>
                </a:cubicBezTo>
                <a:cubicBezTo>
                  <a:pt x="2935" y="1064"/>
                  <a:pt x="3039" y="1483"/>
                  <a:pt x="2976" y="1902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AD1D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43EECD5-57C8-4EA4-ADE7-886C2D45B014}"/>
              </a:ext>
            </a:extLst>
          </p:cNvPr>
          <p:cNvSpPr/>
          <p:nvPr/>
        </p:nvSpPr>
        <p:spPr>
          <a:xfrm>
            <a:off x="5499312" y="1673854"/>
            <a:ext cx="461006" cy="461006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2AD1D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4F8A4F-675B-4F48-A260-D88397CC8397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5450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/>
      <p:bldP spid="79" grpId="0" animBg="1"/>
      <p:bldP spid="8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48EB87-9887-45CC-93FD-1F7AD36588E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88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48EB87-9887-45CC-93FD-1F7AD3658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7FE02165-FE24-41B8-A1C4-376669680B6F}"/>
              </a:ext>
            </a:extLst>
          </p:cNvPr>
          <p:cNvCxnSpPr>
            <a:cxnSpLocks/>
          </p:cNvCxnSpPr>
          <p:nvPr/>
        </p:nvCxnSpPr>
        <p:spPr>
          <a:xfrm flipV="1">
            <a:off x="4855478" y="3222726"/>
            <a:ext cx="286743" cy="68580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56" name="s27ee55259db485e9df05a916ea74493">
            <a:extLst>
              <a:ext uri="{FF2B5EF4-FFF2-40B4-BE49-F238E27FC236}">
                <a16:creationId xmlns:a16="http://schemas.microsoft.com/office/drawing/2014/main" id="{5E0C5AF1-01A9-4870-AEB2-A79305E4A722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1128"/>
          <a:stretch/>
        </p:blipFill>
        <p:spPr>
          <a:xfrm>
            <a:off x="3543791" y="3891919"/>
            <a:ext cx="2056419" cy="946696"/>
          </a:xfrm>
          <a:prstGeom prst="rect">
            <a:avLst/>
          </a:prstGeom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3080ADF5-4DA0-473B-BD79-4C7C98C12932}"/>
              </a:ext>
            </a:extLst>
          </p:cNvPr>
          <p:cNvSpPr/>
          <p:nvPr/>
        </p:nvSpPr>
        <p:spPr>
          <a:xfrm>
            <a:off x="4867207" y="1552559"/>
            <a:ext cx="1958003" cy="195800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D890E486-84D6-4965-BC12-B9932A2FE30A}"/>
              </a:ext>
            </a:extLst>
          </p:cNvPr>
          <p:cNvSpPr/>
          <p:nvPr/>
        </p:nvSpPr>
        <p:spPr>
          <a:xfrm>
            <a:off x="6454760" y="1936271"/>
            <a:ext cx="344498" cy="293960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24" name="Straight Arrow Connector 223">
            <a:extLst>
              <a:ext uri="{FF2B5EF4-FFF2-40B4-BE49-F238E27FC236}">
                <a16:creationId xmlns:a16="http://schemas.microsoft.com/office/drawing/2014/main" id="{6449C893-EEDD-41B5-8233-8752D8E24982}"/>
              </a:ext>
            </a:extLst>
          </p:cNvPr>
          <p:cNvCxnSpPr>
            <a:cxnSpLocks/>
          </p:cNvCxnSpPr>
          <p:nvPr/>
        </p:nvCxnSpPr>
        <p:spPr>
          <a:xfrm flipH="1">
            <a:off x="6251364" y="1931289"/>
            <a:ext cx="556508" cy="542696"/>
          </a:xfrm>
          <a:prstGeom prst="straightConnector1">
            <a:avLst/>
          </a:prstGeom>
          <a:ln w="19050">
            <a:solidFill>
              <a:schemeClr val="bg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Arc 107">
            <a:extLst>
              <a:ext uri="{FF2B5EF4-FFF2-40B4-BE49-F238E27FC236}">
                <a16:creationId xmlns:a16="http://schemas.microsoft.com/office/drawing/2014/main" id="{5388C530-2C4D-48E1-947D-01F887930224}"/>
              </a:ext>
            </a:extLst>
          </p:cNvPr>
          <p:cNvSpPr/>
          <p:nvPr/>
        </p:nvSpPr>
        <p:spPr>
          <a:xfrm>
            <a:off x="2146667" y="1399997"/>
            <a:ext cx="2283714" cy="2283714"/>
          </a:xfrm>
          <a:prstGeom prst="arc">
            <a:avLst>
              <a:gd name="adj1" fmla="val 20792152"/>
              <a:gd name="adj2" fmla="val 20697030"/>
            </a:avLst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E89C64E1-90C0-49CA-9852-C0248171B39D}"/>
              </a:ext>
            </a:extLst>
          </p:cNvPr>
          <p:cNvSpPr/>
          <p:nvPr/>
        </p:nvSpPr>
        <p:spPr>
          <a:xfrm>
            <a:off x="6714197" y="2275998"/>
            <a:ext cx="246123" cy="233549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05D7367-EE0C-4ABD-A286-82FC244BE36E}"/>
              </a:ext>
            </a:extLst>
          </p:cNvPr>
          <p:cNvSpPr/>
          <p:nvPr/>
        </p:nvSpPr>
        <p:spPr>
          <a:xfrm>
            <a:off x="2309523" y="1552559"/>
            <a:ext cx="1958003" cy="1958003"/>
          </a:xfrm>
          <a:prstGeom prst="ellipse">
            <a:avLst/>
          </a:prstGeom>
          <a:gradFill>
            <a:gsLst>
              <a:gs pos="100000">
                <a:srgbClr val="881D80"/>
              </a:gs>
              <a:gs pos="0">
                <a:srgbClr val="36277F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4" name="Oval 53" hidden="1">
            <a:extLst>
              <a:ext uri="{FF2B5EF4-FFF2-40B4-BE49-F238E27FC236}">
                <a16:creationId xmlns:a16="http://schemas.microsoft.com/office/drawing/2014/main" id="{8AFD3B29-023D-4C8F-91BB-B63C9DC76E19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0" name="TextBox 139" hidden="1">
            <a:extLst>
              <a:ext uri="{FF2B5EF4-FFF2-40B4-BE49-F238E27FC236}">
                <a16:creationId xmlns:a16="http://schemas.microsoft.com/office/drawing/2014/main" id="{70D81454-CE32-4C16-AA5E-B468A4E045CA}"/>
              </a:ext>
            </a:extLst>
          </p:cNvPr>
          <p:cNvSpPr txBox="1"/>
          <p:nvPr/>
        </p:nvSpPr>
        <p:spPr>
          <a:xfrm rot="18797192">
            <a:off x="403833" y="1119224"/>
            <a:ext cx="555610" cy="258650"/>
          </a:xfrm>
          <a:prstGeom prst="rect">
            <a:avLst/>
          </a:prstGeom>
          <a:noFill/>
        </p:spPr>
        <p:txBody>
          <a:bodyPr wrap="none" rtlCol="0">
            <a:prstTxWarp prst="textArchUp">
              <a:avLst>
                <a:gd name="adj" fmla="val 13494372"/>
              </a:avLst>
            </a:prstTxWarp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30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STEN</a:t>
            </a:r>
          </a:p>
        </p:txBody>
      </p:sp>
      <p:sp>
        <p:nvSpPr>
          <p:cNvPr id="63" name="Freeform 16">
            <a:extLst>
              <a:ext uri="{FF2B5EF4-FFF2-40B4-BE49-F238E27FC236}">
                <a16:creationId xmlns:a16="http://schemas.microsoft.com/office/drawing/2014/main" id="{13B5F6A1-2627-41AB-9240-7B3F1752BC4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36868" y="1989368"/>
            <a:ext cx="951334" cy="1025830"/>
          </a:xfrm>
          <a:custGeom>
            <a:avLst/>
            <a:gdLst>
              <a:gd name="T0" fmla="*/ 215 w 3189"/>
              <a:gd name="T1" fmla="*/ 2567 h 3456"/>
              <a:gd name="T2" fmla="*/ 691 w 3189"/>
              <a:gd name="T3" fmla="*/ 3049 h 3456"/>
              <a:gd name="T4" fmla="*/ 394 w 3189"/>
              <a:gd name="T5" fmla="*/ 2262 h 3456"/>
              <a:gd name="T6" fmla="*/ 2995 w 3189"/>
              <a:gd name="T7" fmla="*/ 2038 h 3456"/>
              <a:gd name="T8" fmla="*/ 2748 w 3189"/>
              <a:gd name="T9" fmla="*/ 2678 h 3456"/>
              <a:gd name="T10" fmla="*/ 2926 w 3189"/>
              <a:gd name="T11" fmla="*/ 2965 h 3456"/>
              <a:gd name="T12" fmla="*/ 3062 w 3189"/>
              <a:gd name="T13" fmla="*/ 2106 h 3456"/>
              <a:gd name="T14" fmla="*/ 2114 w 3189"/>
              <a:gd name="T15" fmla="*/ 1812 h 3456"/>
              <a:gd name="T16" fmla="*/ 1919 w 3189"/>
              <a:gd name="T17" fmla="*/ 1941 h 3456"/>
              <a:gd name="T18" fmla="*/ 1876 w 3189"/>
              <a:gd name="T19" fmla="*/ 1712 h 3456"/>
              <a:gd name="T20" fmla="*/ 1445 w 3189"/>
              <a:gd name="T21" fmla="*/ 1733 h 3456"/>
              <a:gd name="T22" fmla="*/ 1357 w 3189"/>
              <a:gd name="T23" fmla="*/ 1949 h 3456"/>
              <a:gd name="T24" fmla="*/ 1192 w 3189"/>
              <a:gd name="T25" fmla="*/ 1784 h 3456"/>
              <a:gd name="T26" fmla="*/ 138 w 3189"/>
              <a:gd name="T27" fmla="*/ 1603 h 3456"/>
              <a:gd name="T28" fmla="*/ 242 w 3189"/>
              <a:gd name="T29" fmla="*/ 1943 h 3456"/>
              <a:gd name="T30" fmla="*/ 207 w 3189"/>
              <a:gd name="T31" fmla="*/ 1550 h 3456"/>
              <a:gd name="T32" fmla="*/ 3044 w 3189"/>
              <a:gd name="T33" fmla="*/ 1826 h 3456"/>
              <a:gd name="T34" fmla="*/ 2937 w 3189"/>
              <a:gd name="T35" fmla="*/ 1483 h 3456"/>
              <a:gd name="T36" fmla="*/ 2295 w 3189"/>
              <a:gd name="T37" fmla="*/ 1128 h 3456"/>
              <a:gd name="T38" fmla="*/ 1495 w 3189"/>
              <a:gd name="T39" fmla="*/ 1580 h 3456"/>
              <a:gd name="T40" fmla="*/ 583 w 3189"/>
              <a:gd name="T41" fmla="*/ 1635 h 3456"/>
              <a:gd name="T42" fmla="*/ 700 w 3189"/>
              <a:gd name="T43" fmla="*/ 2873 h 3456"/>
              <a:gd name="T44" fmla="*/ 1340 w 3189"/>
              <a:gd name="T45" fmla="*/ 3311 h 3456"/>
              <a:gd name="T46" fmla="*/ 2103 w 3189"/>
              <a:gd name="T47" fmla="*/ 3231 h 3456"/>
              <a:gd name="T48" fmla="*/ 2629 w 3189"/>
              <a:gd name="T49" fmla="*/ 2663 h 3456"/>
              <a:gd name="T50" fmla="*/ 2667 w 3189"/>
              <a:gd name="T51" fmla="*/ 946 h 3456"/>
              <a:gd name="T52" fmla="*/ 2757 w 3189"/>
              <a:gd name="T53" fmla="*/ 866 h 3456"/>
              <a:gd name="T54" fmla="*/ 2991 w 3189"/>
              <a:gd name="T55" fmla="*/ 1380 h 3456"/>
              <a:gd name="T56" fmla="*/ 2780 w 3189"/>
              <a:gd name="T57" fmla="*/ 716 h 3456"/>
              <a:gd name="T58" fmla="*/ 1481 w 3189"/>
              <a:gd name="T59" fmla="*/ 925 h 3456"/>
              <a:gd name="T60" fmla="*/ 650 w 3189"/>
              <a:gd name="T61" fmla="*/ 1281 h 3456"/>
              <a:gd name="T62" fmla="*/ 223 w 3189"/>
              <a:gd name="T63" fmla="*/ 1433 h 3456"/>
              <a:gd name="T64" fmla="*/ 781 w 3189"/>
              <a:gd name="T65" fmla="*/ 1537 h 3456"/>
              <a:gd name="T66" fmla="*/ 1639 w 3189"/>
              <a:gd name="T67" fmla="*/ 1408 h 3456"/>
              <a:gd name="T68" fmla="*/ 2288 w 3189"/>
              <a:gd name="T69" fmla="*/ 975 h 3456"/>
              <a:gd name="T70" fmla="*/ 2622 w 3189"/>
              <a:gd name="T71" fmla="*/ 583 h 3456"/>
              <a:gd name="T72" fmla="*/ 2046 w 3189"/>
              <a:gd name="T73" fmla="*/ 484 h 3456"/>
              <a:gd name="T74" fmla="*/ 2036 w 3189"/>
              <a:gd name="T75" fmla="*/ 368 h 3456"/>
              <a:gd name="T76" fmla="*/ 2218 w 3189"/>
              <a:gd name="T77" fmla="*/ 249 h 3456"/>
              <a:gd name="T78" fmla="*/ 1508 w 3189"/>
              <a:gd name="T79" fmla="*/ 295 h 3456"/>
              <a:gd name="T80" fmla="*/ 733 w 3189"/>
              <a:gd name="T81" fmla="*/ 700 h 3456"/>
              <a:gd name="T82" fmla="*/ 312 w 3189"/>
              <a:gd name="T83" fmla="*/ 1176 h 3456"/>
              <a:gd name="T84" fmla="*/ 849 w 3189"/>
              <a:gd name="T85" fmla="*/ 1109 h 3456"/>
              <a:gd name="T86" fmla="*/ 1585 w 3189"/>
              <a:gd name="T87" fmla="*/ 692 h 3456"/>
              <a:gd name="T88" fmla="*/ 1982 w 3189"/>
              <a:gd name="T89" fmla="*/ 242 h 3456"/>
              <a:gd name="T90" fmla="*/ 927 w 3189"/>
              <a:gd name="T91" fmla="*/ 303 h 3456"/>
              <a:gd name="T92" fmla="*/ 323 w 3189"/>
              <a:gd name="T93" fmla="*/ 960 h 3456"/>
              <a:gd name="T94" fmla="*/ 955 w 3189"/>
              <a:gd name="T95" fmla="*/ 401 h 3456"/>
              <a:gd name="T96" fmla="*/ 1751 w 3189"/>
              <a:gd name="T97" fmla="*/ 121 h 3456"/>
              <a:gd name="T98" fmla="*/ 2276 w 3189"/>
              <a:gd name="T99" fmla="*/ 148 h 3456"/>
              <a:gd name="T100" fmla="*/ 2958 w 3189"/>
              <a:gd name="T101" fmla="*/ 777 h 3456"/>
              <a:gd name="T102" fmla="*/ 3189 w 3189"/>
              <a:gd name="T103" fmla="*/ 1694 h 3456"/>
              <a:gd name="T104" fmla="*/ 3150 w 3189"/>
              <a:gd name="T105" fmla="*/ 2473 h 3456"/>
              <a:gd name="T106" fmla="*/ 2982 w 3189"/>
              <a:gd name="T107" fmla="*/ 3114 h 3456"/>
              <a:gd name="T108" fmla="*/ 2302 w 3189"/>
              <a:gd name="T109" fmla="*/ 3248 h 3456"/>
              <a:gd name="T110" fmla="*/ 1588 w 3189"/>
              <a:gd name="T111" fmla="*/ 3456 h 3456"/>
              <a:gd name="T112" fmla="*/ 811 w 3189"/>
              <a:gd name="T113" fmla="*/ 3167 h 3456"/>
              <a:gd name="T114" fmla="*/ 163 w 3189"/>
              <a:gd name="T115" fmla="*/ 2889 h 3456"/>
              <a:gd name="T116" fmla="*/ 67 w 3189"/>
              <a:gd name="T117" fmla="*/ 2195 h 3456"/>
              <a:gd name="T118" fmla="*/ 3 w 3189"/>
              <a:gd name="T119" fmla="*/ 1663 h 3456"/>
              <a:gd name="T120" fmla="*/ 201 w 3189"/>
              <a:gd name="T121" fmla="*/ 948 h 3456"/>
              <a:gd name="T122" fmla="*/ 812 w 3189"/>
              <a:gd name="T123" fmla="*/ 237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89" h="3456">
                <a:moveTo>
                  <a:pt x="178" y="2039"/>
                </a:moveTo>
                <a:lnTo>
                  <a:pt x="179" y="2088"/>
                </a:lnTo>
                <a:lnTo>
                  <a:pt x="181" y="2141"/>
                </a:lnTo>
                <a:lnTo>
                  <a:pt x="183" y="2196"/>
                </a:lnTo>
                <a:lnTo>
                  <a:pt x="186" y="2255"/>
                </a:lnTo>
                <a:lnTo>
                  <a:pt x="190" y="2316"/>
                </a:lnTo>
                <a:lnTo>
                  <a:pt x="195" y="2377"/>
                </a:lnTo>
                <a:lnTo>
                  <a:pt x="200" y="2440"/>
                </a:lnTo>
                <a:lnTo>
                  <a:pt x="207" y="2503"/>
                </a:lnTo>
                <a:lnTo>
                  <a:pt x="215" y="2567"/>
                </a:lnTo>
                <a:lnTo>
                  <a:pt x="224" y="2629"/>
                </a:lnTo>
                <a:lnTo>
                  <a:pt x="235" y="2690"/>
                </a:lnTo>
                <a:lnTo>
                  <a:pt x="246" y="2750"/>
                </a:lnTo>
                <a:lnTo>
                  <a:pt x="260" y="2808"/>
                </a:lnTo>
                <a:lnTo>
                  <a:pt x="275" y="2862"/>
                </a:lnTo>
                <a:lnTo>
                  <a:pt x="292" y="2912"/>
                </a:lnTo>
                <a:lnTo>
                  <a:pt x="312" y="2960"/>
                </a:lnTo>
                <a:lnTo>
                  <a:pt x="333" y="3003"/>
                </a:lnTo>
                <a:lnTo>
                  <a:pt x="356" y="3040"/>
                </a:lnTo>
                <a:lnTo>
                  <a:pt x="691" y="3049"/>
                </a:lnTo>
                <a:lnTo>
                  <a:pt x="638" y="2984"/>
                </a:lnTo>
                <a:lnTo>
                  <a:pt x="590" y="2915"/>
                </a:lnTo>
                <a:lnTo>
                  <a:pt x="546" y="2842"/>
                </a:lnTo>
                <a:lnTo>
                  <a:pt x="507" y="2768"/>
                </a:lnTo>
                <a:lnTo>
                  <a:pt x="473" y="2689"/>
                </a:lnTo>
                <a:lnTo>
                  <a:pt x="445" y="2609"/>
                </a:lnTo>
                <a:lnTo>
                  <a:pt x="423" y="2525"/>
                </a:lnTo>
                <a:lnTo>
                  <a:pt x="406" y="2439"/>
                </a:lnTo>
                <a:lnTo>
                  <a:pt x="397" y="2351"/>
                </a:lnTo>
                <a:lnTo>
                  <a:pt x="394" y="2262"/>
                </a:lnTo>
                <a:lnTo>
                  <a:pt x="394" y="2103"/>
                </a:lnTo>
                <a:lnTo>
                  <a:pt x="393" y="2103"/>
                </a:lnTo>
                <a:lnTo>
                  <a:pt x="346" y="2101"/>
                </a:lnTo>
                <a:lnTo>
                  <a:pt x="301" y="2092"/>
                </a:lnTo>
                <a:lnTo>
                  <a:pt x="258" y="2079"/>
                </a:lnTo>
                <a:lnTo>
                  <a:pt x="217" y="2061"/>
                </a:lnTo>
                <a:lnTo>
                  <a:pt x="178" y="2039"/>
                </a:lnTo>
                <a:close/>
                <a:moveTo>
                  <a:pt x="3066" y="1986"/>
                </a:moveTo>
                <a:lnTo>
                  <a:pt x="3033" y="2014"/>
                </a:lnTo>
                <a:lnTo>
                  <a:pt x="2995" y="2038"/>
                </a:lnTo>
                <a:lnTo>
                  <a:pt x="2955" y="2058"/>
                </a:lnTo>
                <a:lnTo>
                  <a:pt x="2913" y="2073"/>
                </a:lnTo>
                <a:lnTo>
                  <a:pt x="2868" y="2082"/>
                </a:lnTo>
                <a:lnTo>
                  <a:pt x="2822" y="2086"/>
                </a:lnTo>
                <a:lnTo>
                  <a:pt x="2822" y="2263"/>
                </a:lnTo>
                <a:lnTo>
                  <a:pt x="2819" y="2350"/>
                </a:lnTo>
                <a:lnTo>
                  <a:pt x="2810" y="2435"/>
                </a:lnTo>
                <a:lnTo>
                  <a:pt x="2795" y="2519"/>
                </a:lnTo>
                <a:lnTo>
                  <a:pt x="2774" y="2599"/>
                </a:lnTo>
                <a:lnTo>
                  <a:pt x="2748" y="2678"/>
                </a:lnTo>
                <a:lnTo>
                  <a:pt x="2716" y="2754"/>
                </a:lnTo>
                <a:lnTo>
                  <a:pt x="2680" y="2828"/>
                </a:lnTo>
                <a:lnTo>
                  <a:pt x="2638" y="2898"/>
                </a:lnTo>
                <a:lnTo>
                  <a:pt x="2593" y="2966"/>
                </a:lnTo>
                <a:lnTo>
                  <a:pt x="2543" y="3030"/>
                </a:lnTo>
                <a:lnTo>
                  <a:pt x="2488" y="3089"/>
                </a:lnTo>
                <a:lnTo>
                  <a:pt x="2855" y="3099"/>
                </a:lnTo>
                <a:lnTo>
                  <a:pt x="2880" y="3061"/>
                </a:lnTo>
                <a:lnTo>
                  <a:pt x="2904" y="3016"/>
                </a:lnTo>
                <a:lnTo>
                  <a:pt x="2926" y="2965"/>
                </a:lnTo>
                <a:lnTo>
                  <a:pt x="2946" y="2907"/>
                </a:lnTo>
                <a:lnTo>
                  <a:pt x="2965" y="2843"/>
                </a:lnTo>
                <a:lnTo>
                  <a:pt x="2982" y="2773"/>
                </a:lnTo>
                <a:lnTo>
                  <a:pt x="2998" y="2697"/>
                </a:lnTo>
                <a:lnTo>
                  <a:pt x="3013" y="2613"/>
                </a:lnTo>
                <a:lnTo>
                  <a:pt x="3025" y="2524"/>
                </a:lnTo>
                <a:lnTo>
                  <a:pt x="3037" y="2429"/>
                </a:lnTo>
                <a:lnTo>
                  <a:pt x="3046" y="2328"/>
                </a:lnTo>
                <a:lnTo>
                  <a:pt x="3055" y="2220"/>
                </a:lnTo>
                <a:lnTo>
                  <a:pt x="3062" y="2106"/>
                </a:lnTo>
                <a:lnTo>
                  <a:pt x="3066" y="1986"/>
                </a:lnTo>
                <a:close/>
                <a:moveTo>
                  <a:pt x="1974" y="1671"/>
                </a:moveTo>
                <a:lnTo>
                  <a:pt x="2002" y="1675"/>
                </a:lnTo>
                <a:lnTo>
                  <a:pt x="2029" y="1682"/>
                </a:lnTo>
                <a:lnTo>
                  <a:pt x="2052" y="1696"/>
                </a:lnTo>
                <a:lnTo>
                  <a:pt x="2073" y="1712"/>
                </a:lnTo>
                <a:lnTo>
                  <a:pt x="2090" y="1733"/>
                </a:lnTo>
                <a:lnTo>
                  <a:pt x="2104" y="1757"/>
                </a:lnTo>
                <a:lnTo>
                  <a:pt x="2112" y="1784"/>
                </a:lnTo>
                <a:lnTo>
                  <a:pt x="2114" y="1812"/>
                </a:lnTo>
                <a:lnTo>
                  <a:pt x="2112" y="1840"/>
                </a:lnTo>
                <a:lnTo>
                  <a:pt x="2104" y="1866"/>
                </a:lnTo>
                <a:lnTo>
                  <a:pt x="2090" y="1889"/>
                </a:lnTo>
                <a:lnTo>
                  <a:pt x="2073" y="1910"/>
                </a:lnTo>
                <a:lnTo>
                  <a:pt x="2052" y="1928"/>
                </a:lnTo>
                <a:lnTo>
                  <a:pt x="2029" y="1941"/>
                </a:lnTo>
                <a:lnTo>
                  <a:pt x="2002" y="1949"/>
                </a:lnTo>
                <a:lnTo>
                  <a:pt x="1974" y="1952"/>
                </a:lnTo>
                <a:lnTo>
                  <a:pt x="1947" y="1949"/>
                </a:lnTo>
                <a:lnTo>
                  <a:pt x="1919" y="1941"/>
                </a:lnTo>
                <a:lnTo>
                  <a:pt x="1896" y="1928"/>
                </a:lnTo>
                <a:lnTo>
                  <a:pt x="1876" y="1910"/>
                </a:lnTo>
                <a:lnTo>
                  <a:pt x="1859" y="1889"/>
                </a:lnTo>
                <a:lnTo>
                  <a:pt x="1845" y="1866"/>
                </a:lnTo>
                <a:lnTo>
                  <a:pt x="1837" y="1840"/>
                </a:lnTo>
                <a:lnTo>
                  <a:pt x="1835" y="1812"/>
                </a:lnTo>
                <a:lnTo>
                  <a:pt x="1837" y="1784"/>
                </a:lnTo>
                <a:lnTo>
                  <a:pt x="1845" y="1757"/>
                </a:lnTo>
                <a:lnTo>
                  <a:pt x="1859" y="1733"/>
                </a:lnTo>
                <a:lnTo>
                  <a:pt x="1876" y="1712"/>
                </a:lnTo>
                <a:lnTo>
                  <a:pt x="1896" y="1696"/>
                </a:lnTo>
                <a:lnTo>
                  <a:pt x="1919" y="1682"/>
                </a:lnTo>
                <a:lnTo>
                  <a:pt x="1947" y="1675"/>
                </a:lnTo>
                <a:lnTo>
                  <a:pt x="1974" y="1671"/>
                </a:lnTo>
                <a:close/>
                <a:moveTo>
                  <a:pt x="1329" y="1671"/>
                </a:moveTo>
                <a:lnTo>
                  <a:pt x="1357" y="1675"/>
                </a:lnTo>
                <a:lnTo>
                  <a:pt x="1383" y="1682"/>
                </a:lnTo>
                <a:lnTo>
                  <a:pt x="1407" y="1696"/>
                </a:lnTo>
                <a:lnTo>
                  <a:pt x="1427" y="1712"/>
                </a:lnTo>
                <a:lnTo>
                  <a:pt x="1445" y="1733"/>
                </a:lnTo>
                <a:lnTo>
                  <a:pt x="1458" y="1757"/>
                </a:lnTo>
                <a:lnTo>
                  <a:pt x="1466" y="1784"/>
                </a:lnTo>
                <a:lnTo>
                  <a:pt x="1469" y="1812"/>
                </a:lnTo>
                <a:lnTo>
                  <a:pt x="1466" y="1840"/>
                </a:lnTo>
                <a:lnTo>
                  <a:pt x="1458" y="1866"/>
                </a:lnTo>
                <a:lnTo>
                  <a:pt x="1445" y="1889"/>
                </a:lnTo>
                <a:lnTo>
                  <a:pt x="1427" y="1910"/>
                </a:lnTo>
                <a:lnTo>
                  <a:pt x="1407" y="1928"/>
                </a:lnTo>
                <a:lnTo>
                  <a:pt x="1383" y="1941"/>
                </a:lnTo>
                <a:lnTo>
                  <a:pt x="1357" y="1949"/>
                </a:lnTo>
                <a:lnTo>
                  <a:pt x="1329" y="1952"/>
                </a:lnTo>
                <a:lnTo>
                  <a:pt x="1301" y="1949"/>
                </a:lnTo>
                <a:lnTo>
                  <a:pt x="1274" y="1941"/>
                </a:lnTo>
                <a:lnTo>
                  <a:pt x="1250" y="1928"/>
                </a:lnTo>
                <a:lnTo>
                  <a:pt x="1229" y="1910"/>
                </a:lnTo>
                <a:lnTo>
                  <a:pt x="1213" y="1889"/>
                </a:lnTo>
                <a:lnTo>
                  <a:pt x="1200" y="1866"/>
                </a:lnTo>
                <a:lnTo>
                  <a:pt x="1192" y="1840"/>
                </a:lnTo>
                <a:lnTo>
                  <a:pt x="1189" y="1812"/>
                </a:lnTo>
                <a:lnTo>
                  <a:pt x="1192" y="1784"/>
                </a:lnTo>
                <a:lnTo>
                  <a:pt x="1200" y="1757"/>
                </a:lnTo>
                <a:lnTo>
                  <a:pt x="1213" y="1733"/>
                </a:lnTo>
                <a:lnTo>
                  <a:pt x="1229" y="1712"/>
                </a:lnTo>
                <a:lnTo>
                  <a:pt x="1250" y="1696"/>
                </a:lnTo>
                <a:lnTo>
                  <a:pt x="1274" y="1682"/>
                </a:lnTo>
                <a:lnTo>
                  <a:pt x="1301" y="1675"/>
                </a:lnTo>
                <a:lnTo>
                  <a:pt x="1329" y="1671"/>
                </a:lnTo>
                <a:close/>
                <a:moveTo>
                  <a:pt x="176" y="1539"/>
                </a:moveTo>
                <a:lnTo>
                  <a:pt x="155" y="1570"/>
                </a:lnTo>
                <a:lnTo>
                  <a:pt x="138" y="1603"/>
                </a:lnTo>
                <a:lnTo>
                  <a:pt x="126" y="1637"/>
                </a:lnTo>
                <a:lnTo>
                  <a:pt x="118" y="1674"/>
                </a:lnTo>
                <a:lnTo>
                  <a:pt x="115" y="1710"/>
                </a:lnTo>
                <a:lnTo>
                  <a:pt x="118" y="1751"/>
                </a:lnTo>
                <a:lnTo>
                  <a:pt x="128" y="1790"/>
                </a:lnTo>
                <a:lnTo>
                  <a:pt x="141" y="1827"/>
                </a:lnTo>
                <a:lnTo>
                  <a:pt x="160" y="1861"/>
                </a:lnTo>
                <a:lnTo>
                  <a:pt x="183" y="1892"/>
                </a:lnTo>
                <a:lnTo>
                  <a:pt x="210" y="1920"/>
                </a:lnTo>
                <a:lnTo>
                  <a:pt x="242" y="1943"/>
                </a:lnTo>
                <a:lnTo>
                  <a:pt x="275" y="1962"/>
                </a:lnTo>
                <a:lnTo>
                  <a:pt x="313" y="1976"/>
                </a:lnTo>
                <a:lnTo>
                  <a:pt x="352" y="1985"/>
                </a:lnTo>
                <a:lnTo>
                  <a:pt x="393" y="1988"/>
                </a:lnTo>
                <a:lnTo>
                  <a:pt x="394" y="1988"/>
                </a:lnTo>
                <a:lnTo>
                  <a:pt x="394" y="1600"/>
                </a:lnTo>
                <a:lnTo>
                  <a:pt x="339" y="1588"/>
                </a:lnTo>
                <a:lnTo>
                  <a:pt x="289" y="1574"/>
                </a:lnTo>
                <a:lnTo>
                  <a:pt x="246" y="1563"/>
                </a:lnTo>
                <a:lnTo>
                  <a:pt x="207" y="1550"/>
                </a:lnTo>
                <a:lnTo>
                  <a:pt x="176" y="1539"/>
                </a:lnTo>
                <a:close/>
                <a:moveTo>
                  <a:pt x="2822" y="1452"/>
                </a:moveTo>
                <a:lnTo>
                  <a:pt x="2822" y="1969"/>
                </a:lnTo>
                <a:lnTo>
                  <a:pt x="2863" y="1964"/>
                </a:lnTo>
                <a:lnTo>
                  <a:pt x="2901" y="1953"/>
                </a:lnTo>
                <a:lnTo>
                  <a:pt x="2937" y="1937"/>
                </a:lnTo>
                <a:lnTo>
                  <a:pt x="2970" y="1915"/>
                </a:lnTo>
                <a:lnTo>
                  <a:pt x="2999" y="1890"/>
                </a:lnTo>
                <a:lnTo>
                  <a:pt x="3023" y="1860"/>
                </a:lnTo>
                <a:lnTo>
                  <a:pt x="3044" y="1826"/>
                </a:lnTo>
                <a:lnTo>
                  <a:pt x="3059" y="1791"/>
                </a:lnTo>
                <a:lnTo>
                  <a:pt x="3068" y="1751"/>
                </a:lnTo>
                <a:lnTo>
                  <a:pt x="3072" y="1710"/>
                </a:lnTo>
                <a:lnTo>
                  <a:pt x="3069" y="1669"/>
                </a:lnTo>
                <a:lnTo>
                  <a:pt x="3060" y="1631"/>
                </a:lnTo>
                <a:lnTo>
                  <a:pt x="3044" y="1594"/>
                </a:lnTo>
                <a:lnTo>
                  <a:pt x="3024" y="1560"/>
                </a:lnTo>
                <a:lnTo>
                  <a:pt x="2999" y="1530"/>
                </a:lnTo>
                <a:lnTo>
                  <a:pt x="2970" y="1505"/>
                </a:lnTo>
                <a:lnTo>
                  <a:pt x="2937" y="1483"/>
                </a:lnTo>
                <a:lnTo>
                  <a:pt x="2902" y="1467"/>
                </a:lnTo>
                <a:lnTo>
                  <a:pt x="2863" y="1456"/>
                </a:lnTo>
                <a:lnTo>
                  <a:pt x="2822" y="1452"/>
                </a:lnTo>
                <a:close/>
                <a:moveTo>
                  <a:pt x="2590" y="821"/>
                </a:moveTo>
                <a:lnTo>
                  <a:pt x="2551" y="868"/>
                </a:lnTo>
                <a:lnTo>
                  <a:pt x="2507" y="917"/>
                </a:lnTo>
                <a:lnTo>
                  <a:pt x="2461" y="969"/>
                </a:lnTo>
                <a:lnTo>
                  <a:pt x="2410" y="1021"/>
                </a:lnTo>
                <a:lnTo>
                  <a:pt x="2354" y="1075"/>
                </a:lnTo>
                <a:lnTo>
                  <a:pt x="2295" y="1128"/>
                </a:lnTo>
                <a:lnTo>
                  <a:pt x="2234" y="1181"/>
                </a:lnTo>
                <a:lnTo>
                  <a:pt x="2167" y="1234"/>
                </a:lnTo>
                <a:lnTo>
                  <a:pt x="2096" y="1286"/>
                </a:lnTo>
                <a:lnTo>
                  <a:pt x="2022" y="1336"/>
                </a:lnTo>
                <a:lnTo>
                  <a:pt x="1945" y="1384"/>
                </a:lnTo>
                <a:lnTo>
                  <a:pt x="1863" y="1431"/>
                </a:lnTo>
                <a:lnTo>
                  <a:pt x="1778" y="1474"/>
                </a:lnTo>
                <a:lnTo>
                  <a:pt x="1689" y="1512"/>
                </a:lnTo>
                <a:lnTo>
                  <a:pt x="1596" y="1548"/>
                </a:lnTo>
                <a:lnTo>
                  <a:pt x="1495" y="1580"/>
                </a:lnTo>
                <a:lnTo>
                  <a:pt x="1395" y="1607"/>
                </a:lnTo>
                <a:lnTo>
                  <a:pt x="1296" y="1626"/>
                </a:lnTo>
                <a:lnTo>
                  <a:pt x="1199" y="1642"/>
                </a:lnTo>
                <a:lnTo>
                  <a:pt x="1104" y="1653"/>
                </a:lnTo>
                <a:lnTo>
                  <a:pt x="1011" y="1658"/>
                </a:lnTo>
                <a:lnTo>
                  <a:pt x="919" y="1660"/>
                </a:lnTo>
                <a:lnTo>
                  <a:pt x="829" y="1658"/>
                </a:lnTo>
                <a:lnTo>
                  <a:pt x="743" y="1653"/>
                </a:lnTo>
                <a:lnTo>
                  <a:pt x="661" y="1645"/>
                </a:lnTo>
                <a:lnTo>
                  <a:pt x="583" y="1635"/>
                </a:lnTo>
                <a:lnTo>
                  <a:pt x="509" y="1623"/>
                </a:lnTo>
                <a:lnTo>
                  <a:pt x="509" y="2262"/>
                </a:lnTo>
                <a:lnTo>
                  <a:pt x="512" y="2346"/>
                </a:lnTo>
                <a:lnTo>
                  <a:pt x="521" y="2429"/>
                </a:lnTo>
                <a:lnTo>
                  <a:pt x="537" y="2509"/>
                </a:lnTo>
                <a:lnTo>
                  <a:pt x="559" y="2587"/>
                </a:lnTo>
                <a:lnTo>
                  <a:pt x="586" y="2663"/>
                </a:lnTo>
                <a:lnTo>
                  <a:pt x="619" y="2735"/>
                </a:lnTo>
                <a:lnTo>
                  <a:pt x="657" y="2806"/>
                </a:lnTo>
                <a:lnTo>
                  <a:pt x="700" y="2873"/>
                </a:lnTo>
                <a:lnTo>
                  <a:pt x="747" y="2936"/>
                </a:lnTo>
                <a:lnTo>
                  <a:pt x="798" y="2995"/>
                </a:lnTo>
                <a:lnTo>
                  <a:pt x="853" y="3052"/>
                </a:lnTo>
                <a:lnTo>
                  <a:pt x="913" y="3103"/>
                </a:lnTo>
                <a:lnTo>
                  <a:pt x="977" y="3150"/>
                </a:lnTo>
                <a:lnTo>
                  <a:pt x="1043" y="3193"/>
                </a:lnTo>
                <a:lnTo>
                  <a:pt x="1113" y="3231"/>
                </a:lnTo>
                <a:lnTo>
                  <a:pt x="1186" y="3263"/>
                </a:lnTo>
                <a:lnTo>
                  <a:pt x="1262" y="3291"/>
                </a:lnTo>
                <a:lnTo>
                  <a:pt x="1340" y="3311"/>
                </a:lnTo>
                <a:lnTo>
                  <a:pt x="1421" y="3327"/>
                </a:lnTo>
                <a:lnTo>
                  <a:pt x="1503" y="3337"/>
                </a:lnTo>
                <a:lnTo>
                  <a:pt x="1588" y="3340"/>
                </a:lnTo>
                <a:lnTo>
                  <a:pt x="1629" y="3340"/>
                </a:lnTo>
                <a:lnTo>
                  <a:pt x="1714" y="3337"/>
                </a:lnTo>
                <a:lnTo>
                  <a:pt x="1796" y="3327"/>
                </a:lnTo>
                <a:lnTo>
                  <a:pt x="1877" y="3311"/>
                </a:lnTo>
                <a:lnTo>
                  <a:pt x="1954" y="3291"/>
                </a:lnTo>
                <a:lnTo>
                  <a:pt x="2030" y="3263"/>
                </a:lnTo>
                <a:lnTo>
                  <a:pt x="2103" y="3231"/>
                </a:lnTo>
                <a:lnTo>
                  <a:pt x="2173" y="3193"/>
                </a:lnTo>
                <a:lnTo>
                  <a:pt x="2240" y="3150"/>
                </a:lnTo>
                <a:lnTo>
                  <a:pt x="2303" y="3103"/>
                </a:lnTo>
                <a:lnTo>
                  <a:pt x="2362" y="3052"/>
                </a:lnTo>
                <a:lnTo>
                  <a:pt x="2418" y="2996"/>
                </a:lnTo>
                <a:lnTo>
                  <a:pt x="2469" y="2937"/>
                </a:lnTo>
                <a:lnTo>
                  <a:pt x="2516" y="2873"/>
                </a:lnTo>
                <a:lnTo>
                  <a:pt x="2559" y="2807"/>
                </a:lnTo>
                <a:lnTo>
                  <a:pt x="2597" y="2737"/>
                </a:lnTo>
                <a:lnTo>
                  <a:pt x="2629" y="2663"/>
                </a:lnTo>
                <a:lnTo>
                  <a:pt x="2657" y="2588"/>
                </a:lnTo>
                <a:lnTo>
                  <a:pt x="2678" y="2510"/>
                </a:lnTo>
                <a:lnTo>
                  <a:pt x="2693" y="2430"/>
                </a:lnTo>
                <a:lnTo>
                  <a:pt x="2704" y="2347"/>
                </a:lnTo>
                <a:lnTo>
                  <a:pt x="2707" y="2263"/>
                </a:lnTo>
                <a:lnTo>
                  <a:pt x="2707" y="1136"/>
                </a:lnTo>
                <a:lnTo>
                  <a:pt x="2704" y="1087"/>
                </a:lnTo>
                <a:lnTo>
                  <a:pt x="2696" y="1039"/>
                </a:lnTo>
                <a:lnTo>
                  <a:pt x="2684" y="992"/>
                </a:lnTo>
                <a:lnTo>
                  <a:pt x="2667" y="946"/>
                </a:lnTo>
                <a:lnTo>
                  <a:pt x="2645" y="902"/>
                </a:lnTo>
                <a:lnTo>
                  <a:pt x="2620" y="860"/>
                </a:lnTo>
                <a:lnTo>
                  <a:pt x="2590" y="821"/>
                </a:lnTo>
                <a:close/>
                <a:moveTo>
                  <a:pt x="2723" y="642"/>
                </a:moveTo>
                <a:lnTo>
                  <a:pt x="2706" y="667"/>
                </a:lnTo>
                <a:lnTo>
                  <a:pt x="2685" y="696"/>
                </a:lnTo>
                <a:lnTo>
                  <a:pt x="2662" y="728"/>
                </a:lnTo>
                <a:lnTo>
                  <a:pt x="2699" y="772"/>
                </a:lnTo>
                <a:lnTo>
                  <a:pt x="2730" y="818"/>
                </a:lnTo>
                <a:lnTo>
                  <a:pt x="2757" y="866"/>
                </a:lnTo>
                <a:lnTo>
                  <a:pt x="2780" y="917"/>
                </a:lnTo>
                <a:lnTo>
                  <a:pt x="2798" y="970"/>
                </a:lnTo>
                <a:lnTo>
                  <a:pt x="2812" y="1024"/>
                </a:lnTo>
                <a:lnTo>
                  <a:pt x="2820" y="1080"/>
                </a:lnTo>
                <a:lnTo>
                  <a:pt x="2822" y="1136"/>
                </a:lnTo>
                <a:lnTo>
                  <a:pt x="2822" y="1335"/>
                </a:lnTo>
                <a:lnTo>
                  <a:pt x="2867" y="1338"/>
                </a:lnTo>
                <a:lnTo>
                  <a:pt x="2910" y="1348"/>
                </a:lnTo>
                <a:lnTo>
                  <a:pt x="2952" y="1361"/>
                </a:lnTo>
                <a:lnTo>
                  <a:pt x="2991" y="1380"/>
                </a:lnTo>
                <a:lnTo>
                  <a:pt x="3026" y="1402"/>
                </a:lnTo>
                <a:lnTo>
                  <a:pt x="3060" y="1428"/>
                </a:lnTo>
                <a:lnTo>
                  <a:pt x="3045" y="1331"/>
                </a:lnTo>
                <a:lnTo>
                  <a:pt x="3023" y="1235"/>
                </a:lnTo>
                <a:lnTo>
                  <a:pt x="2996" y="1140"/>
                </a:lnTo>
                <a:lnTo>
                  <a:pt x="2964" y="1049"/>
                </a:lnTo>
                <a:lnTo>
                  <a:pt x="2925" y="961"/>
                </a:lnTo>
                <a:lnTo>
                  <a:pt x="2882" y="877"/>
                </a:lnTo>
                <a:lnTo>
                  <a:pt x="2834" y="795"/>
                </a:lnTo>
                <a:lnTo>
                  <a:pt x="2780" y="716"/>
                </a:lnTo>
                <a:lnTo>
                  <a:pt x="2723" y="642"/>
                </a:lnTo>
                <a:close/>
                <a:moveTo>
                  <a:pt x="1952" y="478"/>
                </a:moveTo>
                <a:lnTo>
                  <a:pt x="1908" y="531"/>
                </a:lnTo>
                <a:lnTo>
                  <a:pt x="1860" y="585"/>
                </a:lnTo>
                <a:lnTo>
                  <a:pt x="1807" y="641"/>
                </a:lnTo>
                <a:lnTo>
                  <a:pt x="1751" y="699"/>
                </a:lnTo>
                <a:lnTo>
                  <a:pt x="1690" y="756"/>
                </a:lnTo>
                <a:lnTo>
                  <a:pt x="1624" y="813"/>
                </a:lnTo>
                <a:lnTo>
                  <a:pt x="1555" y="869"/>
                </a:lnTo>
                <a:lnTo>
                  <a:pt x="1481" y="925"/>
                </a:lnTo>
                <a:lnTo>
                  <a:pt x="1402" y="977"/>
                </a:lnTo>
                <a:lnTo>
                  <a:pt x="1319" y="1028"/>
                </a:lnTo>
                <a:lnTo>
                  <a:pt x="1230" y="1078"/>
                </a:lnTo>
                <a:lnTo>
                  <a:pt x="1142" y="1121"/>
                </a:lnTo>
                <a:lnTo>
                  <a:pt x="1055" y="1158"/>
                </a:lnTo>
                <a:lnTo>
                  <a:pt x="969" y="1192"/>
                </a:lnTo>
                <a:lnTo>
                  <a:pt x="885" y="1220"/>
                </a:lnTo>
                <a:lnTo>
                  <a:pt x="803" y="1244"/>
                </a:lnTo>
                <a:lnTo>
                  <a:pt x="725" y="1264"/>
                </a:lnTo>
                <a:lnTo>
                  <a:pt x="650" y="1281"/>
                </a:lnTo>
                <a:lnTo>
                  <a:pt x="579" y="1294"/>
                </a:lnTo>
                <a:lnTo>
                  <a:pt x="512" y="1305"/>
                </a:lnTo>
                <a:lnTo>
                  <a:pt x="450" y="1313"/>
                </a:lnTo>
                <a:lnTo>
                  <a:pt x="393" y="1319"/>
                </a:lnTo>
                <a:lnTo>
                  <a:pt x="342" y="1323"/>
                </a:lnTo>
                <a:lnTo>
                  <a:pt x="297" y="1325"/>
                </a:lnTo>
                <a:lnTo>
                  <a:pt x="275" y="1356"/>
                </a:lnTo>
                <a:lnTo>
                  <a:pt x="256" y="1384"/>
                </a:lnTo>
                <a:lnTo>
                  <a:pt x="238" y="1411"/>
                </a:lnTo>
                <a:lnTo>
                  <a:pt x="223" y="1433"/>
                </a:lnTo>
                <a:lnTo>
                  <a:pt x="256" y="1443"/>
                </a:lnTo>
                <a:lnTo>
                  <a:pt x="294" y="1455"/>
                </a:lnTo>
                <a:lnTo>
                  <a:pt x="338" y="1467"/>
                </a:lnTo>
                <a:lnTo>
                  <a:pt x="389" y="1479"/>
                </a:lnTo>
                <a:lnTo>
                  <a:pt x="443" y="1491"/>
                </a:lnTo>
                <a:lnTo>
                  <a:pt x="503" y="1503"/>
                </a:lnTo>
                <a:lnTo>
                  <a:pt x="567" y="1514"/>
                </a:lnTo>
                <a:lnTo>
                  <a:pt x="635" y="1524"/>
                </a:lnTo>
                <a:lnTo>
                  <a:pt x="707" y="1532"/>
                </a:lnTo>
                <a:lnTo>
                  <a:pt x="781" y="1537"/>
                </a:lnTo>
                <a:lnTo>
                  <a:pt x="860" y="1542"/>
                </a:lnTo>
                <a:lnTo>
                  <a:pt x="940" y="1543"/>
                </a:lnTo>
                <a:lnTo>
                  <a:pt x="1024" y="1541"/>
                </a:lnTo>
                <a:lnTo>
                  <a:pt x="1110" y="1534"/>
                </a:lnTo>
                <a:lnTo>
                  <a:pt x="1197" y="1525"/>
                </a:lnTo>
                <a:lnTo>
                  <a:pt x="1286" y="1510"/>
                </a:lnTo>
                <a:lnTo>
                  <a:pt x="1376" y="1491"/>
                </a:lnTo>
                <a:lnTo>
                  <a:pt x="1466" y="1468"/>
                </a:lnTo>
                <a:lnTo>
                  <a:pt x="1558" y="1439"/>
                </a:lnTo>
                <a:lnTo>
                  <a:pt x="1639" y="1408"/>
                </a:lnTo>
                <a:lnTo>
                  <a:pt x="1717" y="1374"/>
                </a:lnTo>
                <a:lnTo>
                  <a:pt x="1793" y="1336"/>
                </a:lnTo>
                <a:lnTo>
                  <a:pt x="1865" y="1297"/>
                </a:lnTo>
                <a:lnTo>
                  <a:pt x="1934" y="1255"/>
                </a:lnTo>
                <a:lnTo>
                  <a:pt x="2001" y="1210"/>
                </a:lnTo>
                <a:lnTo>
                  <a:pt x="2065" y="1165"/>
                </a:lnTo>
                <a:lnTo>
                  <a:pt x="2125" y="1117"/>
                </a:lnTo>
                <a:lnTo>
                  <a:pt x="2182" y="1070"/>
                </a:lnTo>
                <a:lnTo>
                  <a:pt x="2237" y="1023"/>
                </a:lnTo>
                <a:lnTo>
                  <a:pt x="2288" y="975"/>
                </a:lnTo>
                <a:lnTo>
                  <a:pt x="2336" y="928"/>
                </a:lnTo>
                <a:lnTo>
                  <a:pt x="2381" y="881"/>
                </a:lnTo>
                <a:lnTo>
                  <a:pt x="2423" y="836"/>
                </a:lnTo>
                <a:lnTo>
                  <a:pt x="2461" y="792"/>
                </a:lnTo>
                <a:lnTo>
                  <a:pt x="2496" y="750"/>
                </a:lnTo>
                <a:lnTo>
                  <a:pt x="2528" y="711"/>
                </a:lnTo>
                <a:lnTo>
                  <a:pt x="2557" y="674"/>
                </a:lnTo>
                <a:lnTo>
                  <a:pt x="2582" y="640"/>
                </a:lnTo>
                <a:lnTo>
                  <a:pt x="2603" y="610"/>
                </a:lnTo>
                <a:lnTo>
                  <a:pt x="2622" y="583"/>
                </a:lnTo>
                <a:lnTo>
                  <a:pt x="2588" y="574"/>
                </a:lnTo>
                <a:lnTo>
                  <a:pt x="2548" y="562"/>
                </a:lnTo>
                <a:lnTo>
                  <a:pt x="2501" y="551"/>
                </a:lnTo>
                <a:lnTo>
                  <a:pt x="2449" y="539"/>
                </a:lnTo>
                <a:lnTo>
                  <a:pt x="2393" y="528"/>
                </a:lnTo>
                <a:lnTo>
                  <a:pt x="2332" y="516"/>
                </a:lnTo>
                <a:lnTo>
                  <a:pt x="2266" y="506"/>
                </a:lnTo>
                <a:lnTo>
                  <a:pt x="2196" y="497"/>
                </a:lnTo>
                <a:lnTo>
                  <a:pt x="2123" y="490"/>
                </a:lnTo>
                <a:lnTo>
                  <a:pt x="2046" y="484"/>
                </a:lnTo>
                <a:lnTo>
                  <a:pt x="1967" y="481"/>
                </a:lnTo>
                <a:lnTo>
                  <a:pt x="1961" y="481"/>
                </a:lnTo>
                <a:lnTo>
                  <a:pt x="1957" y="480"/>
                </a:lnTo>
                <a:lnTo>
                  <a:pt x="1952" y="478"/>
                </a:lnTo>
                <a:close/>
                <a:moveTo>
                  <a:pt x="2137" y="214"/>
                </a:moveTo>
                <a:lnTo>
                  <a:pt x="2124" y="237"/>
                </a:lnTo>
                <a:lnTo>
                  <a:pt x="2107" y="263"/>
                </a:lnTo>
                <a:lnTo>
                  <a:pt x="2087" y="294"/>
                </a:lnTo>
                <a:lnTo>
                  <a:pt x="2063" y="330"/>
                </a:lnTo>
                <a:lnTo>
                  <a:pt x="2036" y="368"/>
                </a:lnTo>
                <a:lnTo>
                  <a:pt x="2129" y="374"/>
                </a:lnTo>
                <a:lnTo>
                  <a:pt x="2218" y="383"/>
                </a:lnTo>
                <a:lnTo>
                  <a:pt x="2301" y="394"/>
                </a:lnTo>
                <a:lnTo>
                  <a:pt x="2378" y="406"/>
                </a:lnTo>
                <a:lnTo>
                  <a:pt x="2449" y="420"/>
                </a:lnTo>
                <a:lnTo>
                  <a:pt x="2513" y="435"/>
                </a:lnTo>
                <a:lnTo>
                  <a:pt x="2444" y="381"/>
                </a:lnTo>
                <a:lnTo>
                  <a:pt x="2372" y="333"/>
                </a:lnTo>
                <a:lnTo>
                  <a:pt x="2296" y="288"/>
                </a:lnTo>
                <a:lnTo>
                  <a:pt x="2218" y="249"/>
                </a:lnTo>
                <a:lnTo>
                  <a:pt x="2137" y="214"/>
                </a:lnTo>
                <a:close/>
                <a:moveTo>
                  <a:pt x="2003" y="211"/>
                </a:moveTo>
                <a:lnTo>
                  <a:pt x="1959" y="214"/>
                </a:lnTo>
                <a:lnTo>
                  <a:pt x="1910" y="218"/>
                </a:lnTo>
                <a:lnTo>
                  <a:pt x="1855" y="225"/>
                </a:lnTo>
                <a:lnTo>
                  <a:pt x="1793" y="234"/>
                </a:lnTo>
                <a:lnTo>
                  <a:pt x="1728" y="244"/>
                </a:lnTo>
                <a:lnTo>
                  <a:pt x="1658" y="259"/>
                </a:lnTo>
                <a:lnTo>
                  <a:pt x="1584" y="275"/>
                </a:lnTo>
                <a:lnTo>
                  <a:pt x="1508" y="295"/>
                </a:lnTo>
                <a:lnTo>
                  <a:pt x="1428" y="319"/>
                </a:lnTo>
                <a:lnTo>
                  <a:pt x="1348" y="347"/>
                </a:lnTo>
                <a:lnTo>
                  <a:pt x="1265" y="378"/>
                </a:lnTo>
                <a:lnTo>
                  <a:pt x="1181" y="415"/>
                </a:lnTo>
                <a:lnTo>
                  <a:pt x="1097" y="456"/>
                </a:lnTo>
                <a:lnTo>
                  <a:pt x="1013" y="502"/>
                </a:lnTo>
                <a:lnTo>
                  <a:pt x="937" y="549"/>
                </a:lnTo>
                <a:lnTo>
                  <a:pt x="865" y="597"/>
                </a:lnTo>
                <a:lnTo>
                  <a:pt x="797" y="648"/>
                </a:lnTo>
                <a:lnTo>
                  <a:pt x="733" y="700"/>
                </a:lnTo>
                <a:lnTo>
                  <a:pt x="673" y="752"/>
                </a:lnTo>
                <a:lnTo>
                  <a:pt x="617" y="805"/>
                </a:lnTo>
                <a:lnTo>
                  <a:pt x="565" y="858"/>
                </a:lnTo>
                <a:lnTo>
                  <a:pt x="517" y="909"/>
                </a:lnTo>
                <a:lnTo>
                  <a:pt x="473" y="959"/>
                </a:lnTo>
                <a:lnTo>
                  <a:pt x="434" y="1009"/>
                </a:lnTo>
                <a:lnTo>
                  <a:pt x="397" y="1055"/>
                </a:lnTo>
                <a:lnTo>
                  <a:pt x="365" y="1099"/>
                </a:lnTo>
                <a:lnTo>
                  <a:pt x="336" y="1139"/>
                </a:lnTo>
                <a:lnTo>
                  <a:pt x="312" y="1176"/>
                </a:lnTo>
                <a:lnTo>
                  <a:pt x="291" y="1209"/>
                </a:lnTo>
                <a:lnTo>
                  <a:pt x="333" y="1206"/>
                </a:lnTo>
                <a:lnTo>
                  <a:pt x="381" y="1202"/>
                </a:lnTo>
                <a:lnTo>
                  <a:pt x="435" y="1197"/>
                </a:lnTo>
                <a:lnTo>
                  <a:pt x="493" y="1190"/>
                </a:lnTo>
                <a:lnTo>
                  <a:pt x="557" y="1179"/>
                </a:lnTo>
                <a:lnTo>
                  <a:pt x="625" y="1167"/>
                </a:lnTo>
                <a:lnTo>
                  <a:pt x="696" y="1151"/>
                </a:lnTo>
                <a:lnTo>
                  <a:pt x="772" y="1132"/>
                </a:lnTo>
                <a:lnTo>
                  <a:pt x="849" y="1109"/>
                </a:lnTo>
                <a:lnTo>
                  <a:pt x="929" y="1082"/>
                </a:lnTo>
                <a:lnTo>
                  <a:pt x="1011" y="1050"/>
                </a:lnTo>
                <a:lnTo>
                  <a:pt x="1093" y="1015"/>
                </a:lnTo>
                <a:lnTo>
                  <a:pt x="1177" y="974"/>
                </a:lnTo>
                <a:lnTo>
                  <a:pt x="1261" y="928"/>
                </a:lnTo>
                <a:lnTo>
                  <a:pt x="1333" y="885"/>
                </a:lnTo>
                <a:lnTo>
                  <a:pt x="1401" y="839"/>
                </a:lnTo>
                <a:lnTo>
                  <a:pt x="1466" y="791"/>
                </a:lnTo>
                <a:lnTo>
                  <a:pt x="1528" y="743"/>
                </a:lnTo>
                <a:lnTo>
                  <a:pt x="1585" y="692"/>
                </a:lnTo>
                <a:lnTo>
                  <a:pt x="1641" y="643"/>
                </a:lnTo>
                <a:lnTo>
                  <a:pt x="1692" y="593"/>
                </a:lnTo>
                <a:lnTo>
                  <a:pt x="1740" y="542"/>
                </a:lnTo>
                <a:lnTo>
                  <a:pt x="1785" y="494"/>
                </a:lnTo>
                <a:lnTo>
                  <a:pt x="1826" y="446"/>
                </a:lnTo>
                <a:lnTo>
                  <a:pt x="1864" y="401"/>
                </a:lnTo>
                <a:lnTo>
                  <a:pt x="1899" y="357"/>
                </a:lnTo>
                <a:lnTo>
                  <a:pt x="1930" y="315"/>
                </a:lnTo>
                <a:lnTo>
                  <a:pt x="1957" y="276"/>
                </a:lnTo>
                <a:lnTo>
                  <a:pt x="1982" y="242"/>
                </a:lnTo>
                <a:lnTo>
                  <a:pt x="2003" y="211"/>
                </a:lnTo>
                <a:close/>
                <a:moveTo>
                  <a:pt x="1624" y="116"/>
                </a:moveTo>
                <a:lnTo>
                  <a:pt x="1530" y="119"/>
                </a:lnTo>
                <a:lnTo>
                  <a:pt x="1438" y="128"/>
                </a:lnTo>
                <a:lnTo>
                  <a:pt x="1348" y="143"/>
                </a:lnTo>
                <a:lnTo>
                  <a:pt x="1259" y="164"/>
                </a:lnTo>
                <a:lnTo>
                  <a:pt x="1172" y="191"/>
                </a:lnTo>
                <a:lnTo>
                  <a:pt x="1088" y="223"/>
                </a:lnTo>
                <a:lnTo>
                  <a:pt x="1005" y="260"/>
                </a:lnTo>
                <a:lnTo>
                  <a:pt x="927" y="303"/>
                </a:lnTo>
                <a:lnTo>
                  <a:pt x="850" y="350"/>
                </a:lnTo>
                <a:lnTo>
                  <a:pt x="777" y="401"/>
                </a:lnTo>
                <a:lnTo>
                  <a:pt x="706" y="458"/>
                </a:lnTo>
                <a:lnTo>
                  <a:pt x="640" y="517"/>
                </a:lnTo>
                <a:lnTo>
                  <a:pt x="576" y="582"/>
                </a:lnTo>
                <a:lnTo>
                  <a:pt x="517" y="650"/>
                </a:lnTo>
                <a:lnTo>
                  <a:pt x="462" y="723"/>
                </a:lnTo>
                <a:lnTo>
                  <a:pt x="410" y="799"/>
                </a:lnTo>
                <a:lnTo>
                  <a:pt x="364" y="879"/>
                </a:lnTo>
                <a:lnTo>
                  <a:pt x="323" y="960"/>
                </a:lnTo>
                <a:lnTo>
                  <a:pt x="364" y="908"/>
                </a:lnTo>
                <a:lnTo>
                  <a:pt x="412" y="852"/>
                </a:lnTo>
                <a:lnTo>
                  <a:pt x="463" y="796"/>
                </a:lnTo>
                <a:lnTo>
                  <a:pt x="518" y="738"/>
                </a:lnTo>
                <a:lnTo>
                  <a:pt x="579" y="681"/>
                </a:lnTo>
                <a:lnTo>
                  <a:pt x="644" y="622"/>
                </a:lnTo>
                <a:lnTo>
                  <a:pt x="714" y="564"/>
                </a:lnTo>
                <a:lnTo>
                  <a:pt x="790" y="509"/>
                </a:lnTo>
                <a:lnTo>
                  <a:pt x="869" y="453"/>
                </a:lnTo>
                <a:lnTo>
                  <a:pt x="955" y="401"/>
                </a:lnTo>
                <a:lnTo>
                  <a:pt x="1041" y="354"/>
                </a:lnTo>
                <a:lnTo>
                  <a:pt x="1127" y="312"/>
                </a:lnTo>
                <a:lnTo>
                  <a:pt x="1212" y="274"/>
                </a:lnTo>
                <a:lnTo>
                  <a:pt x="1296" y="242"/>
                </a:lnTo>
                <a:lnTo>
                  <a:pt x="1378" y="213"/>
                </a:lnTo>
                <a:lnTo>
                  <a:pt x="1459" y="187"/>
                </a:lnTo>
                <a:lnTo>
                  <a:pt x="1537" y="167"/>
                </a:lnTo>
                <a:lnTo>
                  <a:pt x="1612" y="149"/>
                </a:lnTo>
                <a:lnTo>
                  <a:pt x="1684" y="134"/>
                </a:lnTo>
                <a:lnTo>
                  <a:pt x="1751" y="121"/>
                </a:lnTo>
                <a:lnTo>
                  <a:pt x="1688" y="117"/>
                </a:lnTo>
                <a:lnTo>
                  <a:pt x="1624" y="116"/>
                </a:lnTo>
                <a:close/>
                <a:moveTo>
                  <a:pt x="1624" y="0"/>
                </a:moveTo>
                <a:lnTo>
                  <a:pt x="1723" y="3"/>
                </a:lnTo>
                <a:lnTo>
                  <a:pt x="1820" y="13"/>
                </a:lnTo>
                <a:lnTo>
                  <a:pt x="1915" y="28"/>
                </a:lnTo>
                <a:lnTo>
                  <a:pt x="2008" y="49"/>
                </a:lnTo>
                <a:lnTo>
                  <a:pt x="2100" y="76"/>
                </a:lnTo>
                <a:lnTo>
                  <a:pt x="2189" y="109"/>
                </a:lnTo>
                <a:lnTo>
                  <a:pt x="2276" y="148"/>
                </a:lnTo>
                <a:lnTo>
                  <a:pt x="2359" y="191"/>
                </a:lnTo>
                <a:lnTo>
                  <a:pt x="2440" y="239"/>
                </a:lnTo>
                <a:lnTo>
                  <a:pt x="2517" y="291"/>
                </a:lnTo>
                <a:lnTo>
                  <a:pt x="2592" y="349"/>
                </a:lnTo>
                <a:lnTo>
                  <a:pt x="2663" y="411"/>
                </a:lnTo>
                <a:lnTo>
                  <a:pt x="2730" y="475"/>
                </a:lnTo>
                <a:lnTo>
                  <a:pt x="2793" y="546"/>
                </a:lnTo>
                <a:lnTo>
                  <a:pt x="2853" y="619"/>
                </a:lnTo>
                <a:lnTo>
                  <a:pt x="2908" y="696"/>
                </a:lnTo>
                <a:lnTo>
                  <a:pt x="2958" y="777"/>
                </a:lnTo>
                <a:lnTo>
                  <a:pt x="3005" y="861"/>
                </a:lnTo>
                <a:lnTo>
                  <a:pt x="3046" y="948"/>
                </a:lnTo>
                <a:lnTo>
                  <a:pt x="3083" y="1037"/>
                </a:lnTo>
                <a:lnTo>
                  <a:pt x="3114" y="1129"/>
                </a:lnTo>
                <a:lnTo>
                  <a:pt x="3140" y="1224"/>
                </a:lnTo>
                <a:lnTo>
                  <a:pt x="3161" y="1321"/>
                </a:lnTo>
                <a:lnTo>
                  <a:pt x="3176" y="1420"/>
                </a:lnTo>
                <a:lnTo>
                  <a:pt x="3186" y="1521"/>
                </a:lnTo>
                <a:lnTo>
                  <a:pt x="3189" y="1623"/>
                </a:lnTo>
                <a:lnTo>
                  <a:pt x="3189" y="1694"/>
                </a:lnTo>
                <a:lnTo>
                  <a:pt x="3188" y="1769"/>
                </a:lnTo>
                <a:lnTo>
                  <a:pt x="3187" y="1845"/>
                </a:lnTo>
                <a:lnTo>
                  <a:pt x="3186" y="1922"/>
                </a:lnTo>
                <a:lnTo>
                  <a:pt x="3182" y="2000"/>
                </a:lnTo>
                <a:lnTo>
                  <a:pt x="3180" y="2079"/>
                </a:lnTo>
                <a:lnTo>
                  <a:pt x="3176" y="2158"/>
                </a:lnTo>
                <a:lnTo>
                  <a:pt x="3171" y="2238"/>
                </a:lnTo>
                <a:lnTo>
                  <a:pt x="3166" y="2317"/>
                </a:lnTo>
                <a:lnTo>
                  <a:pt x="3158" y="2395"/>
                </a:lnTo>
                <a:lnTo>
                  <a:pt x="3150" y="2473"/>
                </a:lnTo>
                <a:lnTo>
                  <a:pt x="3140" y="2548"/>
                </a:lnTo>
                <a:lnTo>
                  <a:pt x="3130" y="2622"/>
                </a:lnTo>
                <a:lnTo>
                  <a:pt x="3117" y="2695"/>
                </a:lnTo>
                <a:lnTo>
                  <a:pt x="3104" y="2764"/>
                </a:lnTo>
                <a:lnTo>
                  <a:pt x="3088" y="2831"/>
                </a:lnTo>
                <a:lnTo>
                  <a:pt x="3071" y="2895"/>
                </a:lnTo>
                <a:lnTo>
                  <a:pt x="3051" y="2955"/>
                </a:lnTo>
                <a:lnTo>
                  <a:pt x="3031" y="3013"/>
                </a:lnTo>
                <a:lnTo>
                  <a:pt x="3008" y="3065"/>
                </a:lnTo>
                <a:lnTo>
                  <a:pt x="2982" y="3114"/>
                </a:lnTo>
                <a:lnTo>
                  <a:pt x="2955" y="3158"/>
                </a:lnTo>
                <a:lnTo>
                  <a:pt x="2926" y="3195"/>
                </a:lnTo>
                <a:lnTo>
                  <a:pt x="2913" y="3207"/>
                </a:lnTo>
                <a:lnTo>
                  <a:pt x="2899" y="3213"/>
                </a:lnTo>
                <a:lnTo>
                  <a:pt x="2882" y="3216"/>
                </a:lnTo>
                <a:lnTo>
                  <a:pt x="2881" y="3216"/>
                </a:lnTo>
                <a:lnTo>
                  <a:pt x="2369" y="3203"/>
                </a:lnTo>
                <a:lnTo>
                  <a:pt x="2367" y="3203"/>
                </a:lnTo>
                <a:lnTo>
                  <a:pt x="2363" y="3202"/>
                </a:lnTo>
                <a:lnTo>
                  <a:pt x="2302" y="3248"/>
                </a:lnTo>
                <a:lnTo>
                  <a:pt x="2236" y="3288"/>
                </a:lnTo>
                <a:lnTo>
                  <a:pt x="2169" y="3326"/>
                </a:lnTo>
                <a:lnTo>
                  <a:pt x="2098" y="3360"/>
                </a:lnTo>
                <a:lnTo>
                  <a:pt x="2024" y="3388"/>
                </a:lnTo>
                <a:lnTo>
                  <a:pt x="1950" y="3412"/>
                </a:lnTo>
                <a:lnTo>
                  <a:pt x="1872" y="3431"/>
                </a:lnTo>
                <a:lnTo>
                  <a:pt x="1793" y="3444"/>
                </a:lnTo>
                <a:lnTo>
                  <a:pt x="1712" y="3453"/>
                </a:lnTo>
                <a:lnTo>
                  <a:pt x="1629" y="3456"/>
                </a:lnTo>
                <a:lnTo>
                  <a:pt x="1588" y="3456"/>
                </a:lnTo>
                <a:lnTo>
                  <a:pt x="1499" y="3453"/>
                </a:lnTo>
                <a:lnTo>
                  <a:pt x="1413" y="3443"/>
                </a:lnTo>
                <a:lnTo>
                  <a:pt x="1328" y="3428"/>
                </a:lnTo>
                <a:lnTo>
                  <a:pt x="1246" y="3406"/>
                </a:lnTo>
                <a:lnTo>
                  <a:pt x="1167" y="3379"/>
                </a:lnTo>
                <a:lnTo>
                  <a:pt x="1089" y="3346"/>
                </a:lnTo>
                <a:lnTo>
                  <a:pt x="1015" y="3308"/>
                </a:lnTo>
                <a:lnTo>
                  <a:pt x="944" y="3266"/>
                </a:lnTo>
                <a:lnTo>
                  <a:pt x="875" y="3219"/>
                </a:lnTo>
                <a:lnTo>
                  <a:pt x="811" y="3167"/>
                </a:lnTo>
                <a:lnTo>
                  <a:pt x="811" y="3167"/>
                </a:lnTo>
                <a:lnTo>
                  <a:pt x="325" y="3155"/>
                </a:lnTo>
                <a:lnTo>
                  <a:pt x="309" y="3153"/>
                </a:lnTo>
                <a:lnTo>
                  <a:pt x="294" y="3146"/>
                </a:lnTo>
                <a:lnTo>
                  <a:pt x="282" y="3134"/>
                </a:lnTo>
                <a:lnTo>
                  <a:pt x="253" y="3095"/>
                </a:lnTo>
                <a:lnTo>
                  <a:pt x="227" y="3051"/>
                </a:lnTo>
                <a:lnTo>
                  <a:pt x="203" y="3000"/>
                </a:lnTo>
                <a:lnTo>
                  <a:pt x="182" y="2947"/>
                </a:lnTo>
                <a:lnTo>
                  <a:pt x="163" y="2889"/>
                </a:lnTo>
                <a:lnTo>
                  <a:pt x="147" y="2829"/>
                </a:lnTo>
                <a:lnTo>
                  <a:pt x="132" y="2764"/>
                </a:lnTo>
                <a:lnTo>
                  <a:pt x="118" y="2698"/>
                </a:lnTo>
                <a:lnTo>
                  <a:pt x="107" y="2629"/>
                </a:lnTo>
                <a:lnTo>
                  <a:pt x="97" y="2558"/>
                </a:lnTo>
                <a:lnTo>
                  <a:pt x="89" y="2486"/>
                </a:lnTo>
                <a:lnTo>
                  <a:pt x="82" y="2414"/>
                </a:lnTo>
                <a:lnTo>
                  <a:pt x="75" y="2341"/>
                </a:lnTo>
                <a:lnTo>
                  <a:pt x="71" y="2267"/>
                </a:lnTo>
                <a:lnTo>
                  <a:pt x="67" y="2195"/>
                </a:lnTo>
                <a:lnTo>
                  <a:pt x="65" y="2124"/>
                </a:lnTo>
                <a:lnTo>
                  <a:pt x="63" y="2054"/>
                </a:lnTo>
                <a:lnTo>
                  <a:pt x="61" y="1985"/>
                </a:lnTo>
                <a:lnTo>
                  <a:pt x="60" y="1919"/>
                </a:lnTo>
                <a:lnTo>
                  <a:pt x="39" y="1881"/>
                </a:lnTo>
                <a:lnTo>
                  <a:pt x="22" y="1841"/>
                </a:lnTo>
                <a:lnTo>
                  <a:pt x="10" y="1799"/>
                </a:lnTo>
                <a:lnTo>
                  <a:pt x="2" y="1755"/>
                </a:lnTo>
                <a:lnTo>
                  <a:pt x="0" y="1710"/>
                </a:lnTo>
                <a:lnTo>
                  <a:pt x="3" y="1663"/>
                </a:lnTo>
                <a:lnTo>
                  <a:pt x="12" y="1617"/>
                </a:lnTo>
                <a:lnTo>
                  <a:pt x="25" y="1573"/>
                </a:lnTo>
                <a:lnTo>
                  <a:pt x="44" y="1530"/>
                </a:lnTo>
                <a:lnTo>
                  <a:pt x="68" y="1490"/>
                </a:lnTo>
                <a:lnTo>
                  <a:pt x="71" y="1427"/>
                </a:lnTo>
                <a:lnTo>
                  <a:pt x="86" y="1327"/>
                </a:lnTo>
                <a:lnTo>
                  <a:pt x="107" y="1228"/>
                </a:lnTo>
                <a:lnTo>
                  <a:pt x="133" y="1132"/>
                </a:lnTo>
                <a:lnTo>
                  <a:pt x="164" y="1039"/>
                </a:lnTo>
                <a:lnTo>
                  <a:pt x="201" y="948"/>
                </a:lnTo>
                <a:lnTo>
                  <a:pt x="243" y="860"/>
                </a:lnTo>
                <a:lnTo>
                  <a:pt x="290" y="776"/>
                </a:lnTo>
                <a:lnTo>
                  <a:pt x="341" y="695"/>
                </a:lnTo>
                <a:lnTo>
                  <a:pt x="397" y="618"/>
                </a:lnTo>
                <a:lnTo>
                  <a:pt x="457" y="544"/>
                </a:lnTo>
                <a:lnTo>
                  <a:pt x="520" y="473"/>
                </a:lnTo>
                <a:lnTo>
                  <a:pt x="587" y="407"/>
                </a:lnTo>
                <a:lnTo>
                  <a:pt x="659" y="347"/>
                </a:lnTo>
                <a:lnTo>
                  <a:pt x="733" y="289"/>
                </a:lnTo>
                <a:lnTo>
                  <a:pt x="812" y="237"/>
                </a:lnTo>
                <a:lnTo>
                  <a:pt x="892" y="189"/>
                </a:lnTo>
                <a:lnTo>
                  <a:pt x="976" y="146"/>
                </a:lnTo>
                <a:lnTo>
                  <a:pt x="1062" y="108"/>
                </a:lnTo>
                <a:lnTo>
                  <a:pt x="1151" y="76"/>
                </a:lnTo>
                <a:lnTo>
                  <a:pt x="1242" y="49"/>
                </a:lnTo>
                <a:lnTo>
                  <a:pt x="1334" y="28"/>
                </a:lnTo>
                <a:lnTo>
                  <a:pt x="1429" y="13"/>
                </a:lnTo>
                <a:lnTo>
                  <a:pt x="1526" y="3"/>
                </a:lnTo>
                <a:lnTo>
                  <a:pt x="162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84" name="Group 4">
            <a:extLst>
              <a:ext uri="{FF2B5EF4-FFF2-40B4-BE49-F238E27FC236}">
                <a16:creationId xmlns:a16="http://schemas.microsoft.com/office/drawing/2014/main" id="{2934007C-CF04-484D-AA04-49F3D8252B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69167" y="1923587"/>
            <a:ext cx="1067462" cy="1157391"/>
            <a:chOff x="3497" y="1236"/>
            <a:chExt cx="2101" cy="2278"/>
          </a:xfrm>
        </p:grpSpPr>
        <p:sp>
          <p:nvSpPr>
            <p:cNvPr id="85" name="Freeform 5">
              <a:extLst>
                <a:ext uri="{FF2B5EF4-FFF2-40B4-BE49-F238E27FC236}">
                  <a16:creationId xmlns:a16="http://schemas.microsoft.com/office/drawing/2014/main" id="{280C97A5-ABB6-4CAB-9876-BC9EAD64C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" y="1879"/>
              <a:ext cx="175" cy="248"/>
            </a:xfrm>
            <a:custGeom>
              <a:avLst/>
              <a:gdLst>
                <a:gd name="T0" fmla="*/ 14 w 19"/>
                <a:gd name="T1" fmla="*/ 27 h 27"/>
                <a:gd name="T2" fmla="*/ 0 w 19"/>
                <a:gd name="T3" fmla="*/ 14 h 27"/>
                <a:gd name="T4" fmla="*/ 14 w 19"/>
                <a:gd name="T5" fmla="*/ 0 h 27"/>
                <a:gd name="T6" fmla="*/ 19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14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6" y="0"/>
                    <a:pt x="18" y="0"/>
                    <a:pt x="19" y="1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6" name="Freeform 6">
              <a:extLst>
                <a:ext uri="{FF2B5EF4-FFF2-40B4-BE49-F238E27FC236}">
                  <a16:creationId xmlns:a16="http://schemas.microsoft.com/office/drawing/2014/main" id="{0B829144-25BE-4B91-8B97-87BEEF4ED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" y="1879"/>
              <a:ext cx="175" cy="248"/>
            </a:xfrm>
            <a:custGeom>
              <a:avLst/>
              <a:gdLst>
                <a:gd name="T0" fmla="*/ 5 w 19"/>
                <a:gd name="T1" fmla="*/ 27 h 27"/>
                <a:gd name="T2" fmla="*/ 19 w 19"/>
                <a:gd name="T3" fmla="*/ 14 h 27"/>
                <a:gd name="T4" fmla="*/ 5 w 19"/>
                <a:gd name="T5" fmla="*/ 0 h 27"/>
                <a:gd name="T6" fmla="*/ 0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5" y="27"/>
                  </a:moveTo>
                  <a:cubicBezTo>
                    <a:pt x="13" y="27"/>
                    <a:pt x="19" y="21"/>
                    <a:pt x="19" y="14"/>
                  </a:cubicBezTo>
                  <a:cubicBezTo>
                    <a:pt x="19" y="6"/>
                    <a:pt x="13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9073DCD9-19EE-4E0D-B1E5-36818D1BF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" y="1925"/>
              <a:ext cx="64" cy="64"/>
            </a:xfrm>
            <a:prstGeom prst="ellipse">
              <a:avLst/>
            </a:prstGeom>
            <a:solidFill>
              <a:srgbClr val="231F20"/>
            </a:solidFill>
            <a:ln w="381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81A6D0E2-A3CC-418A-BDE4-D974AB3D20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1916"/>
              <a:ext cx="55" cy="64"/>
            </a:xfrm>
            <a:prstGeom prst="ellipse">
              <a:avLst/>
            </a:prstGeom>
            <a:solidFill>
              <a:srgbClr val="231F20"/>
            </a:solidFill>
            <a:ln w="381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9" name="Freeform 9">
              <a:extLst>
                <a:ext uri="{FF2B5EF4-FFF2-40B4-BE49-F238E27FC236}">
                  <a16:creationId xmlns:a16="http://schemas.microsoft.com/office/drawing/2014/main" id="{E500BA82-3D31-4B32-B283-FD0590C7A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1870"/>
              <a:ext cx="18" cy="321"/>
            </a:xfrm>
            <a:custGeom>
              <a:avLst/>
              <a:gdLst>
                <a:gd name="T0" fmla="*/ 2 w 2"/>
                <a:gd name="T1" fmla="*/ 35 h 35"/>
                <a:gd name="T2" fmla="*/ 0 w 2"/>
                <a:gd name="T3" fmla="*/ 21 h 35"/>
                <a:gd name="T4" fmla="*/ 0 w 2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5">
                  <a:moveTo>
                    <a:pt x="2" y="35"/>
                  </a:moveTo>
                  <a:cubicBezTo>
                    <a:pt x="0" y="31"/>
                    <a:pt x="0" y="26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F5A9FF09-8395-4D4E-A5B0-8E3915F52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" y="1870"/>
              <a:ext cx="19" cy="312"/>
            </a:xfrm>
            <a:custGeom>
              <a:avLst/>
              <a:gdLst>
                <a:gd name="T0" fmla="*/ 2 w 2"/>
                <a:gd name="T1" fmla="*/ 0 h 34"/>
                <a:gd name="T2" fmla="*/ 2 w 2"/>
                <a:gd name="T3" fmla="*/ 21 h 34"/>
                <a:gd name="T4" fmla="*/ 0 w 2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4">
                  <a:moveTo>
                    <a:pt x="2" y="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2" y="26"/>
                    <a:pt x="2" y="30"/>
                    <a:pt x="0" y="34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DD484DD8-A330-4BBA-B647-A3B80CA5A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236"/>
              <a:ext cx="1060" cy="680"/>
            </a:xfrm>
            <a:custGeom>
              <a:avLst/>
              <a:gdLst>
                <a:gd name="T0" fmla="*/ 8 w 115"/>
                <a:gd name="T1" fmla="*/ 68 h 74"/>
                <a:gd name="T2" fmla="*/ 24 w 115"/>
                <a:gd name="T3" fmla="*/ 22 h 74"/>
                <a:gd name="T4" fmla="*/ 58 w 115"/>
                <a:gd name="T5" fmla="*/ 5 h 74"/>
                <a:gd name="T6" fmla="*/ 97 w 115"/>
                <a:gd name="T7" fmla="*/ 4 h 74"/>
                <a:gd name="T8" fmla="*/ 97 w 115"/>
                <a:gd name="T9" fmla="*/ 18 h 74"/>
                <a:gd name="T10" fmla="*/ 107 w 115"/>
                <a:gd name="T11" fmla="*/ 68 h 74"/>
                <a:gd name="T12" fmla="*/ 96 w 115"/>
                <a:gd name="T13" fmla="*/ 73 h 74"/>
                <a:gd name="T14" fmla="*/ 87 w 115"/>
                <a:gd name="T15" fmla="*/ 54 h 74"/>
                <a:gd name="T16" fmla="*/ 55 w 115"/>
                <a:gd name="T17" fmla="*/ 50 h 74"/>
                <a:gd name="T18" fmla="*/ 24 w 115"/>
                <a:gd name="T19" fmla="*/ 60 h 74"/>
                <a:gd name="T20" fmla="*/ 21 w 115"/>
                <a:gd name="T21" fmla="*/ 73 h 74"/>
                <a:gd name="T22" fmla="*/ 8 w 115"/>
                <a:gd name="T23" fmla="*/ 6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74">
                  <a:moveTo>
                    <a:pt x="8" y="68"/>
                  </a:moveTo>
                  <a:cubicBezTo>
                    <a:pt x="0" y="20"/>
                    <a:pt x="24" y="22"/>
                    <a:pt x="24" y="22"/>
                  </a:cubicBezTo>
                  <a:cubicBezTo>
                    <a:pt x="24" y="22"/>
                    <a:pt x="32" y="0"/>
                    <a:pt x="58" y="5"/>
                  </a:cubicBezTo>
                  <a:cubicBezTo>
                    <a:pt x="83" y="9"/>
                    <a:pt x="97" y="4"/>
                    <a:pt x="97" y="4"/>
                  </a:cubicBezTo>
                  <a:cubicBezTo>
                    <a:pt x="97" y="4"/>
                    <a:pt x="94" y="14"/>
                    <a:pt x="97" y="18"/>
                  </a:cubicBezTo>
                  <a:cubicBezTo>
                    <a:pt x="99" y="21"/>
                    <a:pt x="115" y="33"/>
                    <a:pt x="107" y="68"/>
                  </a:cubicBezTo>
                  <a:cubicBezTo>
                    <a:pt x="107" y="68"/>
                    <a:pt x="97" y="72"/>
                    <a:pt x="96" y="73"/>
                  </a:cubicBezTo>
                  <a:cubicBezTo>
                    <a:pt x="95" y="74"/>
                    <a:pt x="99" y="53"/>
                    <a:pt x="87" y="54"/>
                  </a:cubicBezTo>
                  <a:cubicBezTo>
                    <a:pt x="76" y="54"/>
                    <a:pt x="64" y="54"/>
                    <a:pt x="55" y="50"/>
                  </a:cubicBezTo>
                  <a:cubicBezTo>
                    <a:pt x="45" y="47"/>
                    <a:pt x="32" y="41"/>
                    <a:pt x="24" y="60"/>
                  </a:cubicBezTo>
                  <a:cubicBezTo>
                    <a:pt x="24" y="60"/>
                    <a:pt x="21" y="70"/>
                    <a:pt x="21" y="73"/>
                  </a:cubicBezTo>
                  <a:lnTo>
                    <a:pt x="8" y="68"/>
                  </a:ln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4" name="Freeform 12">
              <a:extLst>
                <a:ext uri="{FF2B5EF4-FFF2-40B4-BE49-F238E27FC236}">
                  <a16:creationId xmlns:a16="http://schemas.microsoft.com/office/drawing/2014/main" id="{0D64D945-B56E-48A1-AEAA-98B8BA696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" y="2577"/>
              <a:ext cx="203" cy="321"/>
            </a:xfrm>
            <a:custGeom>
              <a:avLst/>
              <a:gdLst>
                <a:gd name="T0" fmla="*/ 0 w 22"/>
                <a:gd name="T1" fmla="*/ 0 h 35"/>
                <a:gd name="T2" fmla="*/ 22 w 22"/>
                <a:gd name="T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35">
                  <a:moveTo>
                    <a:pt x="0" y="0"/>
                  </a:moveTo>
                  <a:cubicBezTo>
                    <a:pt x="15" y="7"/>
                    <a:pt x="21" y="17"/>
                    <a:pt x="22" y="35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551F025E-B859-4E37-98A2-42225EFD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" y="3100"/>
              <a:ext cx="2082" cy="285"/>
            </a:xfrm>
            <a:custGeom>
              <a:avLst/>
              <a:gdLst>
                <a:gd name="T0" fmla="*/ 193 w 226"/>
                <a:gd name="T1" fmla="*/ 0 h 31"/>
                <a:gd name="T2" fmla="*/ 226 w 226"/>
                <a:gd name="T3" fmla="*/ 2 h 31"/>
                <a:gd name="T4" fmla="*/ 156 w 226"/>
                <a:gd name="T5" fmla="*/ 31 h 31"/>
                <a:gd name="T6" fmla="*/ 1 w 226"/>
                <a:gd name="T7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" h="31">
                  <a:moveTo>
                    <a:pt x="193" y="0"/>
                  </a:moveTo>
                  <a:cubicBezTo>
                    <a:pt x="226" y="2"/>
                    <a:pt x="226" y="2"/>
                    <a:pt x="226" y="2"/>
                  </a:cubicBezTo>
                  <a:cubicBezTo>
                    <a:pt x="226" y="2"/>
                    <a:pt x="155" y="31"/>
                    <a:pt x="156" y="31"/>
                  </a:cubicBezTo>
                  <a:cubicBezTo>
                    <a:pt x="156" y="31"/>
                    <a:pt x="0" y="16"/>
                    <a:pt x="1" y="13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868D299A-D529-4B78-AA90-D9C51128E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2182"/>
              <a:ext cx="1512" cy="1203"/>
            </a:xfrm>
            <a:custGeom>
              <a:avLst/>
              <a:gdLst>
                <a:gd name="T0" fmla="*/ 160 w 164"/>
                <a:gd name="T1" fmla="*/ 131 h 131"/>
                <a:gd name="T2" fmla="*/ 7 w 164"/>
                <a:gd name="T3" fmla="*/ 116 h 131"/>
                <a:gd name="T4" fmla="*/ 0 w 164"/>
                <a:gd name="T5" fmla="*/ 108 h 131"/>
                <a:gd name="T6" fmla="*/ 1 w 164"/>
                <a:gd name="T7" fmla="*/ 8 h 131"/>
                <a:gd name="T8" fmla="*/ 8 w 164"/>
                <a:gd name="T9" fmla="*/ 2 h 131"/>
                <a:gd name="T10" fmla="*/ 157 w 164"/>
                <a:gd name="T11" fmla="*/ 0 h 131"/>
                <a:gd name="T12" fmla="*/ 164 w 164"/>
                <a:gd name="T13" fmla="*/ 8 h 131"/>
                <a:gd name="T14" fmla="*/ 163 w 164"/>
                <a:gd name="T15" fmla="*/ 124 h 131"/>
                <a:gd name="T16" fmla="*/ 160 w 164"/>
                <a:gd name="T1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31">
                  <a:moveTo>
                    <a:pt x="160" y="131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3" y="116"/>
                    <a:pt x="0" y="112"/>
                    <a:pt x="0" y="10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4"/>
                    <a:pt x="4" y="1"/>
                    <a:pt x="8" y="2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0" y="0"/>
                    <a:pt x="164" y="4"/>
                    <a:pt x="164" y="8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63" y="128"/>
                    <a:pt x="164" y="131"/>
                    <a:pt x="160" y="131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Freeform 15">
              <a:extLst>
                <a:ext uri="{FF2B5EF4-FFF2-40B4-BE49-F238E27FC236}">
                  <a16:creationId xmlns:a16="http://schemas.microsoft.com/office/drawing/2014/main" id="{6312AA1C-D917-49E1-8376-BBF7D77D5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" y="2852"/>
              <a:ext cx="120" cy="313"/>
            </a:xfrm>
            <a:custGeom>
              <a:avLst/>
              <a:gdLst>
                <a:gd name="T0" fmla="*/ 8 w 13"/>
                <a:gd name="T1" fmla="*/ 34 h 34"/>
                <a:gd name="T2" fmla="*/ 5 w 13"/>
                <a:gd name="T3" fmla="*/ 34 h 34"/>
                <a:gd name="T4" fmla="*/ 0 w 13"/>
                <a:gd name="T5" fmla="*/ 28 h 34"/>
                <a:gd name="T6" fmla="*/ 0 w 13"/>
                <a:gd name="T7" fmla="*/ 5 h 34"/>
                <a:gd name="T8" fmla="*/ 5 w 13"/>
                <a:gd name="T9" fmla="*/ 0 h 34"/>
                <a:gd name="T10" fmla="*/ 8 w 13"/>
                <a:gd name="T11" fmla="*/ 0 h 34"/>
                <a:gd name="T12" fmla="*/ 13 w 13"/>
                <a:gd name="T13" fmla="*/ 5 h 34"/>
                <a:gd name="T14" fmla="*/ 13 w 13"/>
                <a:gd name="T15" fmla="*/ 28 h 34"/>
                <a:gd name="T16" fmla="*/ 8 w 13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4">
                  <a:moveTo>
                    <a:pt x="8" y="34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1"/>
                    <a:pt x="0" y="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31"/>
                    <a:pt x="11" y="34"/>
                    <a:pt x="8" y="34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8" name="Freeform 16">
              <a:extLst>
                <a:ext uri="{FF2B5EF4-FFF2-40B4-BE49-F238E27FC236}">
                  <a16:creationId xmlns:a16="http://schemas.microsoft.com/office/drawing/2014/main" id="{E67956F8-49ED-4999-9171-5326A3ECE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907"/>
              <a:ext cx="129" cy="258"/>
            </a:xfrm>
            <a:custGeom>
              <a:avLst/>
              <a:gdLst>
                <a:gd name="T0" fmla="*/ 8 w 14"/>
                <a:gd name="T1" fmla="*/ 28 h 28"/>
                <a:gd name="T2" fmla="*/ 5 w 14"/>
                <a:gd name="T3" fmla="*/ 28 h 28"/>
                <a:gd name="T4" fmla="*/ 0 w 14"/>
                <a:gd name="T5" fmla="*/ 22 h 28"/>
                <a:gd name="T6" fmla="*/ 0 w 14"/>
                <a:gd name="T7" fmla="*/ 5 h 28"/>
                <a:gd name="T8" fmla="*/ 5 w 14"/>
                <a:gd name="T9" fmla="*/ 0 h 28"/>
                <a:gd name="T10" fmla="*/ 8 w 14"/>
                <a:gd name="T11" fmla="*/ 0 h 28"/>
                <a:gd name="T12" fmla="*/ 14 w 14"/>
                <a:gd name="T13" fmla="*/ 5 h 28"/>
                <a:gd name="T14" fmla="*/ 14 w 14"/>
                <a:gd name="T15" fmla="*/ 22 h 28"/>
                <a:gd name="T16" fmla="*/ 8 w 14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2" y="28"/>
                    <a:pt x="0" y="25"/>
                    <a:pt x="0" y="2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4" y="2"/>
                    <a:pt x="14" y="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5"/>
                    <a:pt x="11" y="28"/>
                    <a:pt x="8" y="28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DD7F3E8A-386D-48DC-8EE4-346266059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3174"/>
              <a:ext cx="1502" cy="340"/>
            </a:xfrm>
            <a:custGeom>
              <a:avLst/>
              <a:gdLst>
                <a:gd name="T0" fmla="*/ 163 w 163"/>
                <a:gd name="T1" fmla="*/ 18 h 37"/>
                <a:gd name="T2" fmla="*/ 163 w 163"/>
                <a:gd name="T3" fmla="*/ 33 h 37"/>
                <a:gd name="T4" fmla="*/ 159 w 163"/>
                <a:gd name="T5" fmla="*/ 37 h 37"/>
                <a:gd name="T6" fmla="*/ 4 w 163"/>
                <a:gd name="T7" fmla="*/ 17 h 37"/>
                <a:gd name="T8" fmla="*/ 0 w 163"/>
                <a:gd name="T9" fmla="*/ 13 h 37"/>
                <a:gd name="T10" fmla="*/ 0 w 163"/>
                <a:gd name="T11" fmla="*/ 12 h 37"/>
                <a:gd name="T12" fmla="*/ 0 w 16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7">
                  <a:moveTo>
                    <a:pt x="163" y="18"/>
                  </a:moveTo>
                  <a:cubicBezTo>
                    <a:pt x="163" y="33"/>
                    <a:pt x="163" y="33"/>
                    <a:pt x="163" y="33"/>
                  </a:cubicBezTo>
                  <a:cubicBezTo>
                    <a:pt x="163" y="35"/>
                    <a:pt x="161" y="37"/>
                    <a:pt x="159" y="3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0" y="15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0" name="Line 18">
              <a:extLst>
                <a:ext uri="{FF2B5EF4-FFF2-40B4-BE49-F238E27FC236}">
                  <a16:creationId xmlns:a16="http://schemas.microsoft.com/office/drawing/2014/main" id="{803F4CF9-F60A-43D2-800C-52898512D8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1" y="3119"/>
              <a:ext cx="617" cy="39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16" name="Oval 115">
            <a:extLst>
              <a:ext uri="{FF2B5EF4-FFF2-40B4-BE49-F238E27FC236}">
                <a16:creationId xmlns:a16="http://schemas.microsoft.com/office/drawing/2014/main" id="{EF5F8C21-E85C-4606-835B-F10490DD1E3A}"/>
              </a:ext>
            </a:extLst>
          </p:cNvPr>
          <p:cNvSpPr/>
          <p:nvPr/>
        </p:nvSpPr>
        <p:spPr>
          <a:xfrm rot="21103445" flipH="1" flipV="1">
            <a:off x="3331630" y="3501885"/>
            <a:ext cx="375014" cy="278708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5" name="Freeform 13">
            <a:extLst>
              <a:ext uri="{FF2B5EF4-FFF2-40B4-BE49-F238E27FC236}">
                <a16:creationId xmlns:a16="http://schemas.microsoft.com/office/drawing/2014/main" id="{9575EF3D-5D76-43AB-9B3C-2D65DFC2DE4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83660" y="3559439"/>
            <a:ext cx="274320" cy="199901"/>
          </a:xfrm>
          <a:custGeom>
            <a:avLst/>
            <a:gdLst>
              <a:gd name="T0" fmla="*/ 4670 w 4799"/>
              <a:gd name="T1" fmla="*/ 3183 h 3492"/>
              <a:gd name="T2" fmla="*/ 4670 w 4799"/>
              <a:gd name="T3" fmla="*/ 3183 h 3492"/>
              <a:gd name="T4" fmla="*/ 4491 w 4799"/>
              <a:gd name="T5" fmla="*/ 3362 h 3492"/>
              <a:gd name="T6" fmla="*/ 308 w 4799"/>
              <a:gd name="T7" fmla="*/ 3362 h 3492"/>
              <a:gd name="T8" fmla="*/ 129 w 4799"/>
              <a:gd name="T9" fmla="*/ 3183 h 3492"/>
              <a:gd name="T10" fmla="*/ 129 w 4799"/>
              <a:gd name="T11" fmla="*/ 308 h 3492"/>
              <a:gd name="T12" fmla="*/ 142 w 4799"/>
              <a:gd name="T13" fmla="*/ 241 h 3492"/>
              <a:gd name="T14" fmla="*/ 2362 w 4799"/>
              <a:gd name="T15" fmla="*/ 1922 h 3492"/>
              <a:gd name="T16" fmla="*/ 2401 w 4799"/>
              <a:gd name="T17" fmla="*/ 1935 h 3492"/>
              <a:gd name="T18" fmla="*/ 2440 w 4799"/>
              <a:gd name="T19" fmla="*/ 1922 h 3492"/>
              <a:gd name="T20" fmla="*/ 4654 w 4799"/>
              <a:gd name="T21" fmla="*/ 235 h 3492"/>
              <a:gd name="T22" fmla="*/ 4670 w 4799"/>
              <a:gd name="T23" fmla="*/ 308 h 3492"/>
              <a:gd name="T24" fmla="*/ 4670 w 4799"/>
              <a:gd name="T25" fmla="*/ 3183 h 3492"/>
              <a:gd name="T26" fmla="*/ 4670 w 4799"/>
              <a:gd name="T27" fmla="*/ 3183 h 3492"/>
              <a:gd name="T28" fmla="*/ 4491 w 4799"/>
              <a:gd name="T29" fmla="*/ 129 h 3492"/>
              <a:gd name="T30" fmla="*/ 4491 w 4799"/>
              <a:gd name="T31" fmla="*/ 129 h 3492"/>
              <a:gd name="T32" fmla="*/ 4561 w 4799"/>
              <a:gd name="T33" fmla="*/ 143 h 3492"/>
              <a:gd name="T34" fmla="*/ 2401 w 4799"/>
              <a:gd name="T35" fmla="*/ 1789 h 3492"/>
              <a:gd name="T36" fmla="*/ 232 w 4799"/>
              <a:gd name="T37" fmla="*/ 146 h 3492"/>
              <a:gd name="T38" fmla="*/ 308 w 4799"/>
              <a:gd name="T39" fmla="*/ 129 h 3492"/>
              <a:gd name="T40" fmla="*/ 4491 w 4799"/>
              <a:gd name="T41" fmla="*/ 129 h 3492"/>
              <a:gd name="T42" fmla="*/ 4491 w 4799"/>
              <a:gd name="T43" fmla="*/ 129 h 3492"/>
              <a:gd name="T44" fmla="*/ 4491 w 4799"/>
              <a:gd name="T45" fmla="*/ 0 h 3492"/>
              <a:gd name="T46" fmla="*/ 4491 w 4799"/>
              <a:gd name="T47" fmla="*/ 0 h 3492"/>
              <a:gd name="T48" fmla="*/ 308 w 4799"/>
              <a:gd name="T49" fmla="*/ 0 h 3492"/>
              <a:gd name="T50" fmla="*/ 0 w 4799"/>
              <a:gd name="T51" fmla="*/ 308 h 3492"/>
              <a:gd name="T52" fmla="*/ 0 w 4799"/>
              <a:gd name="T53" fmla="*/ 3183 h 3492"/>
              <a:gd name="T54" fmla="*/ 308 w 4799"/>
              <a:gd name="T55" fmla="*/ 3492 h 3492"/>
              <a:gd name="T56" fmla="*/ 4491 w 4799"/>
              <a:gd name="T57" fmla="*/ 3492 h 3492"/>
              <a:gd name="T58" fmla="*/ 4799 w 4799"/>
              <a:gd name="T59" fmla="*/ 3183 h 3492"/>
              <a:gd name="T60" fmla="*/ 4799 w 4799"/>
              <a:gd name="T61" fmla="*/ 308 h 3492"/>
              <a:gd name="T62" fmla="*/ 4491 w 4799"/>
              <a:gd name="T63" fmla="*/ 0 h 3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799" h="3492">
                <a:moveTo>
                  <a:pt x="4670" y="3183"/>
                </a:moveTo>
                <a:lnTo>
                  <a:pt x="4670" y="3183"/>
                </a:lnTo>
                <a:cubicBezTo>
                  <a:pt x="4670" y="3281"/>
                  <a:pt x="4589" y="3362"/>
                  <a:pt x="4491" y="3362"/>
                </a:cubicBezTo>
                <a:lnTo>
                  <a:pt x="308" y="3362"/>
                </a:lnTo>
                <a:cubicBezTo>
                  <a:pt x="210" y="3362"/>
                  <a:pt x="129" y="3281"/>
                  <a:pt x="129" y="3183"/>
                </a:cubicBezTo>
                <a:lnTo>
                  <a:pt x="129" y="308"/>
                </a:lnTo>
                <a:cubicBezTo>
                  <a:pt x="129" y="284"/>
                  <a:pt x="134" y="262"/>
                  <a:pt x="142" y="241"/>
                </a:cubicBezTo>
                <a:lnTo>
                  <a:pt x="2362" y="1922"/>
                </a:lnTo>
                <a:cubicBezTo>
                  <a:pt x="2373" y="1931"/>
                  <a:pt x="2387" y="1935"/>
                  <a:pt x="2401" y="1935"/>
                </a:cubicBezTo>
                <a:cubicBezTo>
                  <a:pt x="2415" y="1935"/>
                  <a:pt x="2428" y="1931"/>
                  <a:pt x="2440" y="1922"/>
                </a:cubicBezTo>
                <a:lnTo>
                  <a:pt x="4654" y="235"/>
                </a:lnTo>
                <a:cubicBezTo>
                  <a:pt x="4664" y="258"/>
                  <a:pt x="4670" y="282"/>
                  <a:pt x="4670" y="308"/>
                </a:cubicBezTo>
                <a:lnTo>
                  <a:pt x="4670" y="3183"/>
                </a:lnTo>
                <a:lnTo>
                  <a:pt x="4670" y="3183"/>
                </a:lnTo>
                <a:close/>
                <a:moveTo>
                  <a:pt x="4491" y="129"/>
                </a:moveTo>
                <a:lnTo>
                  <a:pt x="4491" y="129"/>
                </a:lnTo>
                <a:cubicBezTo>
                  <a:pt x="4516" y="129"/>
                  <a:pt x="4540" y="134"/>
                  <a:pt x="4561" y="143"/>
                </a:cubicBezTo>
                <a:lnTo>
                  <a:pt x="2401" y="1789"/>
                </a:lnTo>
                <a:lnTo>
                  <a:pt x="232" y="146"/>
                </a:lnTo>
                <a:cubicBezTo>
                  <a:pt x="255" y="135"/>
                  <a:pt x="281" y="129"/>
                  <a:pt x="308" y="129"/>
                </a:cubicBezTo>
                <a:lnTo>
                  <a:pt x="4491" y="129"/>
                </a:lnTo>
                <a:lnTo>
                  <a:pt x="4491" y="129"/>
                </a:lnTo>
                <a:close/>
                <a:moveTo>
                  <a:pt x="4491" y="0"/>
                </a:moveTo>
                <a:lnTo>
                  <a:pt x="4491" y="0"/>
                </a:lnTo>
                <a:lnTo>
                  <a:pt x="308" y="0"/>
                </a:lnTo>
                <a:cubicBezTo>
                  <a:pt x="138" y="0"/>
                  <a:pt x="0" y="137"/>
                  <a:pt x="0" y="308"/>
                </a:cubicBezTo>
                <a:lnTo>
                  <a:pt x="0" y="3183"/>
                </a:lnTo>
                <a:cubicBezTo>
                  <a:pt x="0" y="3353"/>
                  <a:pt x="138" y="3492"/>
                  <a:pt x="308" y="3492"/>
                </a:cubicBezTo>
                <a:lnTo>
                  <a:pt x="4491" y="3492"/>
                </a:lnTo>
                <a:cubicBezTo>
                  <a:pt x="4661" y="3492"/>
                  <a:pt x="4799" y="3353"/>
                  <a:pt x="4799" y="3183"/>
                </a:cubicBezTo>
                <a:lnTo>
                  <a:pt x="4799" y="308"/>
                </a:lnTo>
                <a:cubicBezTo>
                  <a:pt x="4799" y="137"/>
                  <a:pt x="4661" y="0"/>
                  <a:pt x="4491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FE08821-6628-4643-B362-24C5F1FB678E}"/>
              </a:ext>
            </a:extLst>
          </p:cNvPr>
          <p:cNvSpPr/>
          <p:nvPr/>
        </p:nvSpPr>
        <p:spPr>
          <a:xfrm>
            <a:off x="3340168" y="1289832"/>
            <a:ext cx="308596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4" name="Freeform 5">
            <a:extLst>
              <a:ext uri="{FF2B5EF4-FFF2-40B4-BE49-F238E27FC236}">
                <a16:creationId xmlns:a16="http://schemas.microsoft.com/office/drawing/2014/main" id="{B3938FC3-06AA-4777-8227-D674ECD4562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00138" y="1128650"/>
            <a:ext cx="188654" cy="330717"/>
          </a:xfrm>
          <a:custGeom>
            <a:avLst/>
            <a:gdLst>
              <a:gd name="T0" fmla="*/ 2554 w 2725"/>
              <a:gd name="T1" fmla="*/ 4433 h 4799"/>
              <a:gd name="T2" fmla="*/ 2554 w 2725"/>
              <a:gd name="T3" fmla="*/ 4433 h 4799"/>
              <a:gd name="T4" fmla="*/ 1369 w 2725"/>
              <a:gd name="T5" fmla="*/ 4799 h 4799"/>
              <a:gd name="T6" fmla="*/ 184 w 2725"/>
              <a:gd name="T7" fmla="*/ 4433 h 4799"/>
              <a:gd name="T8" fmla="*/ 887 w 2725"/>
              <a:gd name="T9" fmla="*/ 4097 h 4799"/>
              <a:gd name="T10" fmla="*/ 961 w 2725"/>
              <a:gd name="T11" fmla="*/ 4154 h 4799"/>
              <a:gd name="T12" fmla="*/ 903 w 2725"/>
              <a:gd name="T13" fmla="*/ 4228 h 4799"/>
              <a:gd name="T14" fmla="*/ 316 w 2725"/>
              <a:gd name="T15" fmla="*/ 4433 h 4799"/>
              <a:gd name="T16" fmla="*/ 1369 w 2725"/>
              <a:gd name="T17" fmla="*/ 4666 h 4799"/>
              <a:gd name="T18" fmla="*/ 2421 w 2725"/>
              <a:gd name="T19" fmla="*/ 4433 h 4799"/>
              <a:gd name="T20" fmla="*/ 1839 w 2725"/>
              <a:gd name="T21" fmla="*/ 4229 h 4799"/>
              <a:gd name="T22" fmla="*/ 1781 w 2725"/>
              <a:gd name="T23" fmla="*/ 4155 h 4799"/>
              <a:gd name="T24" fmla="*/ 1856 w 2725"/>
              <a:gd name="T25" fmla="*/ 4097 h 4799"/>
              <a:gd name="T26" fmla="*/ 2554 w 2725"/>
              <a:gd name="T27" fmla="*/ 4433 h 4799"/>
              <a:gd name="T28" fmla="*/ 2554 w 2725"/>
              <a:gd name="T29" fmla="*/ 4433 h 4799"/>
              <a:gd name="T30" fmla="*/ 1362 w 2725"/>
              <a:gd name="T31" fmla="*/ 1661 h 4799"/>
              <a:gd name="T32" fmla="*/ 1362 w 2725"/>
              <a:gd name="T33" fmla="*/ 1661 h 4799"/>
              <a:gd name="T34" fmla="*/ 973 w 2725"/>
              <a:gd name="T35" fmla="*/ 1271 h 4799"/>
              <a:gd name="T36" fmla="*/ 1362 w 2725"/>
              <a:gd name="T37" fmla="*/ 881 h 4799"/>
              <a:gd name="T38" fmla="*/ 1752 w 2725"/>
              <a:gd name="T39" fmla="*/ 1271 h 4799"/>
              <a:gd name="T40" fmla="*/ 1362 w 2725"/>
              <a:gd name="T41" fmla="*/ 1661 h 4799"/>
              <a:gd name="T42" fmla="*/ 1362 w 2725"/>
              <a:gd name="T43" fmla="*/ 1661 h 4799"/>
              <a:gd name="T44" fmla="*/ 1362 w 2725"/>
              <a:gd name="T45" fmla="*/ 749 h 4799"/>
              <a:gd name="T46" fmla="*/ 1362 w 2725"/>
              <a:gd name="T47" fmla="*/ 749 h 4799"/>
              <a:gd name="T48" fmla="*/ 840 w 2725"/>
              <a:gd name="T49" fmla="*/ 1271 h 4799"/>
              <a:gd name="T50" fmla="*/ 1362 w 2725"/>
              <a:gd name="T51" fmla="*/ 1793 h 4799"/>
              <a:gd name="T52" fmla="*/ 1884 w 2725"/>
              <a:gd name="T53" fmla="*/ 1271 h 4799"/>
              <a:gd name="T54" fmla="*/ 1362 w 2725"/>
              <a:gd name="T55" fmla="*/ 749 h 4799"/>
              <a:gd name="T56" fmla="*/ 1362 w 2725"/>
              <a:gd name="T57" fmla="*/ 749 h 4799"/>
              <a:gd name="T58" fmla="*/ 2497 w 2725"/>
              <a:gd name="T59" fmla="*/ 1838 h 4799"/>
              <a:gd name="T60" fmla="*/ 2497 w 2725"/>
              <a:gd name="T61" fmla="*/ 1838 h 4799"/>
              <a:gd name="T62" fmla="*/ 1362 w 2725"/>
              <a:gd name="T63" fmla="*/ 4265 h 4799"/>
              <a:gd name="T64" fmla="*/ 209 w 2725"/>
              <a:gd name="T65" fmla="*/ 1790 h 4799"/>
              <a:gd name="T66" fmla="*/ 132 w 2725"/>
              <a:gd name="T67" fmla="*/ 1361 h 4799"/>
              <a:gd name="T68" fmla="*/ 1362 w 2725"/>
              <a:gd name="T69" fmla="*/ 131 h 4799"/>
              <a:gd name="T70" fmla="*/ 2593 w 2725"/>
              <a:gd name="T71" fmla="*/ 1361 h 4799"/>
              <a:gd name="T72" fmla="*/ 2497 w 2725"/>
              <a:gd name="T73" fmla="*/ 1838 h 4799"/>
              <a:gd name="T74" fmla="*/ 2497 w 2725"/>
              <a:gd name="T75" fmla="*/ 1838 h 4799"/>
              <a:gd name="T76" fmla="*/ 1362 w 2725"/>
              <a:gd name="T77" fmla="*/ 0 h 4799"/>
              <a:gd name="T78" fmla="*/ 1362 w 2725"/>
              <a:gd name="T79" fmla="*/ 0 h 4799"/>
              <a:gd name="T80" fmla="*/ 0 w 2725"/>
              <a:gd name="T81" fmla="*/ 1361 h 4799"/>
              <a:gd name="T82" fmla="*/ 86 w 2725"/>
              <a:gd name="T83" fmla="*/ 1841 h 4799"/>
              <a:gd name="T84" fmla="*/ 1298 w 2725"/>
              <a:gd name="T85" fmla="*/ 4443 h 4799"/>
              <a:gd name="T86" fmla="*/ 1358 w 2725"/>
              <a:gd name="T87" fmla="*/ 4481 h 4799"/>
              <a:gd name="T88" fmla="*/ 1386 w 2725"/>
              <a:gd name="T89" fmla="*/ 4475 h 4799"/>
              <a:gd name="T90" fmla="*/ 1411 w 2725"/>
              <a:gd name="T91" fmla="*/ 4456 h 4799"/>
              <a:gd name="T92" fmla="*/ 1430 w 2725"/>
              <a:gd name="T93" fmla="*/ 4431 h 4799"/>
              <a:gd name="T94" fmla="*/ 2618 w 2725"/>
              <a:gd name="T95" fmla="*/ 1892 h 4799"/>
              <a:gd name="T96" fmla="*/ 2725 w 2725"/>
              <a:gd name="T97" fmla="*/ 1361 h 4799"/>
              <a:gd name="T98" fmla="*/ 1362 w 2725"/>
              <a:gd name="T99" fmla="*/ 0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25" h="4799">
                <a:moveTo>
                  <a:pt x="2554" y="4433"/>
                </a:moveTo>
                <a:lnTo>
                  <a:pt x="2554" y="4433"/>
                </a:lnTo>
                <a:cubicBezTo>
                  <a:pt x="2554" y="4684"/>
                  <a:pt x="1939" y="4799"/>
                  <a:pt x="1369" y="4799"/>
                </a:cubicBezTo>
                <a:cubicBezTo>
                  <a:pt x="798" y="4799"/>
                  <a:pt x="184" y="4684"/>
                  <a:pt x="184" y="4433"/>
                </a:cubicBezTo>
                <a:cubicBezTo>
                  <a:pt x="184" y="4217"/>
                  <a:pt x="624" y="4129"/>
                  <a:pt x="887" y="4097"/>
                </a:cubicBezTo>
                <a:cubicBezTo>
                  <a:pt x="923" y="4092"/>
                  <a:pt x="956" y="4118"/>
                  <a:pt x="961" y="4154"/>
                </a:cubicBezTo>
                <a:cubicBezTo>
                  <a:pt x="965" y="4190"/>
                  <a:pt x="940" y="4224"/>
                  <a:pt x="903" y="4228"/>
                </a:cubicBezTo>
                <a:cubicBezTo>
                  <a:pt x="464" y="4283"/>
                  <a:pt x="316" y="4392"/>
                  <a:pt x="316" y="4433"/>
                </a:cubicBezTo>
                <a:cubicBezTo>
                  <a:pt x="316" y="4512"/>
                  <a:pt x="688" y="4666"/>
                  <a:pt x="1369" y="4666"/>
                </a:cubicBezTo>
                <a:cubicBezTo>
                  <a:pt x="2050" y="4666"/>
                  <a:pt x="2421" y="4512"/>
                  <a:pt x="2421" y="4433"/>
                </a:cubicBezTo>
                <a:cubicBezTo>
                  <a:pt x="2421" y="4392"/>
                  <a:pt x="2275" y="4284"/>
                  <a:pt x="1839" y="4229"/>
                </a:cubicBezTo>
                <a:cubicBezTo>
                  <a:pt x="1803" y="4224"/>
                  <a:pt x="1777" y="4191"/>
                  <a:pt x="1781" y="4155"/>
                </a:cubicBezTo>
                <a:cubicBezTo>
                  <a:pt x="1786" y="4118"/>
                  <a:pt x="1819" y="4093"/>
                  <a:pt x="1856" y="4097"/>
                </a:cubicBezTo>
                <a:cubicBezTo>
                  <a:pt x="2116" y="4130"/>
                  <a:pt x="2554" y="4218"/>
                  <a:pt x="2554" y="4433"/>
                </a:cubicBezTo>
                <a:lnTo>
                  <a:pt x="2554" y="4433"/>
                </a:lnTo>
                <a:close/>
                <a:moveTo>
                  <a:pt x="1362" y="1661"/>
                </a:moveTo>
                <a:lnTo>
                  <a:pt x="1362" y="1661"/>
                </a:lnTo>
                <a:cubicBezTo>
                  <a:pt x="1147" y="1661"/>
                  <a:pt x="973" y="1486"/>
                  <a:pt x="973" y="1271"/>
                </a:cubicBezTo>
                <a:cubicBezTo>
                  <a:pt x="973" y="1056"/>
                  <a:pt x="1147" y="881"/>
                  <a:pt x="1362" y="881"/>
                </a:cubicBezTo>
                <a:cubicBezTo>
                  <a:pt x="1577" y="881"/>
                  <a:pt x="1752" y="1056"/>
                  <a:pt x="1752" y="1271"/>
                </a:cubicBezTo>
                <a:cubicBezTo>
                  <a:pt x="1752" y="1486"/>
                  <a:pt x="1577" y="1661"/>
                  <a:pt x="1362" y="1661"/>
                </a:cubicBezTo>
                <a:lnTo>
                  <a:pt x="1362" y="1661"/>
                </a:lnTo>
                <a:close/>
                <a:moveTo>
                  <a:pt x="1362" y="749"/>
                </a:moveTo>
                <a:lnTo>
                  <a:pt x="1362" y="749"/>
                </a:lnTo>
                <a:cubicBezTo>
                  <a:pt x="1074" y="749"/>
                  <a:pt x="840" y="983"/>
                  <a:pt x="840" y="1271"/>
                </a:cubicBezTo>
                <a:cubicBezTo>
                  <a:pt x="840" y="1559"/>
                  <a:pt x="1074" y="1793"/>
                  <a:pt x="1362" y="1793"/>
                </a:cubicBezTo>
                <a:cubicBezTo>
                  <a:pt x="1650" y="1793"/>
                  <a:pt x="1884" y="1559"/>
                  <a:pt x="1884" y="1271"/>
                </a:cubicBezTo>
                <a:cubicBezTo>
                  <a:pt x="1884" y="983"/>
                  <a:pt x="1650" y="749"/>
                  <a:pt x="1362" y="749"/>
                </a:cubicBezTo>
                <a:lnTo>
                  <a:pt x="1362" y="749"/>
                </a:lnTo>
                <a:close/>
                <a:moveTo>
                  <a:pt x="2497" y="1838"/>
                </a:moveTo>
                <a:lnTo>
                  <a:pt x="2497" y="1838"/>
                </a:lnTo>
                <a:lnTo>
                  <a:pt x="1362" y="4265"/>
                </a:lnTo>
                <a:lnTo>
                  <a:pt x="209" y="1790"/>
                </a:lnTo>
                <a:cubicBezTo>
                  <a:pt x="158" y="1653"/>
                  <a:pt x="132" y="1509"/>
                  <a:pt x="132" y="1361"/>
                </a:cubicBezTo>
                <a:cubicBezTo>
                  <a:pt x="132" y="683"/>
                  <a:pt x="684" y="131"/>
                  <a:pt x="1362" y="131"/>
                </a:cubicBezTo>
                <a:cubicBezTo>
                  <a:pt x="2041" y="131"/>
                  <a:pt x="2593" y="683"/>
                  <a:pt x="2593" y="1361"/>
                </a:cubicBezTo>
                <a:cubicBezTo>
                  <a:pt x="2593" y="1527"/>
                  <a:pt x="2560" y="1688"/>
                  <a:pt x="2497" y="1838"/>
                </a:cubicBezTo>
                <a:lnTo>
                  <a:pt x="2497" y="1838"/>
                </a:lnTo>
                <a:close/>
                <a:moveTo>
                  <a:pt x="1362" y="0"/>
                </a:moveTo>
                <a:lnTo>
                  <a:pt x="1362" y="0"/>
                </a:lnTo>
                <a:cubicBezTo>
                  <a:pt x="611" y="0"/>
                  <a:pt x="0" y="610"/>
                  <a:pt x="0" y="1361"/>
                </a:cubicBezTo>
                <a:cubicBezTo>
                  <a:pt x="0" y="1524"/>
                  <a:pt x="28" y="1684"/>
                  <a:pt x="86" y="1841"/>
                </a:cubicBezTo>
                <a:lnTo>
                  <a:pt x="1298" y="4443"/>
                </a:lnTo>
                <a:cubicBezTo>
                  <a:pt x="1309" y="4467"/>
                  <a:pt x="1333" y="4481"/>
                  <a:pt x="1358" y="4481"/>
                </a:cubicBezTo>
                <a:cubicBezTo>
                  <a:pt x="1368" y="4481"/>
                  <a:pt x="1377" y="4479"/>
                  <a:pt x="1386" y="4475"/>
                </a:cubicBezTo>
                <a:cubicBezTo>
                  <a:pt x="1396" y="4470"/>
                  <a:pt x="1404" y="4464"/>
                  <a:pt x="1411" y="4456"/>
                </a:cubicBezTo>
                <a:cubicBezTo>
                  <a:pt x="1419" y="4449"/>
                  <a:pt x="1426" y="4441"/>
                  <a:pt x="1430" y="4431"/>
                </a:cubicBezTo>
                <a:lnTo>
                  <a:pt x="2618" y="1892"/>
                </a:lnTo>
                <a:cubicBezTo>
                  <a:pt x="2689" y="1724"/>
                  <a:pt x="2725" y="1545"/>
                  <a:pt x="2725" y="1361"/>
                </a:cubicBezTo>
                <a:cubicBezTo>
                  <a:pt x="2725" y="610"/>
                  <a:pt x="2114" y="0"/>
                  <a:pt x="1362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817E27A0-66F8-4DAB-80F0-005AB2988425}"/>
              </a:ext>
            </a:extLst>
          </p:cNvPr>
          <p:cNvSpPr/>
          <p:nvPr/>
        </p:nvSpPr>
        <p:spPr>
          <a:xfrm rot="20189896">
            <a:off x="2375746" y="1514500"/>
            <a:ext cx="328637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5" name="Freeform 17">
            <a:extLst>
              <a:ext uri="{FF2B5EF4-FFF2-40B4-BE49-F238E27FC236}">
                <a16:creationId xmlns:a16="http://schemas.microsoft.com/office/drawing/2014/main" id="{9DA47AF4-130F-4A00-B4E1-EBBF9A4E6A5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90309" y="1454191"/>
            <a:ext cx="263153" cy="246850"/>
          </a:xfrm>
          <a:custGeom>
            <a:avLst/>
            <a:gdLst>
              <a:gd name="T0" fmla="*/ 4001 w 4799"/>
              <a:gd name="T1" fmla="*/ 606 h 4507"/>
              <a:gd name="T2" fmla="*/ 3690 w 4799"/>
              <a:gd name="T3" fmla="*/ 522 h 4507"/>
              <a:gd name="T4" fmla="*/ 4001 w 4799"/>
              <a:gd name="T5" fmla="*/ 604 h 4507"/>
              <a:gd name="T6" fmla="*/ 3690 w 4799"/>
              <a:gd name="T7" fmla="*/ 1503 h 4507"/>
              <a:gd name="T8" fmla="*/ 3690 w 4799"/>
              <a:gd name="T9" fmla="*/ 1816 h 4507"/>
              <a:gd name="T10" fmla="*/ 3099 w 4799"/>
              <a:gd name="T11" fmla="*/ 2763 h 4507"/>
              <a:gd name="T12" fmla="*/ 3552 w 4799"/>
              <a:gd name="T13" fmla="*/ 2347 h 4507"/>
              <a:gd name="T14" fmla="*/ 3447 w 4799"/>
              <a:gd name="T15" fmla="*/ 2763 h 4507"/>
              <a:gd name="T16" fmla="*/ 3552 w 4799"/>
              <a:gd name="T17" fmla="*/ 1503 h 4507"/>
              <a:gd name="T18" fmla="*/ 3099 w 4799"/>
              <a:gd name="T19" fmla="*/ 1503 h 4507"/>
              <a:gd name="T20" fmla="*/ 3552 w 4799"/>
              <a:gd name="T21" fmla="*/ 1365 h 4507"/>
              <a:gd name="T22" fmla="*/ 3098 w 4799"/>
              <a:gd name="T23" fmla="*/ 614 h 4507"/>
              <a:gd name="T24" fmla="*/ 2961 w 4799"/>
              <a:gd name="T25" fmla="*/ 1365 h 4507"/>
              <a:gd name="T26" fmla="*/ 2508 w 4799"/>
              <a:gd name="T27" fmla="*/ 706 h 4507"/>
              <a:gd name="T28" fmla="*/ 2961 w 4799"/>
              <a:gd name="T29" fmla="*/ 1365 h 4507"/>
              <a:gd name="T30" fmla="*/ 2961 w 4799"/>
              <a:gd name="T31" fmla="*/ 1503 h 4507"/>
              <a:gd name="T32" fmla="*/ 2508 w 4799"/>
              <a:gd name="T33" fmla="*/ 1503 h 4507"/>
              <a:gd name="T34" fmla="*/ 2961 w 4799"/>
              <a:gd name="T35" fmla="*/ 2115 h 4507"/>
              <a:gd name="T36" fmla="*/ 2508 w 4799"/>
              <a:gd name="T37" fmla="*/ 2115 h 4507"/>
              <a:gd name="T38" fmla="*/ 1917 w 4799"/>
              <a:gd name="T39" fmla="*/ 1365 h 4507"/>
              <a:gd name="T40" fmla="*/ 2370 w 4799"/>
              <a:gd name="T41" fmla="*/ 1365 h 4507"/>
              <a:gd name="T42" fmla="*/ 1917 w 4799"/>
              <a:gd name="T43" fmla="*/ 1503 h 4507"/>
              <a:gd name="T44" fmla="*/ 1917 w 4799"/>
              <a:gd name="T45" fmla="*/ 1977 h 4507"/>
              <a:gd name="T46" fmla="*/ 1917 w 4799"/>
              <a:gd name="T47" fmla="*/ 2115 h 4507"/>
              <a:gd name="T48" fmla="*/ 1917 w 4799"/>
              <a:gd name="T49" fmla="*/ 2763 h 4507"/>
              <a:gd name="T50" fmla="*/ 1779 w 4799"/>
              <a:gd name="T51" fmla="*/ 1365 h 4507"/>
              <a:gd name="T52" fmla="*/ 1779 w 4799"/>
              <a:gd name="T53" fmla="*/ 819 h 4507"/>
              <a:gd name="T54" fmla="*/ 1332 w 4799"/>
              <a:gd name="T55" fmla="*/ 1503 h 4507"/>
              <a:gd name="T56" fmla="*/ 1779 w 4799"/>
              <a:gd name="T57" fmla="*/ 1977 h 4507"/>
              <a:gd name="T58" fmla="*/ 1332 w 4799"/>
              <a:gd name="T59" fmla="*/ 2115 h 4507"/>
              <a:gd name="T60" fmla="*/ 1779 w 4799"/>
              <a:gd name="T61" fmla="*/ 2763 h 4507"/>
              <a:gd name="T62" fmla="*/ 1194 w 4799"/>
              <a:gd name="T63" fmla="*/ 1365 h 4507"/>
              <a:gd name="T64" fmla="*/ 735 w 4799"/>
              <a:gd name="T65" fmla="*/ 982 h 4507"/>
              <a:gd name="T66" fmla="*/ 1194 w 4799"/>
              <a:gd name="T67" fmla="*/ 1365 h 4507"/>
              <a:gd name="T68" fmla="*/ 1194 w 4799"/>
              <a:gd name="T69" fmla="*/ 1503 h 4507"/>
              <a:gd name="T70" fmla="*/ 735 w 4799"/>
              <a:gd name="T71" fmla="*/ 1503 h 4507"/>
              <a:gd name="T72" fmla="*/ 1194 w 4799"/>
              <a:gd name="T73" fmla="*/ 2115 h 4507"/>
              <a:gd name="T74" fmla="*/ 735 w 4799"/>
              <a:gd name="T75" fmla="*/ 2115 h 4507"/>
              <a:gd name="T76" fmla="*/ 137 w 4799"/>
              <a:gd name="T77" fmla="*/ 1365 h 4507"/>
              <a:gd name="T78" fmla="*/ 597 w 4799"/>
              <a:gd name="T79" fmla="*/ 1003 h 4507"/>
              <a:gd name="T80" fmla="*/ 137 w 4799"/>
              <a:gd name="T81" fmla="*/ 1503 h 4507"/>
              <a:gd name="T82" fmla="*/ 597 w 4799"/>
              <a:gd name="T83" fmla="*/ 1977 h 4507"/>
              <a:gd name="T84" fmla="*/ 597 w 4799"/>
              <a:gd name="T85" fmla="*/ 2763 h 4507"/>
              <a:gd name="T86" fmla="*/ 137 w 4799"/>
              <a:gd name="T87" fmla="*/ 2638 h 4507"/>
              <a:gd name="T88" fmla="*/ 597 w 4799"/>
              <a:gd name="T89" fmla="*/ 2763 h 4507"/>
              <a:gd name="T90" fmla="*/ 4731 w 4799"/>
              <a:gd name="T91" fmla="*/ 0 h 4507"/>
              <a:gd name="T92" fmla="*/ 4072 w 4799"/>
              <a:gd name="T93" fmla="*/ 323 h 4507"/>
              <a:gd name="T94" fmla="*/ 0 w 4799"/>
              <a:gd name="T95" fmla="*/ 2638 h 4507"/>
              <a:gd name="T96" fmla="*/ 4113 w 4799"/>
              <a:gd name="T97" fmla="*/ 3508 h 4507"/>
              <a:gd name="T98" fmla="*/ 79 w 4799"/>
              <a:gd name="T99" fmla="*/ 3646 h 4507"/>
              <a:gd name="T100" fmla="*/ 4333 w 4799"/>
              <a:gd name="T101" fmla="*/ 3527 h 4507"/>
              <a:gd name="T102" fmla="*/ 4109 w 4799"/>
              <a:gd name="T103" fmla="*/ 742 h 4507"/>
              <a:gd name="T104" fmla="*/ 4799 w 4799"/>
              <a:gd name="T105" fmla="*/ 69 h 4507"/>
              <a:gd name="T106" fmla="*/ 3504 w 4799"/>
              <a:gd name="T107" fmla="*/ 4370 h 4507"/>
              <a:gd name="T108" fmla="*/ 3504 w 4799"/>
              <a:gd name="T109" fmla="*/ 3852 h 4507"/>
              <a:gd name="T110" fmla="*/ 3504 w 4799"/>
              <a:gd name="T111" fmla="*/ 4370 h 4507"/>
              <a:gd name="T112" fmla="*/ 3107 w 4799"/>
              <a:gd name="T113" fmla="*/ 4111 h 4507"/>
              <a:gd name="T114" fmla="*/ 3504 w 4799"/>
              <a:gd name="T115" fmla="*/ 3714 h 4507"/>
              <a:gd name="T116" fmla="*/ 560 w 4799"/>
              <a:gd name="T117" fmla="*/ 4370 h 4507"/>
              <a:gd name="T118" fmla="*/ 819 w 4799"/>
              <a:gd name="T119" fmla="*/ 4111 h 4507"/>
              <a:gd name="T120" fmla="*/ 560 w 4799"/>
              <a:gd name="T121" fmla="*/ 3714 h 4507"/>
              <a:gd name="T122" fmla="*/ 560 w 4799"/>
              <a:gd name="T123" fmla="*/ 4507 h 4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799" h="4507">
                <a:moveTo>
                  <a:pt x="4001" y="604"/>
                </a:moveTo>
                <a:lnTo>
                  <a:pt x="4001" y="604"/>
                </a:lnTo>
                <a:cubicBezTo>
                  <a:pt x="4001" y="605"/>
                  <a:pt x="4001" y="605"/>
                  <a:pt x="4001" y="606"/>
                </a:cubicBezTo>
                <a:lnTo>
                  <a:pt x="3806" y="1365"/>
                </a:lnTo>
                <a:lnTo>
                  <a:pt x="3690" y="1365"/>
                </a:lnTo>
                <a:lnTo>
                  <a:pt x="3690" y="522"/>
                </a:lnTo>
                <a:lnTo>
                  <a:pt x="4035" y="469"/>
                </a:lnTo>
                <a:lnTo>
                  <a:pt x="4001" y="604"/>
                </a:lnTo>
                <a:lnTo>
                  <a:pt x="4001" y="604"/>
                </a:lnTo>
                <a:close/>
                <a:moveTo>
                  <a:pt x="3690" y="1816"/>
                </a:moveTo>
                <a:lnTo>
                  <a:pt x="3690" y="1816"/>
                </a:lnTo>
                <a:lnTo>
                  <a:pt x="3690" y="1503"/>
                </a:lnTo>
                <a:lnTo>
                  <a:pt x="3770" y="1503"/>
                </a:lnTo>
                <a:lnTo>
                  <a:pt x="3690" y="1816"/>
                </a:lnTo>
                <a:lnTo>
                  <a:pt x="3690" y="1816"/>
                </a:lnTo>
                <a:close/>
                <a:moveTo>
                  <a:pt x="3447" y="2763"/>
                </a:moveTo>
                <a:lnTo>
                  <a:pt x="3447" y="2763"/>
                </a:lnTo>
                <a:lnTo>
                  <a:pt x="3099" y="2763"/>
                </a:lnTo>
                <a:lnTo>
                  <a:pt x="3099" y="2115"/>
                </a:lnTo>
                <a:lnTo>
                  <a:pt x="3552" y="2115"/>
                </a:lnTo>
                <a:lnTo>
                  <a:pt x="3552" y="2347"/>
                </a:lnTo>
                <a:cubicBezTo>
                  <a:pt x="3552" y="2349"/>
                  <a:pt x="3553" y="2350"/>
                  <a:pt x="3553" y="2351"/>
                </a:cubicBezTo>
                <a:lnTo>
                  <a:pt x="3447" y="2763"/>
                </a:lnTo>
                <a:lnTo>
                  <a:pt x="3447" y="2763"/>
                </a:lnTo>
                <a:close/>
                <a:moveTo>
                  <a:pt x="3099" y="1503"/>
                </a:moveTo>
                <a:lnTo>
                  <a:pt x="3099" y="1503"/>
                </a:lnTo>
                <a:lnTo>
                  <a:pt x="3552" y="1503"/>
                </a:lnTo>
                <a:lnTo>
                  <a:pt x="3552" y="1977"/>
                </a:lnTo>
                <a:lnTo>
                  <a:pt x="3099" y="1977"/>
                </a:lnTo>
                <a:lnTo>
                  <a:pt x="3099" y="1503"/>
                </a:lnTo>
                <a:close/>
                <a:moveTo>
                  <a:pt x="3552" y="544"/>
                </a:moveTo>
                <a:lnTo>
                  <a:pt x="3552" y="544"/>
                </a:lnTo>
                <a:lnTo>
                  <a:pt x="3552" y="1365"/>
                </a:lnTo>
                <a:lnTo>
                  <a:pt x="3099" y="1365"/>
                </a:lnTo>
                <a:lnTo>
                  <a:pt x="3099" y="620"/>
                </a:lnTo>
                <a:cubicBezTo>
                  <a:pt x="3099" y="618"/>
                  <a:pt x="3098" y="616"/>
                  <a:pt x="3098" y="614"/>
                </a:cubicBezTo>
                <a:lnTo>
                  <a:pt x="3552" y="544"/>
                </a:lnTo>
                <a:lnTo>
                  <a:pt x="3552" y="544"/>
                </a:lnTo>
                <a:close/>
                <a:moveTo>
                  <a:pt x="2961" y="1365"/>
                </a:moveTo>
                <a:lnTo>
                  <a:pt x="2961" y="1365"/>
                </a:lnTo>
                <a:lnTo>
                  <a:pt x="2508" y="1365"/>
                </a:lnTo>
                <a:lnTo>
                  <a:pt x="2508" y="706"/>
                </a:lnTo>
                <a:lnTo>
                  <a:pt x="2961" y="636"/>
                </a:lnTo>
                <a:lnTo>
                  <a:pt x="2961" y="1365"/>
                </a:lnTo>
                <a:lnTo>
                  <a:pt x="2961" y="1365"/>
                </a:lnTo>
                <a:close/>
                <a:moveTo>
                  <a:pt x="2508" y="1503"/>
                </a:moveTo>
                <a:lnTo>
                  <a:pt x="2508" y="1503"/>
                </a:lnTo>
                <a:lnTo>
                  <a:pt x="2961" y="1503"/>
                </a:lnTo>
                <a:lnTo>
                  <a:pt x="2961" y="1977"/>
                </a:lnTo>
                <a:lnTo>
                  <a:pt x="2508" y="1977"/>
                </a:lnTo>
                <a:lnTo>
                  <a:pt x="2508" y="1503"/>
                </a:lnTo>
                <a:close/>
                <a:moveTo>
                  <a:pt x="2508" y="2115"/>
                </a:moveTo>
                <a:lnTo>
                  <a:pt x="2508" y="2115"/>
                </a:lnTo>
                <a:lnTo>
                  <a:pt x="2961" y="2115"/>
                </a:lnTo>
                <a:lnTo>
                  <a:pt x="2961" y="2763"/>
                </a:lnTo>
                <a:lnTo>
                  <a:pt x="2508" y="2763"/>
                </a:lnTo>
                <a:lnTo>
                  <a:pt x="2508" y="2115"/>
                </a:lnTo>
                <a:close/>
                <a:moveTo>
                  <a:pt x="2370" y="1365"/>
                </a:moveTo>
                <a:lnTo>
                  <a:pt x="2370" y="1365"/>
                </a:lnTo>
                <a:lnTo>
                  <a:pt x="1917" y="1365"/>
                </a:lnTo>
                <a:lnTo>
                  <a:pt x="1917" y="798"/>
                </a:lnTo>
                <a:lnTo>
                  <a:pt x="2370" y="727"/>
                </a:lnTo>
                <a:lnTo>
                  <a:pt x="2370" y="1365"/>
                </a:lnTo>
                <a:lnTo>
                  <a:pt x="2370" y="1365"/>
                </a:lnTo>
                <a:close/>
                <a:moveTo>
                  <a:pt x="1917" y="1503"/>
                </a:moveTo>
                <a:lnTo>
                  <a:pt x="1917" y="1503"/>
                </a:lnTo>
                <a:lnTo>
                  <a:pt x="2370" y="1503"/>
                </a:lnTo>
                <a:lnTo>
                  <a:pt x="2370" y="1977"/>
                </a:lnTo>
                <a:lnTo>
                  <a:pt x="1917" y="1977"/>
                </a:lnTo>
                <a:lnTo>
                  <a:pt x="1917" y="1503"/>
                </a:lnTo>
                <a:close/>
                <a:moveTo>
                  <a:pt x="1917" y="2115"/>
                </a:moveTo>
                <a:lnTo>
                  <a:pt x="1917" y="2115"/>
                </a:lnTo>
                <a:lnTo>
                  <a:pt x="2370" y="2115"/>
                </a:lnTo>
                <a:lnTo>
                  <a:pt x="2370" y="2763"/>
                </a:lnTo>
                <a:lnTo>
                  <a:pt x="1917" y="2763"/>
                </a:lnTo>
                <a:lnTo>
                  <a:pt x="1917" y="2115"/>
                </a:lnTo>
                <a:close/>
                <a:moveTo>
                  <a:pt x="1779" y="1365"/>
                </a:moveTo>
                <a:lnTo>
                  <a:pt x="1779" y="1365"/>
                </a:lnTo>
                <a:lnTo>
                  <a:pt x="1332" y="1365"/>
                </a:lnTo>
                <a:lnTo>
                  <a:pt x="1332" y="889"/>
                </a:lnTo>
                <a:lnTo>
                  <a:pt x="1779" y="819"/>
                </a:lnTo>
                <a:lnTo>
                  <a:pt x="1779" y="1365"/>
                </a:lnTo>
                <a:lnTo>
                  <a:pt x="1779" y="1365"/>
                </a:lnTo>
                <a:close/>
                <a:moveTo>
                  <a:pt x="1332" y="1503"/>
                </a:moveTo>
                <a:lnTo>
                  <a:pt x="1332" y="1503"/>
                </a:lnTo>
                <a:lnTo>
                  <a:pt x="1779" y="1503"/>
                </a:lnTo>
                <a:lnTo>
                  <a:pt x="1779" y="1977"/>
                </a:lnTo>
                <a:lnTo>
                  <a:pt x="1332" y="1977"/>
                </a:lnTo>
                <a:lnTo>
                  <a:pt x="1332" y="1503"/>
                </a:lnTo>
                <a:close/>
                <a:moveTo>
                  <a:pt x="1332" y="2115"/>
                </a:moveTo>
                <a:lnTo>
                  <a:pt x="1332" y="2115"/>
                </a:lnTo>
                <a:lnTo>
                  <a:pt x="1779" y="2115"/>
                </a:lnTo>
                <a:lnTo>
                  <a:pt x="1779" y="2763"/>
                </a:lnTo>
                <a:lnTo>
                  <a:pt x="1332" y="2763"/>
                </a:lnTo>
                <a:lnTo>
                  <a:pt x="1332" y="2115"/>
                </a:lnTo>
                <a:close/>
                <a:moveTo>
                  <a:pt x="1194" y="1365"/>
                </a:moveTo>
                <a:lnTo>
                  <a:pt x="1194" y="1365"/>
                </a:lnTo>
                <a:lnTo>
                  <a:pt x="735" y="1365"/>
                </a:lnTo>
                <a:lnTo>
                  <a:pt x="735" y="982"/>
                </a:lnTo>
                <a:lnTo>
                  <a:pt x="1194" y="910"/>
                </a:lnTo>
                <a:lnTo>
                  <a:pt x="1194" y="1365"/>
                </a:lnTo>
                <a:lnTo>
                  <a:pt x="1194" y="1365"/>
                </a:lnTo>
                <a:close/>
                <a:moveTo>
                  <a:pt x="735" y="1503"/>
                </a:moveTo>
                <a:lnTo>
                  <a:pt x="735" y="1503"/>
                </a:lnTo>
                <a:lnTo>
                  <a:pt x="1194" y="1503"/>
                </a:lnTo>
                <a:lnTo>
                  <a:pt x="1194" y="1977"/>
                </a:lnTo>
                <a:lnTo>
                  <a:pt x="735" y="1977"/>
                </a:lnTo>
                <a:lnTo>
                  <a:pt x="735" y="1503"/>
                </a:lnTo>
                <a:close/>
                <a:moveTo>
                  <a:pt x="735" y="2115"/>
                </a:moveTo>
                <a:lnTo>
                  <a:pt x="735" y="2115"/>
                </a:lnTo>
                <a:lnTo>
                  <a:pt x="1194" y="2115"/>
                </a:lnTo>
                <a:lnTo>
                  <a:pt x="1194" y="2763"/>
                </a:lnTo>
                <a:lnTo>
                  <a:pt x="735" y="2763"/>
                </a:lnTo>
                <a:lnTo>
                  <a:pt x="735" y="2115"/>
                </a:lnTo>
                <a:close/>
                <a:moveTo>
                  <a:pt x="597" y="1365"/>
                </a:moveTo>
                <a:lnTo>
                  <a:pt x="597" y="1365"/>
                </a:lnTo>
                <a:lnTo>
                  <a:pt x="137" y="1365"/>
                </a:lnTo>
                <a:lnTo>
                  <a:pt x="137" y="1179"/>
                </a:lnTo>
                <a:cubicBezTo>
                  <a:pt x="137" y="1094"/>
                  <a:pt x="224" y="1064"/>
                  <a:pt x="273" y="1054"/>
                </a:cubicBezTo>
                <a:lnTo>
                  <a:pt x="597" y="1003"/>
                </a:lnTo>
                <a:lnTo>
                  <a:pt x="597" y="1365"/>
                </a:lnTo>
                <a:lnTo>
                  <a:pt x="597" y="1365"/>
                </a:lnTo>
                <a:close/>
                <a:moveTo>
                  <a:pt x="137" y="1503"/>
                </a:moveTo>
                <a:lnTo>
                  <a:pt x="137" y="1503"/>
                </a:lnTo>
                <a:lnTo>
                  <a:pt x="597" y="1503"/>
                </a:lnTo>
                <a:lnTo>
                  <a:pt x="597" y="1977"/>
                </a:lnTo>
                <a:lnTo>
                  <a:pt x="137" y="1977"/>
                </a:lnTo>
                <a:lnTo>
                  <a:pt x="137" y="1503"/>
                </a:lnTo>
                <a:close/>
                <a:moveTo>
                  <a:pt x="597" y="2763"/>
                </a:moveTo>
                <a:lnTo>
                  <a:pt x="597" y="2763"/>
                </a:lnTo>
                <a:lnTo>
                  <a:pt x="262" y="2763"/>
                </a:lnTo>
                <a:cubicBezTo>
                  <a:pt x="193" y="2763"/>
                  <a:pt x="137" y="2707"/>
                  <a:pt x="137" y="2638"/>
                </a:cubicBezTo>
                <a:lnTo>
                  <a:pt x="137" y="2115"/>
                </a:lnTo>
                <a:lnTo>
                  <a:pt x="597" y="2115"/>
                </a:lnTo>
                <a:lnTo>
                  <a:pt x="597" y="2763"/>
                </a:lnTo>
                <a:lnTo>
                  <a:pt x="597" y="2763"/>
                </a:lnTo>
                <a:close/>
                <a:moveTo>
                  <a:pt x="4731" y="0"/>
                </a:moveTo>
                <a:lnTo>
                  <a:pt x="4731" y="0"/>
                </a:lnTo>
                <a:lnTo>
                  <a:pt x="4206" y="0"/>
                </a:lnTo>
                <a:cubicBezTo>
                  <a:pt x="4174" y="0"/>
                  <a:pt x="4147" y="22"/>
                  <a:pt x="4139" y="53"/>
                </a:cubicBezTo>
                <a:lnTo>
                  <a:pt x="4072" y="323"/>
                </a:lnTo>
                <a:lnTo>
                  <a:pt x="248" y="918"/>
                </a:lnTo>
                <a:cubicBezTo>
                  <a:pt x="93" y="950"/>
                  <a:pt x="0" y="1047"/>
                  <a:pt x="0" y="1179"/>
                </a:cubicBezTo>
                <a:lnTo>
                  <a:pt x="0" y="2638"/>
                </a:lnTo>
                <a:cubicBezTo>
                  <a:pt x="0" y="2783"/>
                  <a:pt x="117" y="2901"/>
                  <a:pt x="262" y="2901"/>
                </a:cubicBezTo>
                <a:lnTo>
                  <a:pt x="3473" y="2901"/>
                </a:lnTo>
                <a:lnTo>
                  <a:pt x="4113" y="3508"/>
                </a:lnTo>
                <a:lnTo>
                  <a:pt x="79" y="3508"/>
                </a:lnTo>
                <a:cubicBezTo>
                  <a:pt x="41" y="3508"/>
                  <a:pt x="10" y="3539"/>
                  <a:pt x="10" y="3577"/>
                </a:cubicBezTo>
                <a:cubicBezTo>
                  <a:pt x="10" y="3615"/>
                  <a:pt x="41" y="3646"/>
                  <a:pt x="79" y="3646"/>
                </a:cubicBezTo>
                <a:lnTo>
                  <a:pt x="4286" y="3646"/>
                </a:lnTo>
                <a:cubicBezTo>
                  <a:pt x="4314" y="3646"/>
                  <a:pt x="4340" y="3628"/>
                  <a:pt x="4350" y="3602"/>
                </a:cubicBezTo>
                <a:cubicBezTo>
                  <a:pt x="4360" y="3576"/>
                  <a:pt x="4354" y="3546"/>
                  <a:pt x="4333" y="3527"/>
                </a:cubicBezTo>
                <a:lnTo>
                  <a:pt x="3578" y="2810"/>
                </a:lnTo>
                <a:lnTo>
                  <a:pt x="4107" y="747"/>
                </a:lnTo>
                <a:cubicBezTo>
                  <a:pt x="4107" y="745"/>
                  <a:pt x="4109" y="743"/>
                  <a:pt x="4109" y="742"/>
                </a:cubicBezTo>
                <a:lnTo>
                  <a:pt x="4260" y="138"/>
                </a:lnTo>
                <a:lnTo>
                  <a:pt x="4731" y="138"/>
                </a:lnTo>
                <a:cubicBezTo>
                  <a:pt x="4769" y="138"/>
                  <a:pt x="4799" y="107"/>
                  <a:pt x="4799" y="69"/>
                </a:cubicBezTo>
                <a:cubicBezTo>
                  <a:pt x="4799" y="31"/>
                  <a:pt x="4769" y="0"/>
                  <a:pt x="4731" y="0"/>
                </a:cubicBezTo>
                <a:lnTo>
                  <a:pt x="4731" y="0"/>
                </a:lnTo>
                <a:close/>
                <a:moveTo>
                  <a:pt x="3504" y="4370"/>
                </a:moveTo>
                <a:lnTo>
                  <a:pt x="3504" y="4370"/>
                </a:lnTo>
                <a:cubicBezTo>
                  <a:pt x="3361" y="4370"/>
                  <a:pt x="3245" y="4253"/>
                  <a:pt x="3245" y="4111"/>
                </a:cubicBezTo>
                <a:cubicBezTo>
                  <a:pt x="3245" y="3968"/>
                  <a:pt x="3361" y="3852"/>
                  <a:pt x="3504" y="3852"/>
                </a:cubicBezTo>
                <a:cubicBezTo>
                  <a:pt x="3646" y="3852"/>
                  <a:pt x="3762" y="3968"/>
                  <a:pt x="3762" y="4111"/>
                </a:cubicBezTo>
                <a:cubicBezTo>
                  <a:pt x="3762" y="4253"/>
                  <a:pt x="3646" y="4370"/>
                  <a:pt x="3504" y="4370"/>
                </a:cubicBezTo>
                <a:lnTo>
                  <a:pt x="3504" y="4370"/>
                </a:lnTo>
                <a:close/>
                <a:moveTo>
                  <a:pt x="3504" y="3714"/>
                </a:moveTo>
                <a:lnTo>
                  <a:pt x="3504" y="3714"/>
                </a:lnTo>
                <a:cubicBezTo>
                  <a:pt x="3285" y="3714"/>
                  <a:pt x="3107" y="3892"/>
                  <a:pt x="3107" y="4111"/>
                </a:cubicBezTo>
                <a:cubicBezTo>
                  <a:pt x="3107" y="4329"/>
                  <a:pt x="3285" y="4507"/>
                  <a:pt x="3504" y="4507"/>
                </a:cubicBezTo>
                <a:cubicBezTo>
                  <a:pt x="3722" y="4507"/>
                  <a:pt x="3900" y="4329"/>
                  <a:pt x="3900" y="4111"/>
                </a:cubicBezTo>
                <a:cubicBezTo>
                  <a:pt x="3900" y="3892"/>
                  <a:pt x="3722" y="3714"/>
                  <a:pt x="3504" y="3714"/>
                </a:cubicBezTo>
                <a:lnTo>
                  <a:pt x="3504" y="3714"/>
                </a:lnTo>
                <a:close/>
                <a:moveTo>
                  <a:pt x="560" y="4370"/>
                </a:moveTo>
                <a:lnTo>
                  <a:pt x="560" y="4370"/>
                </a:lnTo>
                <a:cubicBezTo>
                  <a:pt x="417" y="4370"/>
                  <a:pt x="301" y="4253"/>
                  <a:pt x="301" y="4111"/>
                </a:cubicBezTo>
                <a:cubicBezTo>
                  <a:pt x="301" y="3968"/>
                  <a:pt x="417" y="3852"/>
                  <a:pt x="560" y="3852"/>
                </a:cubicBezTo>
                <a:cubicBezTo>
                  <a:pt x="703" y="3852"/>
                  <a:pt x="819" y="3968"/>
                  <a:pt x="819" y="4111"/>
                </a:cubicBezTo>
                <a:cubicBezTo>
                  <a:pt x="819" y="4253"/>
                  <a:pt x="703" y="4370"/>
                  <a:pt x="560" y="4370"/>
                </a:cubicBezTo>
                <a:lnTo>
                  <a:pt x="560" y="4370"/>
                </a:lnTo>
                <a:close/>
                <a:moveTo>
                  <a:pt x="560" y="3714"/>
                </a:moveTo>
                <a:lnTo>
                  <a:pt x="560" y="3714"/>
                </a:lnTo>
                <a:cubicBezTo>
                  <a:pt x="341" y="3714"/>
                  <a:pt x="163" y="3892"/>
                  <a:pt x="163" y="4111"/>
                </a:cubicBezTo>
                <a:cubicBezTo>
                  <a:pt x="163" y="4329"/>
                  <a:pt x="341" y="4507"/>
                  <a:pt x="560" y="4507"/>
                </a:cubicBezTo>
                <a:cubicBezTo>
                  <a:pt x="779" y="4507"/>
                  <a:pt x="957" y="4329"/>
                  <a:pt x="957" y="4111"/>
                </a:cubicBezTo>
                <a:cubicBezTo>
                  <a:pt x="957" y="3892"/>
                  <a:pt x="779" y="3714"/>
                  <a:pt x="560" y="3714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Arc 25">
            <a:extLst>
              <a:ext uri="{FF2B5EF4-FFF2-40B4-BE49-F238E27FC236}">
                <a16:creationId xmlns:a16="http://schemas.microsoft.com/office/drawing/2014/main" id="{46C61192-27EC-4819-94FD-476B53EF6543}"/>
              </a:ext>
            </a:extLst>
          </p:cNvPr>
          <p:cNvSpPr/>
          <p:nvPr/>
        </p:nvSpPr>
        <p:spPr>
          <a:xfrm>
            <a:off x="4740611" y="1421882"/>
            <a:ext cx="2215032" cy="2104206"/>
          </a:xfrm>
          <a:prstGeom prst="arc">
            <a:avLst>
              <a:gd name="adj1" fmla="val 11485794"/>
              <a:gd name="adj2" fmla="val 19845027"/>
            </a:avLst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2C374B-4D66-4BB3-8073-9D1F8D24A312}"/>
              </a:ext>
            </a:extLst>
          </p:cNvPr>
          <p:cNvCxnSpPr>
            <a:cxnSpLocks/>
          </p:cNvCxnSpPr>
          <p:nvPr/>
        </p:nvCxnSpPr>
        <p:spPr>
          <a:xfrm flipV="1">
            <a:off x="4379727" y="2237723"/>
            <a:ext cx="377190" cy="7982"/>
          </a:xfrm>
          <a:prstGeom prst="line">
            <a:avLst/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B8BBC6AB-AD61-4AC3-B931-A5F8012D4D2A}"/>
              </a:ext>
            </a:extLst>
          </p:cNvPr>
          <p:cNvSpPr/>
          <p:nvPr/>
        </p:nvSpPr>
        <p:spPr>
          <a:xfrm>
            <a:off x="4783195" y="3823105"/>
            <a:ext cx="168026" cy="168026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E9A02C58-CDB8-43F4-8733-0D18ABB2401C}"/>
              </a:ext>
            </a:extLst>
          </p:cNvPr>
          <p:cNvSpPr/>
          <p:nvPr/>
        </p:nvSpPr>
        <p:spPr>
          <a:xfrm rot="1410104" flipH="1">
            <a:off x="4091152" y="1732633"/>
            <a:ext cx="328637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0" name="Freeform 6">
            <a:extLst>
              <a:ext uri="{FF2B5EF4-FFF2-40B4-BE49-F238E27FC236}">
                <a16:creationId xmlns:a16="http://schemas.microsoft.com/office/drawing/2014/main" id="{2085BABE-69B3-4561-AF18-C638C95A02E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129989" y="1643384"/>
            <a:ext cx="194038" cy="315468"/>
          </a:xfrm>
          <a:custGeom>
            <a:avLst/>
            <a:gdLst>
              <a:gd name="T0" fmla="*/ 741 w 2478"/>
              <a:gd name="T1" fmla="*/ 3516 h 4032"/>
              <a:gd name="T2" fmla="*/ 774 w 2478"/>
              <a:gd name="T3" fmla="*/ 3668 h 4032"/>
              <a:gd name="T4" fmla="*/ 929 w 2478"/>
              <a:gd name="T5" fmla="*/ 3668 h 4032"/>
              <a:gd name="T6" fmla="*/ 963 w 2478"/>
              <a:gd name="T7" fmla="*/ 3516 h 4032"/>
              <a:gd name="T8" fmla="*/ 852 w 2478"/>
              <a:gd name="T9" fmla="*/ 3336 h 4032"/>
              <a:gd name="T10" fmla="*/ 1054 w 2478"/>
              <a:gd name="T11" fmla="*/ 3453 h 4032"/>
              <a:gd name="T12" fmla="*/ 1054 w 2478"/>
              <a:gd name="T13" fmla="*/ 3689 h 4032"/>
              <a:gd name="T14" fmla="*/ 852 w 2478"/>
              <a:gd name="T15" fmla="*/ 3806 h 4032"/>
              <a:gd name="T16" fmla="*/ 649 w 2478"/>
              <a:gd name="T17" fmla="*/ 3689 h 4032"/>
              <a:gd name="T18" fmla="*/ 649 w 2478"/>
              <a:gd name="T19" fmla="*/ 3453 h 4032"/>
              <a:gd name="T20" fmla="*/ 852 w 2478"/>
              <a:gd name="T21" fmla="*/ 3336 h 4032"/>
              <a:gd name="T22" fmla="*/ 293 w 2478"/>
              <a:gd name="T23" fmla="*/ 3121 h 4032"/>
              <a:gd name="T24" fmla="*/ 1382 w 2478"/>
              <a:gd name="T25" fmla="*/ 3156 h 4032"/>
              <a:gd name="T26" fmla="*/ 1394 w 2478"/>
              <a:gd name="T27" fmla="*/ 1258 h 4032"/>
              <a:gd name="T28" fmla="*/ 1397 w 2478"/>
              <a:gd name="T29" fmla="*/ 1139 h 4032"/>
              <a:gd name="T30" fmla="*/ 1514 w 2478"/>
              <a:gd name="T31" fmla="*/ 1255 h 4032"/>
              <a:gd name="T32" fmla="*/ 1473 w 2478"/>
              <a:gd name="T33" fmla="*/ 3227 h 4032"/>
              <a:gd name="T34" fmla="*/ 303 w 2478"/>
              <a:gd name="T35" fmla="*/ 3267 h 4032"/>
              <a:gd name="T36" fmla="*/ 186 w 2478"/>
              <a:gd name="T37" fmla="*/ 3151 h 4032"/>
              <a:gd name="T38" fmla="*/ 227 w 2478"/>
              <a:gd name="T39" fmla="*/ 1179 h 4032"/>
              <a:gd name="T40" fmla="*/ 1037 w 2478"/>
              <a:gd name="T41" fmla="*/ 966 h 4032"/>
              <a:gd name="T42" fmla="*/ 1091 w 2478"/>
              <a:gd name="T43" fmla="*/ 1040 h 4032"/>
              <a:gd name="T44" fmla="*/ 636 w 2478"/>
              <a:gd name="T45" fmla="*/ 1074 h 4032"/>
              <a:gd name="T46" fmla="*/ 609 w 2478"/>
              <a:gd name="T47" fmla="*/ 988 h 4032"/>
              <a:gd name="T48" fmla="*/ 186 w 2478"/>
              <a:gd name="T49" fmla="*/ 894 h 4032"/>
              <a:gd name="T50" fmla="*/ 110 w 2478"/>
              <a:gd name="T51" fmla="*/ 3786 h 4032"/>
              <a:gd name="T52" fmla="*/ 214 w 2478"/>
              <a:gd name="T53" fmla="*/ 3917 h 4032"/>
              <a:gd name="T54" fmla="*/ 1553 w 2478"/>
              <a:gd name="T55" fmla="*/ 3871 h 4032"/>
              <a:gd name="T56" fmla="*/ 1569 w 2478"/>
              <a:gd name="T57" fmla="*/ 955 h 4032"/>
              <a:gd name="T58" fmla="*/ 246 w 2478"/>
              <a:gd name="T59" fmla="*/ 880 h 4032"/>
              <a:gd name="T60" fmla="*/ 1593 w 2478"/>
              <a:gd name="T61" fmla="*/ 816 h 4032"/>
              <a:gd name="T62" fmla="*/ 1693 w 2478"/>
              <a:gd name="T63" fmla="*/ 1015 h 4032"/>
              <a:gd name="T64" fmla="*/ 1621 w 2478"/>
              <a:gd name="T65" fmla="*/ 3960 h 4032"/>
              <a:gd name="T66" fmla="*/ 246 w 2478"/>
              <a:gd name="T67" fmla="*/ 4032 h 4032"/>
              <a:gd name="T68" fmla="*/ 46 w 2478"/>
              <a:gd name="T69" fmla="*/ 3932 h 4032"/>
              <a:gd name="T70" fmla="*/ 2 w 2478"/>
              <a:gd name="T71" fmla="*/ 975 h 4032"/>
              <a:gd name="T72" fmla="*/ 132 w 2478"/>
              <a:gd name="T73" fmla="*/ 797 h 4032"/>
              <a:gd name="T74" fmla="*/ 1647 w 2478"/>
              <a:gd name="T75" fmla="*/ 601 h 4032"/>
              <a:gd name="T76" fmla="*/ 1855 w 2478"/>
              <a:gd name="T77" fmla="*/ 784 h 4032"/>
              <a:gd name="T78" fmla="*/ 1862 w 2478"/>
              <a:gd name="T79" fmla="*/ 935 h 4032"/>
              <a:gd name="T80" fmla="*/ 1786 w 2478"/>
              <a:gd name="T81" fmla="*/ 918 h 4032"/>
              <a:gd name="T82" fmla="*/ 1660 w 2478"/>
              <a:gd name="T83" fmla="*/ 731 h 4032"/>
              <a:gd name="T84" fmla="*/ 1499 w 2478"/>
              <a:gd name="T85" fmla="*/ 662 h 4032"/>
              <a:gd name="T86" fmla="*/ 1536 w 2478"/>
              <a:gd name="T87" fmla="*/ 580 h 4032"/>
              <a:gd name="T88" fmla="*/ 1840 w 2478"/>
              <a:gd name="T89" fmla="*/ 365 h 4032"/>
              <a:gd name="T90" fmla="*/ 2111 w 2478"/>
              <a:gd name="T91" fmla="*/ 641 h 4032"/>
              <a:gd name="T92" fmla="*/ 2188 w 2478"/>
              <a:gd name="T93" fmla="*/ 1030 h 4032"/>
              <a:gd name="T94" fmla="*/ 2127 w 2478"/>
              <a:gd name="T95" fmla="*/ 1079 h 4032"/>
              <a:gd name="T96" fmla="*/ 2081 w 2478"/>
              <a:gd name="T97" fmla="*/ 957 h 4032"/>
              <a:gd name="T98" fmla="*/ 1971 w 2478"/>
              <a:gd name="T99" fmla="*/ 626 h 4032"/>
              <a:gd name="T100" fmla="*/ 1691 w 2478"/>
              <a:gd name="T101" fmla="*/ 422 h 4032"/>
              <a:gd name="T102" fmla="*/ 1523 w 2478"/>
              <a:gd name="T103" fmla="*/ 353 h 4032"/>
              <a:gd name="T104" fmla="*/ 1583 w 2478"/>
              <a:gd name="T105" fmla="*/ 286 h 4032"/>
              <a:gd name="T106" fmla="*/ 1995 w 2478"/>
              <a:gd name="T107" fmla="*/ 125 h 4032"/>
              <a:gd name="T108" fmla="*/ 2330 w 2478"/>
              <a:gd name="T109" fmla="*/ 447 h 4032"/>
              <a:gd name="T110" fmla="*/ 2476 w 2478"/>
              <a:gd name="T111" fmla="*/ 894 h 4032"/>
              <a:gd name="T112" fmla="*/ 2434 w 2478"/>
              <a:gd name="T113" fmla="*/ 1107 h 4032"/>
              <a:gd name="T114" fmla="*/ 2363 w 2478"/>
              <a:gd name="T115" fmla="*/ 1065 h 4032"/>
              <a:gd name="T116" fmla="*/ 2318 w 2478"/>
              <a:gd name="T117" fmla="*/ 676 h 4032"/>
              <a:gd name="T118" fmla="*/ 2075 w 2478"/>
              <a:gd name="T119" fmla="*/ 316 h 4032"/>
              <a:gd name="T120" fmla="*/ 1677 w 2478"/>
              <a:gd name="T121" fmla="*/ 122 h 4032"/>
              <a:gd name="T122" fmla="*/ 1551 w 2478"/>
              <a:gd name="T123" fmla="*/ 50 h 4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78" h="4032">
                <a:moveTo>
                  <a:pt x="852" y="3447"/>
                </a:moveTo>
                <a:lnTo>
                  <a:pt x="823" y="3450"/>
                </a:lnTo>
                <a:lnTo>
                  <a:pt x="797" y="3460"/>
                </a:lnTo>
                <a:lnTo>
                  <a:pt x="774" y="3475"/>
                </a:lnTo>
                <a:lnTo>
                  <a:pt x="756" y="3493"/>
                </a:lnTo>
                <a:lnTo>
                  <a:pt x="741" y="3516"/>
                </a:lnTo>
                <a:lnTo>
                  <a:pt x="731" y="3542"/>
                </a:lnTo>
                <a:lnTo>
                  <a:pt x="727" y="3571"/>
                </a:lnTo>
                <a:lnTo>
                  <a:pt x="731" y="3599"/>
                </a:lnTo>
                <a:lnTo>
                  <a:pt x="741" y="3625"/>
                </a:lnTo>
                <a:lnTo>
                  <a:pt x="756" y="3648"/>
                </a:lnTo>
                <a:lnTo>
                  <a:pt x="774" y="3668"/>
                </a:lnTo>
                <a:lnTo>
                  <a:pt x="797" y="3683"/>
                </a:lnTo>
                <a:lnTo>
                  <a:pt x="823" y="3691"/>
                </a:lnTo>
                <a:lnTo>
                  <a:pt x="852" y="3695"/>
                </a:lnTo>
                <a:lnTo>
                  <a:pt x="880" y="3691"/>
                </a:lnTo>
                <a:lnTo>
                  <a:pt x="906" y="3683"/>
                </a:lnTo>
                <a:lnTo>
                  <a:pt x="929" y="3668"/>
                </a:lnTo>
                <a:lnTo>
                  <a:pt x="949" y="3648"/>
                </a:lnTo>
                <a:lnTo>
                  <a:pt x="963" y="3625"/>
                </a:lnTo>
                <a:lnTo>
                  <a:pt x="972" y="3599"/>
                </a:lnTo>
                <a:lnTo>
                  <a:pt x="976" y="3571"/>
                </a:lnTo>
                <a:lnTo>
                  <a:pt x="972" y="3542"/>
                </a:lnTo>
                <a:lnTo>
                  <a:pt x="963" y="3516"/>
                </a:lnTo>
                <a:lnTo>
                  <a:pt x="949" y="3493"/>
                </a:lnTo>
                <a:lnTo>
                  <a:pt x="929" y="3475"/>
                </a:lnTo>
                <a:lnTo>
                  <a:pt x="906" y="3460"/>
                </a:lnTo>
                <a:lnTo>
                  <a:pt x="880" y="3450"/>
                </a:lnTo>
                <a:lnTo>
                  <a:pt x="852" y="3447"/>
                </a:lnTo>
                <a:close/>
                <a:moveTo>
                  <a:pt x="852" y="3336"/>
                </a:moveTo>
                <a:lnTo>
                  <a:pt x="894" y="3340"/>
                </a:lnTo>
                <a:lnTo>
                  <a:pt x="934" y="3351"/>
                </a:lnTo>
                <a:lnTo>
                  <a:pt x="970" y="3369"/>
                </a:lnTo>
                <a:lnTo>
                  <a:pt x="1003" y="3392"/>
                </a:lnTo>
                <a:lnTo>
                  <a:pt x="1031" y="3420"/>
                </a:lnTo>
                <a:lnTo>
                  <a:pt x="1054" y="3453"/>
                </a:lnTo>
                <a:lnTo>
                  <a:pt x="1072" y="3490"/>
                </a:lnTo>
                <a:lnTo>
                  <a:pt x="1083" y="3529"/>
                </a:lnTo>
                <a:lnTo>
                  <a:pt x="1087" y="3571"/>
                </a:lnTo>
                <a:lnTo>
                  <a:pt x="1083" y="3613"/>
                </a:lnTo>
                <a:lnTo>
                  <a:pt x="1072" y="3653"/>
                </a:lnTo>
                <a:lnTo>
                  <a:pt x="1054" y="3689"/>
                </a:lnTo>
                <a:lnTo>
                  <a:pt x="1031" y="3722"/>
                </a:lnTo>
                <a:lnTo>
                  <a:pt x="1003" y="3750"/>
                </a:lnTo>
                <a:lnTo>
                  <a:pt x="970" y="3773"/>
                </a:lnTo>
                <a:lnTo>
                  <a:pt x="934" y="3791"/>
                </a:lnTo>
                <a:lnTo>
                  <a:pt x="894" y="3802"/>
                </a:lnTo>
                <a:lnTo>
                  <a:pt x="852" y="3806"/>
                </a:lnTo>
                <a:lnTo>
                  <a:pt x="809" y="3802"/>
                </a:lnTo>
                <a:lnTo>
                  <a:pt x="770" y="3791"/>
                </a:lnTo>
                <a:lnTo>
                  <a:pt x="734" y="3773"/>
                </a:lnTo>
                <a:lnTo>
                  <a:pt x="701" y="3750"/>
                </a:lnTo>
                <a:lnTo>
                  <a:pt x="672" y="3722"/>
                </a:lnTo>
                <a:lnTo>
                  <a:pt x="649" y="3689"/>
                </a:lnTo>
                <a:lnTo>
                  <a:pt x="632" y="3653"/>
                </a:lnTo>
                <a:lnTo>
                  <a:pt x="621" y="3613"/>
                </a:lnTo>
                <a:lnTo>
                  <a:pt x="617" y="3571"/>
                </a:lnTo>
                <a:lnTo>
                  <a:pt x="621" y="3529"/>
                </a:lnTo>
                <a:lnTo>
                  <a:pt x="632" y="3490"/>
                </a:lnTo>
                <a:lnTo>
                  <a:pt x="649" y="3453"/>
                </a:lnTo>
                <a:lnTo>
                  <a:pt x="672" y="3420"/>
                </a:lnTo>
                <a:lnTo>
                  <a:pt x="701" y="3392"/>
                </a:lnTo>
                <a:lnTo>
                  <a:pt x="734" y="3369"/>
                </a:lnTo>
                <a:lnTo>
                  <a:pt x="770" y="3351"/>
                </a:lnTo>
                <a:lnTo>
                  <a:pt x="809" y="3340"/>
                </a:lnTo>
                <a:lnTo>
                  <a:pt x="852" y="3336"/>
                </a:lnTo>
                <a:close/>
                <a:moveTo>
                  <a:pt x="333" y="1246"/>
                </a:moveTo>
                <a:lnTo>
                  <a:pt x="318" y="1250"/>
                </a:lnTo>
                <a:lnTo>
                  <a:pt x="306" y="1258"/>
                </a:lnTo>
                <a:lnTo>
                  <a:pt x="297" y="1271"/>
                </a:lnTo>
                <a:lnTo>
                  <a:pt x="293" y="1285"/>
                </a:lnTo>
                <a:lnTo>
                  <a:pt x="293" y="3121"/>
                </a:lnTo>
                <a:lnTo>
                  <a:pt x="297" y="3135"/>
                </a:lnTo>
                <a:lnTo>
                  <a:pt x="306" y="3147"/>
                </a:lnTo>
                <a:lnTo>
                  <a:pt x="318" y="3156"/>
                </a:lnTo>
                <a:lnTo>
                  <a:pt x="333" y="3160"/>
                </a:lnTo>
                <a:lnTo>
                  <a:pt x="1367" y="3160"/>
                </a:lnTo>
                <a:lnTo>
                  <a:pt x="1382" y="3156"/>
                </a:lnTo>
                <a:lnTo>
                  <a:pt x="1395" y="3147"/>
                </a:lnTo>
                <a:lnTo>
                  <a:pt x="1402" y="3135"/>
                </a:lnTo>
                <a:lnTo>
                  <a:pt x="1406" y="3121"/>
                </a:lnTo>
                <a:lnTo>
                  <a:pt x="1406" y="1285"/>
                </a:lnTo>
                <a:lnTo>
                  <a:pt x="1402" y="1271"/>
                </a:lnTo>
                <a:lnTo>
                  <a:pt x="1394" y="1258"/>
                </a:lnTo>
                <a:lnTo>
                  <a:pt x="1382" y="1250"/>
                </a:lnTo>
                <a:lnTo>
                  <a:pt x="1367" y="1246"/>
                </a:lnTo>
                <a:lnTo>
                  <a:pt x="333" y="1246"/>
                </a:lnTo>
                <a:close/>
                <a:moveTo>
                  <a:pt x="333" y="1135"/>
                </a:moveTo>
                <a:lnTo>
                  <a:pt x="1367" y="1135"/>
                </a:lnTo>
                <a:lnTo>
                  <a:pt x="1397" y="1139"/>
                </a:lnTo>
                <a:lnTo>
                  <a:pt x="1426" y="1147"/>
                </a:lnTo>
                <a:lnTo>
                  <a:pt x="1451" y="1161"/>
                </a:lnTo>
                <a:lnTo>
                  <a:pt x="1473" y="1179"/>
                </a:lnTo>
                <a:lnTo>
                  <a:pt x="1492" y="1202"/>
                </a:lnTo>
                <a:lnTo>
                  <a:pt x="1505" y="1227"/>
                </a:lnTo>
                <a:lnTo>
                  <a:pt x="1514" y="1255"/>
                </a:lnTo>
                <a:lnTo>
                  <a:pt x="1517" y="1285"/>
                </a:lnTo>
                <a:lnTo>
                  <a:pt x="1517" y="3121"/>
                </a:lnTo>
                <a:lnTo>
                  <a:pt x="1514" y="3151"/>
                </a:lnTo>
                <a:lnTo>
                  <a:pt x="1505" y="3179"/>
                </a:lnTo>
                <a:lnTo>
                  <a:pt x="1492" y="3204"/>
                </a:lnTo>
                <a:lnTo>
                  <a:pt x="1473" y="3227"/>
                </a:lnTo>
                <a:lnTo>
                  <a:pt x="1451" y="3245"/>
                </a:lnTo>
                <a:lnTo>
                  <a:pt x="1426" y="3259"/>
                </a:lnTo>
                <a:lnTo>
                  <a:pt x="1397" y="3267"/>
                </a:lnTo>
                <a:lnTo>
                  <a:pt x="1367" y="3271"/>
                </a:lnTo>
                <a:lnTo>
                  <a:pt x="333" y="3271"/>
                </a:lnTo>
                <a:lnTo>
                  <a:pt x="303" y="3267"/>
                </a:lnTo>
                <a:lnTo>
                  <a:pt x="275" y="3259"/>
                </a:lnTo>
                <a:lnTo>
                  <a:pt x="249" y="3245"/>
                </a:lnTo>
                <a:lnTo>
                  <a:pt x="227" y="3227"/>
                </a:lnTo>
                <a:lnTo>
                  <a:pt x="209" y="3204"/>
                </a:lnTo>
                <a:lnTo>
                  <a:pt x="194" y="3179"/>
                </a:lnTo>
                <a:lnTo>
                  <a:pt x="186" y="3151"/>
                </a:lnTo>
                <a:lnTo>
                  <a:pt x="183" y="3121"/>
                </a:lnTo>
                <a:lnTo>
                  <a:pt x="183" y="1285"/>
                </a:lnTo>
                <a:lnTo>
                  <a:pt x="186" y="1255"/>
                </a:lnTo>
                <a:lnTo>
                  <a:pt x="194" y="1227"/>
                </a:lnTo>
                <a:lnTo>
                  <a:pt x="209" y="1202"/>
                </a:lnTo>
                <a:lnTo>
                  <a:pt x="227" y="1179"/>
                </a:lnTo>
                <a:lnTo>
                  <a:pt x="249" y="1161"/>
                </a:lnTo>
                <a:lnTo>
                  <a:pt x="275" y="1147"/>
                </a:lnTo>
                <a:lnTo>
                  <a:pt x="303" y="1139"/>
                </a:lnTo>
                <a:lnTo>
                  <a:pt x="333" y="1135"/>
                </a:lnTo>
                <a:close/>
                <a:moveTo>
                  <a:pt x="654" y="966"/>
                </a:moveTo>
                <a:lnTo>
                  <a:pt x="1037" y="966"/>
                </a:lnTo>
                <a:lnTo>
                  <a:pt x="1055" y="969"/>
                </a:lnTo>
                <a:lnTo>
                  <a:pt x="1070" y="977"/>
                </a:lnTo>
                <a:lnTo>
                  <a:pt x="1082" y="988"/>
                </a:lnTo>
                <a:lnTo>
                  <a:pt x="1091" y="1004"/>
                </a:lnTo>
                <a:lnTo>
                  <a:pt x="1093" y="1021"/>
                </a:lnTo>
                <a:lnTo>
                  <a:pt x="1091" y="1040"/>
                </a:lnTo>
                <a:lnTo>
                  <a:pt x="1082" y="1054"/>
                </a:lnTo>
                <a:lnTo>
                  <a:pt x="1070" y="1067"/>
                </a:lnTo>
                <a:lnTo>
                  <a:pt x="1055" y="1074"/>
                </a:lnTo>
                <a:lnTo>
                  <a:pt x="1037" y="1078"/>
                </a:lnTo>
                <a:lnTo>
                  <a:pt x="654" y="1078"/>
                </a:lnTo>
                <a:lnTo>
                  <a:pt x="636" y="1074"/>
                </a:lnTo>
                <a:lnTo>
                  <a:pt x="621" y="1067"/>
                </a:lnTo>
                <a:lnTo>
                  <a:pt x="609" y="1054"/>
                </a:lnTo>
                <a:lnTo>
                  <a:pt x="602" y="1040"/>
                </a:lnTo>
                <a:lnTo>
                  <a:pt x="598" y="1021"/>
                </a:lnTo>
                <a:lnTo>
                  <a:pt x="602" y="1004"/>
                </a:lnTo>
                <a:lnTo>
                  <a:pt x="609" y="988"/>
                </a:lnTo>
                <a:lnTo>
                  <a:pt x="621" y="977"/>
                </a:lnTo>
                <a:lnTo>
                  <a:pt x="636" y="969"/>
                </a:lnTo>
                <a:lnTo>
                  <a:pt x="654" y="966"/>
                </a:lnTo>
                <a:close/>
                <a:moveTo>
                  <a:pt x="246" y="880"/>
                </a:moveTo>
                <a:lnTo>
                  <a:pt x="214" y="883"/>
                </a:lnTo>
                <a:lnTo>
                  <a:pt x="186" y="894"/>
                </a:lnTo>
                <a:lnTo>
                  <a:pt x="161" y="910"/>
                </a:lnTo>
                <a:lnTo>
                  <a:pt x="141" y="931"/>
                </a:lnTo>
                <a:lnTo>
                  <a:pt x="125" y="955"/>
                </a:lnTo>
                <a:lnTo>
                  <a:pt x="114" y="985"/>
                </a:lnTo>
                <a:lnTo>
                  <a:pt x="110" y="1015"/>
                </a:lnTo>
                <a:lnTo>
                  <a:pt x="110" y="3786"/>
                </a:lnTo>
                <a:lnTo>
                  <a:pt x="114" y="3817"/>
                </a:lnTo>
                <a:lnTo>
                  <a:pt x="125" y="3845"/>
                </a:lnTo>
                <a:lnTo>
                  <a:pt x="141" y="3871"/>
                </a:lnTo>
                <a:lnTo>
                  <a:pt x="161" y="3891"/>
                </a:lnTo>
                <a:lnTo>
                  <a:pt x="186" y="3907"/>
                </a:lnTo>
                <a:lnTo>
                  <a:pt x="214" y="3917"/>
                </a:lnTo>
                <a:lnTo>
                  <a:pt x="246" y="3921"/>
                </a:lnTo>
                <a:lnTo>
                  <a:pt x="1448" y="3921"/>
                </a:lnTo>
                <a:lnTo>
                  <a:pt x="1479" y="3917"/>
                </a:lnTo>
                <a:lnTo>
                  <a:pt x="1507" y="3907"/>
                </a:lnTo>
                <a:lnTo>
                  <a:pt x="1532" y="3891"/>
                </a:lnTo>
                <a:lnTo>
                  <a:pt x="1553" y="3871"/>
                </a:lnTo>
                <a:lnTo>
                  <a:pt x="1569" y="3845"/>
                </a:lnTo>
                <a:lnTo>
                  <a:pt x="1580" y="3817"/>
                </a:lnTo>
                <a:lnTo>
                  <a:pt x="1583" y="3786"/>
                </a:lnTo>
                <a:lnTo>
                  <a:pt x="1583" y="1015"/>
                </a:lnTo>
                <a:lnTo>
                  <a:pt x="1580" y="985"/>
                </a:lnTo>
                <a:lnTo>
                  <a:pt x="1569" y="955"/>
                </a:lnTo>
                <a:lnTo>
                  <a:pt x="1553" y="931"/>
                </a:lnTo>
                <a:lnTo>
                  <a:pt x="1532" y="910"/>
                </a:lnTo>
                <a:lnTo>
                  <a:pt x="1507" y="894"/>
                </a:lnTo>
                <a:lnTo>
                  <a:pt x="1479" y="883"/>
                </a:lnTo>
                <a:lnTo>
                  <a:pt x="1448" y="880"/>
                </a:lnTo>
                <a:lnTo>
                  <a:pt x="246" y="880"/>
                </a:lnTo>
                <a:close/>
                <a:moveTo>
                  <a:pt x="246" y="770"/>
                </a:moveTo>
                <a:lnTo>
                  <a:pt x="1448" y="770"/>
                </a:lnTo>
                <a:lnTo>
                  <a:pt x="1488" y="772"/>
                </a:lnTo>
                <a:lnTo>
                  <a:pt x="1526" y="782"/>
                </a:lnTo>
                <a:lnTo>
                  <a:pt x="1561" y="797"/>
                </a:lnTo>
                <a:lnTo>
                  <a:pt x="1593" y="816"/>
                </a:lnTo>
                <a:lnTo>
                  <a:pt x="1621" y="842"/>
                </a:lnTo>
                <a:lnTo>
                  <a:pt x="1647" y="870"/>
                </a:lnTo>
                <a:lnTo>
                  <a:pt x="1666" y="902"/>
                </a:lnTo>
                <a:lnTo>
                  <a:pt x="1681" y="937"/>
                </a:lnTo>
                <a:lnTo>
                  <a:pt x="1691" y="975"/>
                </a:lnTo>
                <a:lnTo>
                  <a:pt x="1693" y="1015"/>
                </a:lnTo>
                <a:lnTo>
                  <a:pt x="1693" y="3786"/>
                </a:lnTo>
                <a:lnTo>
                  <a:pt x="1691" y="3826"/>
                </a:lnTo>
                <a:lnTo>
                  <a:pt x="1681" y="3863"/>
                </a:lnTo>
                <a:lnTo>
                  <a:pt x="1666" y="3899"/>
                </a:lnTo>
                <a:lnTo>
                  <a:pt x="1647" y="3932"/>
                </a:lnTo>
                <a:lnTo>
                  <a:pt x="1621" y="3960"/>
                </a:lnTo>
                <a:lnTo>
                  <a:pt x="1593" y="3984"/>
                </a:lnTo>
                <a:lnTo>
                  <a:pt x="1561" y="4005"/>
                </a:lnTo>
                <a:lnTo>
                  <a:pt x="1526" y="4020"/>
                </a:lnTo>
                <a:lnTo>
                  <a:pt x="1488" y="4028"/>
                </a:lnTo>
                <a:lnTo>
                  <a:pt x="1448" y="4032"/>
                </a:lnTo>
                <a:lnTo>
                  <a:pt x="246" y="4032"/>
                </a:lnTo>
                <a:lnTo>
                  <a:pt x="205" y="4028"/>
                </a:lnTo>
                <a:lnTo>
                  <a:pt x="167" y="4020"/>
                </a:lnTo>
                <a:lnTo>
                  <a:pt x="132" y="4005"/>
                </a:lnTo>
                <a:lnTo>
                  <a:pt x="100" y="3984"/>
                </a:lnTo>
                <a:lnTo>
                  <a:pt x="72" y="3960"/>
                </a:lnTo>
                <a:lnTo>
                  <a:pt x="46" y="3932"/>
                </a:lnTo>
                <a:lnTo>
                  <a:pt x="27" y="3899"/>
                </a:lnTo>
                <a:lnTo>
                  <a:pt x="12" y="3863"/>
                </a:lnTo>
                <a:lnTo>
                  <a:pt x="2" y="3826"/>
                </a:lnTo>
                <a:lnTo>
                  <a:pt x="0" y="3786"/>
                </a:lnTo>
                <a:lnTo>
                  <a:pt x="0" y="1015"/>
                </a:lnTo>
                <a:lnTo>
                  <a:pt x="2" y="975"/>
                </a:lnTo>
                <a:lnTo>
                  <a:pt x="12" y="937"/>
                </a:lnTo>
                <a:lnTo>
                  <a:pt x="27" y="902"/>
                </a:lnTo>
                <a:lnTo>
                  <a:pt x="46" y="870"/>
                </a:lnTo>
                <a:lnTo>
                  <a:pt x="72" y="842"/>
                </a:lnTo>
                <a:lnTo>
                  <a:pt x="100" y="816"/>
                </a:lnTo>
                <a:lnTo>
                  <a:pt x="132" y="797"/>
                </a:lnTo>
                <a:lnTo>
                  <a:pt x="167" y="782"/>
                </a:lnTo>
                <a:lnTo>
                  <a:pt x="205" y="772"/>
                </a:lnTo>
                <a:lnTo>
                  <a:pt x="246" y="770"/>
                </a:lnTo>
                <a:close/>
                <a:moveTo>
                  <a:pt x="1553" y="579"/>
                </a:moveTo>
                <a:lnTo>
                  <a:pt x="1600" y="586"/>
                </a:lnTo>
                <a:lnTo>
                  <a:pt x="1647" y="601"/>
                </a:lnTo>
                <a:lnTo>
                  <a:pt x="1690" y="619"/>
                </a:lnTo>
                <a:lnTo>
                  <a:pt x="1731" y="644"/>
                </a:lnTo>
                <a:lnTo>
                  <a:pt x="1768" y="673"/>
                </a:lnTo>
                <a:lnTo>
                  <a:pt x="1801" y="706"/>
                </a:lnTo>
                <a:lnTo>
                  <a:pt x="1830" y="744"/>
                </a:lnTo>
                <a:lnTo>
                  <a:pt x="1855" y="784"/>
                </a:lnTo>
                <a:lnTo>
                  <a:pt x="1873" y="828"/>
                </a:lnTo>
                <a:lnTo>
                  <a:pt x="1888" y="875"/>
                </a:lnTo>
                <a:lnTo>
                  <a:pt x="1888" y="893"/>
                </a:lnTo>
                <a:lnTo>
                  <a:pt x="1884" y="909"/>
                </a:lnTo>
                <a:lnTo>
                  <a:pt x="1875" y="924"/>
                </a:lnTo>
                <a:lnTo>
                  <a:pt x="1862" y="935"/>
                </a:lnTo>
                <a:lnTo>
                  <a:pt x="1845" y="942"/>
                </a:lnTo>
                <a:lnTo>
                  <a:pt x="1839" y="942"/>
                </a:lnTo>
                <a:lnTo>
                  <a:pt x="1833" y="943"/>
                </a:lnTo>
                <a:lnTo>
                  <a:pt x="1814" y="940"/>
                </a:lnTo>
                <a:lnTo>
                  <a:pt x="1798" y="931"/>
                </a:lnTo>
                <a:lnTo>
                  <a:pt x="1786" y="918"/>
                </a:lnTo>
                <a:lnTo>
                  <a:pt x="1779" y="899"/>
                </a:lnTo>
                <a:lnTo>
                  <a:pt x="1765" y="859"/>
                </a:lnTo>
                <a:lnTo>
                  <a:pt x="1747" y="820"/>
                </a:lnTo>
                <a:lnTo>
                  <a:pt x="1723" y="786"/>
                </a:lnTo>
                <a:lnTo>
                  <a:pt x="1695" y="756"/>
                </a:lnTo>
                <a:lnTo>
                  <a:pt x="1660" y="731"/>
                </a:lnTo>
                <a:lnTo>
                  <a:pt x="1624" y="711"/>
                </a:lnTo>
                <a:lnTo>
                  <a:pt x="1583" y="696"/>
                </a:lnTo>
                <a:lnTo>
                  <a:pt x="1542" y="689"/>
                </a:lnTo>
                <a:lnTo>
                  <a:pt x="1525" y="684"/>
                </a:lnTo>
                <a:lnTo>
                  <a:pt x="1510" y="676"/>
                </a:lnTo>
                <a:lnTo>
                  <a:pt x="1499" y="662"/>
                </a:lnTo>
                <a:lnTo>
                  <a:pt x="1493" y="646"/>
                </a:lnTo>
                <a:lnTo>
                  <a:pt x="1492" y="628"/>
                </a:lnTo>
                <a:lnTo>
                  <a:pt x="1496" y="611"/>
                </a:lnTo>
                <a:lnTo>
                  <a:pt x="1506" y="597"/>
                </a:lnTo>
                <a:lnTo>
                  <a:pt x="1520" y="586"/>
                </a:lnTo>
                <a:lnTo>
                  <a:pt x="1536" y="580"/>
                </a:lnTo>
                <a:lnTo>
                  <a:pt x="1553" y="579"/>
                </a:lnTo>
                <a:close/>
                <a:moveTo>
                  <a:pt x="1583" y="286"/>
                </a:moveTo>
                <a:lnTo>
                  <a:pt x="1652" y="296"/>
                </a:lnTo>
                <a:lnTo>
                  <a:pt x="1718" y="313"/>
                </a:lnTo>
                <a:lnTo>
                  <a:pt x="1780" y="336"/>
                </a:lnTo>
                <a:lnTo>
                  <a:pt x="1840" y="365"/>
                </a:lnTo>
                <a:lnTo>
                  <a:pt x="1896" y="401"/>
                </a:lnTo>
                <a:lnTo>
                  <a:pt x="1948" y="440"/>
                </a:lnTo>
                <a:lnTo>
                  <a:pt x="1997" y="484"/>
                </a:lnTo>
                <a:lnTo>
                  <a:pt x="2039" y="533"/>
                </a:lnTo>
                <a:lnTo>
                  <a:pt x="2078" y="585"/>
                </a:lnTo>
                <a:lnTo>
                  <a:pt x="2111" y="641"/>
                </a:lnTo>
                <a:lnTo>
                  <a:pt x="2140" y="700"/>
                </a:lnTo>
                <a:lnTo>
                  <a:pt x="2162" y="762"/>
                </a:lnTo>
                <a:lnTo>
                  <a:pt x="2179" y="826"/>
                </a:lnTo>
                <a:lnTo>
                  <a:pt x="2188" y="893"/>
                </a:lnTo>
                <a:lnTo>
                  <a:pt x="2192" y="960"/>
                </a:lnTo>
                <a:lnTo>
                  <a:pt x="2188" y="1030"/>
                </a:lnTo>
                <a:lnTo>
                  <a:pt x="2184" y="1046"/>
                </a:lnTo>
                <a:lnTo>
                  <a:pt x="2175" y="1059"/>
                </a:lnTo>
                <a:lnTo>
                  <a:pt x="2164" y="1070"/>
                </a:lnTo>
                <a:lnTo>
                  <a:pt x="2149" y="1078"/>
                </a:lnTo>
                <a:lnTo>
                  <a:pt x="2132" y="1079"/>
                </a:lnTo>
                <a:lnTo>
                  <a:pt x="2127" y="1079"/>
                </a:lnTo>
                <a:lnTo>
                  <a:pt x="2110" y="1074"/>
                </a:lnTo>
                <a:lnTo>
                  <a:pt x="2096" y="1065"/>
                </a:lnTo>
                <a:lnTo>
                  <a:pt x="2085" y="1052"/>
                </a:lnTo>
                <a:lnTo>
                  <a:pt x="2078" y="1036"/>
                </a:lnTo>
                <a:lnTo>
                  <a:pt x="2077" y="1018"/>
                </a:lnTo>
                <a:lnTo>
                  <a:pt x="2081" y="957"/>
                </a:lnTo>
                <a:lnTo>
                  <a:pt x="2077" y="896"/>
                </a:lnTo>
                <a:lnTo>
                  <a:pt x="2067" y="837"/>
                </a:lnTo>
                <a:lnTo>
                  <a:pt x="2052" y="781"/>
                </a:lnTo>
                <a:lnTo>
                  <a:pt x="2030" y="726"/>
                </a:lnTo>
                <a:lnTo>
                  <a:pt x="2003" y="674"/>
                </a:lnTo>
                <a:lnTo>
                  <a:pt x="1971" y="626"/>
                </a:lnTo>
                <a:lnTo>
                  <a:pt x="1934" y="580"/>
                </a:lnTo>
                <a:lnTo>
                  <a:pt x="1894" y="539"/>
                </a:lnTo>
                <a:lnTo>
                  <a:pt x="1849" y="502"/>
                </a:lnTo>
                <a:lnTo>
                  <a:pt x="1800" y="470"/>
                </a:lnTo>
                <a:lnTo>
                  <a:pt x="1747" y="444"/>
                </a:lnTo>
                <a:lnTo>
                  <a:pt x="1691" y="422"/>
                </a:lnTo>
                <a:lnTo>
                  <a:pt x="1632" y="406"/>
                </a:lnTo>
                <a:lnTo>
                  <a:pt x="1571" y="396"/>
                </a:lnTo>
                <a:lnTo>
                  <a:pt x="1554" y="391"/>
                </a:lnTo>
                <a:lnTo>
                  <a:pt x="1540" y="381"/>
                </a:lnTo>
                <a:lnTo>
                  <a:pt x="1529" y="369"/>
                </a:lnTo>
                <a:lnTo>
                  <a:pt x="1523" y="353"/>
                </a:lnTo>
                <a:lnTo>
                  <a:pt x="1522" y="335"/>
                </a:lnTo>
                <a:lnTo>
                  <a:pt x="1527" y="318"/>
                </a:lnTo>
                <a:lnTo>
                  <a:pt x="1536" y="303"/>
                </a:lnTo>
                <a:lnTo>
                  <a:pt x="1549" y="293"/>
                </a:lnTo>
                <a:lnTo>
                  <a:pt x="1565" y="287"/>
                </a:lnTo>
                <a:lnTo>
                  <a:pt x="1583" y="286"/>
                </a:lnTo>
                <a:close/>
                <a:moveTo>
                  <a:pt x="1613" y="0"/>
                </a:moveTo>
                <a:lnTo>
                  <a:pt x="1695" y="12"/>
                </a:lnTo>
                <a:lnTo>
                  <a:pt x="1775" y="31"/>
                </a:lnTo>
                <a:lnTo>
                  <a:pt x="1851" y="56"/>
                </a:lnTo>
                <a:lnTo>
                  <a:pt x="1926" y="87"/>
                </a:lnTo>
                <a:lnTo>
                  <a:pt x="1995" y="125"/>
                </a:lnTo>
                <a:lnTo>
                  <a:pt x="2063" y="166"/>
                </a:lnTo>
                <a:lnTo>
                  <a:pt x="2125" y="214"/>
                </a:lnTo>
                <a:lnTo>
                  <a:pt x="2182" y="265"/>
                </a:lnTo>
                <a:lnTo>
                  <a:pt x="2237" y="323"/>
                </a:lnTo>
                <a:lnTo>
                  <a:pt x="2286" y="382"/>
                </a:lnTo>
                <a:lnTo>
                  <a:pt x="2330" y="447"/>
                </a:lnTo>
                <a:lnTo>
                  <a:pt x="2369" y="514"/>
                </a:lnTo>
                <a:lnTo>
                  <a:pt x="2402" y="585"/>
                </a:lnTo>
                <a:lnTo>
                  <a:pt x="2431" y="660"/>
                </a:lnTo>
                <a:lnTo>
                  <a:pt x="2453" y="736"/>
                </a:lnTo>
                <a:lnTo>
                  <a:pt x="2467" y="814"/>
                </a:lnTo>
                <a:lnTo>
                  <a:pt x="2476" y="894"/>
                </a:lnTo>
                <a:lnTo>
                  <a:pt x="2478" y="976"/>
                </a:lnTo>
                <a:lnTo>
                  <a:pt x="2473" y="1059"/>
                </a:lnTo>
                <a:lnTo>
                  <a:pt x="2470" y="1075"/>
                </a:lnTo>
                <a:lnTo>
                  <a:pt x="2461" y="1089"/>
                </a:lnTo>
                <a:lnTo>
                  <a:pt x="2449" y="1100"/>
                </a:lnTo>
                <a:lnTo>
                  <a:pt x="2434" y="1107"/>
                </a:lnTo>
                <a:lnTo>
                  <a:pt x="2418" y="1109"/>
                </a:lnTo>
                <a:lnTo>
                  <a:pt x="2412" y="1108"/>
                </a:lnTo>
                <a:lnTo>
                  <a:pt x="2395" y="1105"/>
                </a:lnTo>
                <a:lnTo>
                  <a:pt x="2380" y="1095"/>
                </a:lnTo>
                <a:lnTo>
                  <a:pt x="2371" y="1081"/>
                </a:lnTo>
                <a:lnTo>
                  <a:pt x="2363" y="1065"/>
                </a:lnTo>
                <a:lnTo>
                  <a:pt x="2363" y="1048"/>
                </a:lnTo>
                <a:lnTo>
                  <a:pt x="2367" y="970"/>
                </a:lnTo>
                <a:lnTo>
                  <a:pt x="2365" y="894"/>
                </a:lnTo>
                <a:lnTo>
                  <a:pt x="2356" y="819"/>
                </a:lnTo>
                <a:lnTo>
                  <a:pt x="2340" y="747"/>
                </a:lnTo>
                <a:lnTo>
                  <a:pt x="2318" y="676"/>
                </a:lnTo>
                <a:lnTo>
                  <a:pt x="2291" y="607"/>
                </a:lnTo>
                <a:lnTo>
                  <a:pt x="2258" y="542"/>
                </a:lnTo>
                <a:lnTo>
                  <a:pt x="2219" y="480"/>
                </a:lnTo>
                <a:lnTo>
                  <a:pt x="2176" y="422"/>
                </a:lnTo>
                <a:lnTo>
                  <a:pt x="2127" y="368"/>
                </a:lnTo>
                <a:lnTo>
                  <a:pt x="2075" y="316"/>
                </a:lnTo>
                <a:lnTo>
                  <a:pt x="2017" y="271"/>
                </a:lnTo>
                <a:lnTo>
                  <a:pt x="1956" y="230"/>
                </a:lnTo>
                <a:lnTo>
                  <a:pt x="1891" y="194"/>
                </a:lnTo>
                <a:lnTo>
                  <a:pt x="1824" y="165"/>
                </a:lnTo>
                <a:lnTo>
                  <a:pt x="1752" y="141"/>
                </a:lnTo>
                <a:lnTo>
                  <a:pt x="1677" y="122"/>
                </a:lnTo>
                <a:lnTo>
                  <a:pt x="1602" y="111"/>
                </a:lnTo>
                <a:lnTo>
                  <a:pt x="1584" y="106"/>
                </a:lnTo>
                <a:lnTo>
                  <a:pt x="1570" y="97"/>
                </a:lnTo>
                <a:lnTo>
                  <a:pt x="1559" y="83"/>
                </a:lnTo>
                <a:lnTo>
                  <a:pt x="1553" y="67"/>
                </a:lnTo>
                <a:lnTo>
                  <a:pt x="1551" y="50"/>
                </a:lnTo>
                <a:lnTo>
                  <a:pt x="1556" y="33"/>
                </a:lnTo>
                <a:lnTo>
                  <a:pt x="1566" y="18"/>
                </a:lnTo>
                <a:lnTo>
                  <a:pt x="1578" y="7"/>
                </a:lnTo>
                <a:lnTo>
                  <a:pt x="1594" y="1"/>
                </a:lnTo>
                <a:lnTo>
                  <a:pt x="1613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4406267D-0002-4C98-9468-6A46A12B4730}"/>
              </a:ext>
            </a:extLst>
          </p:cNvPr>
          <p:cNvSpPr/>
          <p:nvPr/>
        </p:nvSpPr>
        <p:spPr>
          <a:xfrm rot="16713974">
            <a:off x="2024803" y="2198935"/>
            <a:ext cx="328637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9" name="Freeform 5">
            <a:extLst>
              <a:ext uri="{FF2B5EF4-FFF2-40B4-BE49-F238E27FC236}">
                <a16:creationId xmlns:a16="http://schemas.microsoft.com/office/drawing/2014/main" id="{8D23AAD9-EE10-49B3-B2A3-9855014E9EB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977063" y="2215504"/>
            <a:ext cx="289576" cy="240392"/>
          </a:xfrm>
          <a:custGeom>
            <a:avLst/>
            <a:gdLst>
              <a:gd name="T0" fmla="*/ 4472 w 4810"/>
              <a:gd name="T1" fmla="*/ 793 h 3993"/>
              <a:gd name="T2" fmla="*/ 1961 w 4810"/>
              <a:gd name="T3" fmla="*/ 3823 h 3993"/>
              <a:gd name="T4" fmla="*/ 1501 w 4810"/>
              <a:gd name="T5" fmla="*/ 3151 h 3993"/>
              <a:gd name="T6" fmla="*/ 1471 w 4810"/>
              <a:gd name="T7" fmla="*/ 3028 h 3993"/>
              <a:gd name="T8" fmla="*/ 1116 w 4810"/>
              <a:gd name="T9" fmla="*/ 2943 h 3993"/>
              <a:gd name="T10" fmla="*/ 665 w 4810"/>
              <a:gd name="T11" fmla="*/ 2494 h 3993"/>
              <a:gd name="T12" fmla="*/ 858 w 4810"/>
              <a:gd name="T13" fmla="*/ 2500 h 3993"/>
              <a:gd name="T14" fmla="*/ 1012 w 4810"/>
              <a:gd name="T15" fmla="*/ 2455 h 3993"/>
              <a:gd name="T16" fmla="*/ 847 w 4810"/>
              <a:gd name="T17" fmla="*/ 2285 h 3993"/>
              <a:gd name="T18" fmla="*/ 310 w 4810"/>
              <a:gd name="T19" fmla="*/ 1617 h 3993"/>
              <a:gd name="T20" fmla="*/ 361 w 4810"/>
              <a:gd name="T21" fmla="*/ 1572 h 3993"/>
              <a:gd name="T22" fmla="*/ 656 w 4810"/>
              <a:gd name="T23" fmla="*/ 1613 h 3993"/>
              <a:gd name="T24" fmla="*/ 678 w 4810"/>
              <a:gd name="T25" fmla="*/ 1494 h 3993"/>
              <a:gd name="T26" fmla="*/ 368 w 4810"/>
              <a:gd name="T27" fmla="*/ 412 h 3993"/>
              <a:gd name="T28" fmla="*/ 390 w 4810"/>
              <a:gd name="T29" fmla="*/ 406 h 3993"/>
              <a:gd name="T30" fmla="*/ 2275 w 4810"/>
              <a:gd name="T31" fmla="*/ 1342 h 3993"/>
              <a:gd name="T32" fmla="*/ 2416 w 4810"/>
              <a:gd name="T33" fmla="*/ 1184 h 3993"/>
              <a:gd name="T34" fmla="*/ 3391 w 4810"/>
              <a:gd name="T35" fmla="*/ 170 h 3993"/>
              <a:gd name="T36" fmla="*/ 4164 w 4810"/>
              <a:gd name="T37" fmla="*/ 434 h 3993"/>
              <a:gd name="T38" fmla="*/ 4218 w 4810"/>
              <a:gd name="T39" fmla="*/ 617 h 3993"/>
              <a:gd name="T40" fmla="*/ 4256 w 4810"/>
              <a:gd name="T41" fmla="*/ 739 h 3993"/>
              <a:gd name="T42" fmla="*/ 4472 w 4810"/>
              <a:gd name="T43" fmla="*/ 793 h 3993"/>
              <a:gd name="T44" fmla="*/ 4790 w 4810"/>
              <a:gd name="T45" fmla="*/ 523 h 3993"/>
              <a:gd name="T46" fmla="*/ 4719 w 4810"/>
              <a:gd name="T47" fmla="*/ 500 h 3993"/>
              <a:gd name="T48" fmla="*/ 4465 w 4810"/>
              <a:gd name="T49" fmla="*/ 578 h 3993"/>
              <a:gd name="T50" fmla="*/ 4668 w 4810"/>
              <a:gd name="T51" fmla="*/ 129 h 3993"/>
              <a:gd name="T52" fmla="*/ 4499 w 4810"/>
              <a:gd name="T53" fmla="*/ 159 h 3993"/>
              <a:gd name="T54" fmla="*/ 3985 w 4810"/>
              <a:gd name="T55" fmla="*/ 275 h 3993"/>
              <a:gd name="T56" fmla="*/ 2569 w 4810"/>
              <a:gd name="T57" fmla="*/ 326 h 3993"/>
              <a:gd name="T58" fmla="*/ 2280 w 4810"/>
              <a:gd name="T59" fmla="*/ 1205 h 3993"/>
              <a:gd name="T60" fmla="*/ 491 w 4810"/>
              <a:gd name="T61" fmla="*/ 313 h 3993"/>
              <a:gd name="T62" fmla="*/ 240 w 4810"/>
              <a:gd name="T63" fmla="*/ 364 h 3993"/>
              <a:gd name="T64" fmla="*/ 429 w 4810"/>
              <a:gd name="T65" fmla="*/ 1450 h 3993"/>
              <a:gd name="T66" fmla="*/ 202 w 4810"/>
              <a:gd name="T67" fmla="*/ 1447 h 3993"/>
              <a:gd name="T68" fmla="*/ 689 w 4810"/>
              <a:gd name="T69" fmla="*/ 2359 h 3993"/>
              <a:gd name="T70" fmla="*/ 549 w 4810"/>
              <a:gd name="T71" fmla="*/ 2571 h 3993"/>
              <a:gd name="T72" fmla="*/ 1280 w 4810"/>
              <a:gd name="T73" fmla="*/ 3136 h 3993"/>
              <a:gd name="T74" fmla="*/ 9 w 4810"/>
              <a:gd name="T75" fmla="*/ 3482 h 3993"/>
              <a:gd name="T76" fmla="*/ 1519 w 4810"/>
              <a:gd name="T77" fmla="*/ 3993 h 3993"/>
              <a:gd name="T78" fmla="*/ 4334 w 4810"/>
              <a:gd name="T79" fmla="*/ 1399 h 3993"/>
              <a:gd name="T80" fmla="*/ 4798 w 4810"/>
              <a:gd name="T81" fmla="*/ 597 h 3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810" h="3993">
                <a:moveTo>
                  <a:pt x="4472" y="793"/>
                </a:moveTo>
                <a:lnTo>
                  <a:pt x="4472" y="793"/>
                </a:lnTo>
                <a:cubicBezTo>
                  <a:pt x="4228" y="949"/>
                  <a:pt x="4211" y="1183"/>
                  <a:pt x="4197" y="1389"/>
                </a:cubicBezTo>
                <a:cubicBezTo>
                  <a:pt x="4124" y="2453"/>
                  <a:pt x="3333" y="3631"/>
                  <a:pt x="1961" y="3823"/>
                </a:cubicBezTo>
                <a:cubicBezTo>
                  <a:pt x="1365" y="3907"/>
                  <a:pt x="833" y="3826"/>
                  <a:pt x="341" y="3576"/>
                </a:cubicBezTo>
                <a:cubicBezTo>
                  <a:pt x="759" y="3557"/>
                  <a:pt x="1140" y="3417"/>
                  <a:pt x="1501" y="3151"/>
                </a:cubicBezTo>
                <a:cubicBezTo>
                  <a:pt x="1524" y="3134"/>
                  <a:pt x="1534" y="3106"/>
                  <a:pt x="1527" y="3079"/>
                </a:cubicBezTo>
                <a:cubicBezTo>
                  <a:pt x="1520" y="3052"/>
                  <a:pt x="1498" y="3032"/>
                  <a:pt x="1471" y="3028"/>
                </a:cubicBezTo>
                <a:lnTo>
                  <a:pt x="1461" y="3026"/>
                </a:lnTo>
                <a:cubicBezTo>
                  <a:pt x="1324" y="3006"/>
                  <a:pt x="1215" y="2989"/>
                  <a:pt x="1116" y="2943"/>
                </a:cubicBezTo>
                <a:cubicBezTo>
                  <a:pt x="917" y="2850"/>
                  <a:pt x="771" y="2708"/>
                  <a:pt x="672" y="2510"/>
                </a:cubicBezTo>
                <a:cubicBezTo>
                  <a:pt x="669" y="2504"/>
                  <a:pt x="667" y="2499"/>
                  <a:pt x="665" y="2494"/>
                </a:cubicBezTo>
                <a:cubicBezTo>
                  <a:pt x="667" y="2494"/>
                  <a:pt x="669" y="2495"/>
                  <a:pt x="671" y="2495"/>
                </a:cubicBezTo>
                <a:cubicBezTo>
                  <a:pt x="733" y="2504"/>
                  <a:pt x="794" y="2502"/>
                  <a:pt x="858" y="2500"/>
                </a:cubicBezTo>
                <a:cubicBezTo>
                  <a:pt x="887" y="2499"/>
                  <a:pt x="917" y="2498"/>
                  <a:pt x="948" y="2498"/>
                </a:cubicBezTo>
                <a:cubicBezTo>
                  <a:pt x="976" y="2498"/>
                  <a:pt x="1002" y="2481"/>
                  <a:pt x="1012" y="2455"/>
                </a:cubicBezTo>
                <a:cubicBezTo>
                  <a:pt x="1023" y="2429"/>
                  <a:pt x="1016" y="2399"/>
                  <a:pt x="996" y="2380"/>
                </a:cubicBezTo>
                <a:cubicBezTo>
                  <a:pt x="943" y="2329"/>
                  <a:pt x="892" y="2305"/>
                  <a:pt x="847" y="2285"/>
                </a:cubicBezTo>
                <a:cubicBezTo>
                  <a:pt x="837" y="2280"/>
                  <a:pt x="828" y="2276"/>
                  <a:pt x="818" y="2271"/>
                </a:cubicBezTo>
                <a:cubicBezTo>
                  <a:pt x="532" y="2131"/>
                  <a:pt x="365" y="1917"/>
                  <a:pt x="310" y="1617"/>
                </a:cubicBezTo>
                <a:cubicBezTo>
                  <a:pt x="305" y="1588"/>
                  <a:pt x="302" y="1569"/>
                  <a:pt x="302" y="1558"/>
                </a:cubicBezTo>
                <a:cubicBezTo>
                  <a:pt x="314" y="1559"/>
                  <a:pt x="332" y="1564"/>
                  <a:pt x="361" y="1572"/>
                </a:cubicBezTo>
                <a:cubicBezTo>
                  <a:pt x="378" y="1577"/>
                  <a:pt x="396" y="1584"/>
                  <a:pt x="413" y="1590"/>
                </a:cubicBezTo>
                <a:cubicBezTo>
                  <a:pt x="477" y="1615"/>
                  <a:pt x="557" y="1645"/>
                  <a:pt x="656" y="1613"/>
                </a:cubicBezTo>
                <a:cubicBezTo>
                  <a:pt x="680" y="1605"/>
                  <a:pt x="698" y="1585"/>
                  <a:pt x="703" y="1560"/>
                </a:cubicBezTo>
                <a:cubicBezTo>
                  <a:pt x="707" y="1535"/>
                  <a:pt x="698" y="1510"/>
                  <a:pt x="678" y="1494"/>
                </a:cubicBezTo>
                <a:cubicBezTo>
                  <a:pt x="396" y="1273"/>
                  <a:pt x="276" y="996"/>
                  <a:pt x="308" y="646"/>
                </a:cubicBezTo>
                <a:cubicBezTo>
                  <a:pt x="316" y="561"/>
                  <a:pt x="343" y="480"/>
                  <a:pt x="368" y="412"/>
                </a:cubicBezTo>
                <a:cubicBezTo>
                  <a:pt x="372" y="404"/>
                  <a:pt x="375" y="398"/>
                  <a:pt x="377" y="394"/>
                </a:cubicBezTo>
                <a:cubicBezTo>
                  <a:pt x="380" y="396"/>
                  <a:pt x="385" y="400"/>
                  <a:pt x="390" y="406"/>
                </a:cubicBezTo>
                <a:cubicBezTo>
                  <a:pt x="641" y="682"/>
                  <a:pt x="926" y="899"/>
                  <a:pt x="1235" y="1052"/>
                </a:cubicBezTo>
                <a:cubicBezTo>
                  <a:pt x="1589" y="1228"/>
                  <a:pt x="1929" y="1323"/>
                  <a:pt x="2275" y="1342"/>
                </a:cubicBezTo>
                <a:cubicBezTo>
                  <a:pt x="2298" y="1344"/>
                  <a:pt x="2353" y="1347"/>
                  <a:pt x="2390" y="1308"/>
                </a:cubicBezTo>
                <a:cubicBezTo>
                  <a:pt x="2422" y="1274"/>
                  <a:pt x="2422" y="1228"/>
                  <a:pt x="2416" y="1184"/>
                </a:cubicBezTo>
                <a:cubicBezTo>
                  <a:pt x="2381" y="897"/>
                  <a:pt x="2472" y="619"/>
                  <a:pt x="2667" y="422"/>
                </a:cubicBezTo>
                <a:cubicBezTo>
                  <a:pt x="2855" y="232"/>
                  <a:pt x="3119" y="140"/>
                  <a:pt x="3391" y="170"/>
                </a:cubicBezTo>
                <a:cubicBezTo>
                  <a:pt x="3561" y="189"/>
                  <a:pt x="3753" y="227"/>
                  <a:pt x="3884" y="369"/>
                </a:cubicBezTo>
                <a:cubicBezTo>
                  <a:pt x="3977" y="468"/>
                  <a:pt x="4077" y="458"/>
                  <a:pt x="4164" y="434"/>
                </a:cubicBezTo>
                <a:cubicBezTo>
                  <a:pt x="4274" y="404"/>
                  <a:pt x="4377" y="362"/>
                  <a:pt x="4490" y="313"/>
                </a:cubicBezTo>
                <a:cubicBezTo>
                  <a:pt x="4429" y="423"/>
                  <a:pt x="4343" y="518"/>
                  <a:pt x="4218" y="617"/>
                </a:cubicBezTo>
                <a:cubicBezTo>
                  <a:pt x="4196" y="634"/>
                  <a:pt x="4187" y="664"/>
                  <a:pt x="4195" y="691"/>
                </a:cubicBezTo>
                <a:cubicBezTo>
                  <a:pt x="4204" y="718"/>
                  <a:pt x="4228" y="737"/>
                  <a:pt x="4256" y="739"/>
                </a:cubicBezTo>
                <a:cubicBezTo>
                  <a:pt x="4379" y="748"/>
                  <a:pt x="4480" y="720"/>
                  <a:pt x="4583" y="686"/>
                </a:cubicBezTo>
                <a:cubicBezTo>
                  <a:pt x="4547" y="733"/>
                  <a:pt x="4511" y="768"/>
                  <a:pt x="4472" y="793"/>
                </a:cubicBezTo>
                <a:lnTo>
                  <a:pt x="4472" y="793"/>
                </a:lnTo>
                <a:close/>
                <a:moveTo>
                  <a:pt x="4790" y="523"/>
                </a:moveTo>
                <a:lnTo>
                  <a:pt x="4790" y="523"/>
                </a:lnTo>
                <a:cubicBezTo>
                  <a:pt x="4773" y="502"/>
                  <a:pt x="4745" y="492"/>
                  <a:pt x="4719" y="500"/>
                </a:cubicBezTo>
                <a:cubicBezTo>
                  <a:pt x="4669" y="513"/>
                  <a:pt x="4622" y="528"/>
                  <a:pt x="4577" y="543"/>
                </a:cubicBezTo>
                <a:cubicBezTo>
                  <a:pt x="4538" y="556"/>
                  <a:pt x="4501" y="568"/>
                  <a:pt x="4465" y="578"/>
                </a:cubicBezTo>
                <a:cubicBezTo>
                  <a:pt x="4570" y="466"/>
                  <a:pt x="4638" y="349"/>
                  <a:pt x="4687" y="202"/>
                </a:cubicBezTo>
                <a:cubicBezTo>
                  <a:pt x="4695" y="176"/>
                  <a:pt x="4688" y="148"/>
                  <a:pt x="4668" y="129"/>
                </a:cubicBezTo>
                <a:cubicBezTo>
                  <a:pt x="4648" y="111"/>
                  <a:pt x="4619" y="106"/>
                  <a:pt x="4594" y="117"/>
                </a:cubicBezTo>
                <a:lnTo>
                  <a:pt x="4499" y="159"/>
                </a:lnTo>
                <a:cubicBezTo>
                  <a:pt x="4364" y="218"/>
                  <a:pt x="4248" y="269"/>
                  <a:pt x="4127" y="302"/>
                </a:cubicBezTo>
                <a:cubicBezTo>
                  <a:pt x="4054" y="322"/>
                  <a:pt x="4023" y="316"/>
                  <a:pt x="3985" y="275"/>
                </a:cubicBezTo>
                <a:cubicBezTo>
                  <a:pt x="3822" y="100"/>
                  <a:pt x="3590" y="54"/>
                  <a:pt x="3406" y="34"/>
                </a:cubicBezTo>
                <a:cubicBezTo>
                  <a:pt x="3092" y="0"/>
                  <a:pt x="2787" y="106"/>
                  <a:pt x="2569" y="326"/>
                </a:cubicBezTo>
                <a:cubicBezTo>
                  <a:pt x="2345" y="553"/>
                  <a:pt x="2239" y="872"/>
                  <a:pt x="2280" y="1201"/>
                </a:cubicBezTo>
                <a:cubicBezTo>
                  <a:pt x="2280" y="1203"/>
                  <a:pt x="2280" y="1204"/>
                  <a:pt x="2280" y="1205"/>
                </a:cubicBezTo>
                <a:cubicBezTo>
                  <a:pt x="1955" y="1186"/>
                  <a:pt x="1633" y="1096"/>
                  <a:pt x="1296" y="929"/>
                </a:cubicBezTo>
                <a:cubicBezTo>
                  <a:pt x="1002" y="784"/>
                  <a:pt x="731" y="576"/>
                  <a:pt x="491" y="313"/>
                </a:cubicBezTo>
                <a:cubicBezTo>
                  <a:pt x="436" y="252"/>
                  <a:pt x="384" y="247"/>
                  <a:pt x="350" y="254"/>
                </a:cubicBezTo>
                <a:cubicBezTo>
                  <a:pt x="316" y="260"/>
                  <a:pt x="270" y="285"/>
                  <a:pt x="240" y="364"/>
                </a:cubicBezTo>
                <a:cubicBezTo>
                  <a:pt x="211" y="441"/>
                  <a:pt x="180" y="533"/>
                  <a:pt x="171" y="633"/>
                </a:cubicBezTo>
                <a:cubicBezTo>
                  <a:pt x="142" y="952"/>
                  <a:pt x="228" y="1225"/>
                  <a:pt x="429" y="1450"/>
                </a:cubicBezTo>
                <a:cubicBezTo>
                  <a:pt x="419" y="1446"/>
                  <a:pt x="410" y="1443"/>
                  <a:pt x="400" y="1440"/>
                </a:cubicBezTo>
                <a:cubicBezTo>
                  <a:pt x="324" y="1418"/>
                  <a:pt x="252" y="1402"/>
                  <a:pt x="202" y="1447"/>
                </a:cubicBezTo>
                <a:cubicBezTo>
                  <a:pt x="152" y="1493"/>
                  <a:pt x="161" y="1568"/>
                  <a:pt x="175" y="1642"/>
                </a:cubicBezTo>
                <a:cubicBezTo>
                  <a:pt x="233" y="1958"/>
                  <a:pt x="406" y="2199"/>
                  <a:pt x="689" y="2359"/>
                </a:cubicBezTo>
                <a:cubicBezTo>
                  <a:pt x="657" y="2354"/>
                  <a:pt x="574" y="2343"/>
                  <a:pt x="533" y="2401"/>
                </a:cubicBezTo>
                <a:cubicBezTo>
                  <a:pt x="492" y="2457"/>
                  <a:pt x="528" y="2529"/>
                  <a:pt x="549" y="2571"/>
                </a:cubicBezTo>
                <a:cubicBezTo>
                  <a:pt x="661" y="2795"/>
                  <a:pt x="832" y="2962"/>
                  <a:pt x="1058" y="3067"/>
                </a:cubicBezTo>
                <a:cubicBezTo>
                  <a:pt x="1129" y="3101"/>
                  <a:pt x="1202" y="3120"/>
                  <a:pt x="1280" y="3136"/>
                </a:cubicBezTo>
                <a:cubicBezTo>
                  <a:pt x="911" y="3369"/>
                  <a:pt x="516" y="3467"/>
                  <a:pt x="79" y="3435"/>
                </a:cubicBezTo>
                <a:cubicBezTo>
                  <a:pt x="50" y="3433"/>
                  <a:pt x="19" y="3452"/>
                  <a:pt x="9" y="3482"/>
                </a:cubicBezTo>
                <a:cubicBezTo>
                  <a:pt x="0" y="3512"/>
                  <a:pt x="11" y="3545"/>
                  <a:pt x="37" y="3562"/>
                </a:cubicBezTo>
                <a:cubicBezTo>
                  <a:pt x="494" y="3850"/>
                  <a:pt x="982" y="3993"/>
                  <a:pt x="1519" y="3993"/>
                </a:cubicBezTo>
                <a:cubicBezTo>
                  <a:pt x="1669" y="3993"/>
                  <a:pt x="1822" y="3981"/>
                  <a:pt x="1980" y="3959"/>
                </a:cubicBezTo>
                <a:cubicBezTo>
                  <a:pt x="3424" y="3757"/>
                  <a:pt x="4258" y="2518"/>
                  <a:pt x="4334" y="1399"/>
                </a:cubicBezTo>
                <a:cubicBezTo>
                  <a:pt x="4350" y="1168"/>
                  <a:pt x="4372" y="1019"/>
                  <a:pt x="4546" y="909"/>
                </a:cubicBezTo>
                <a:cubicBezTo>
                  <a:pt x="4640" y="848"/>
                  <a:pt x="4720" y="749"/>
                  <a:pt x="4798" y="597"/>
                </a:cubicBezTo>
                <a:cubicBezTo>
                  <a:pt x="4810" y="573"/>
                  <a:pt x="4807" y="544"/>
                  <a:pt x="4790" y="5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555A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0DE62D3E-3620-4AED-8567-791222458301}"/>
              </a:ext>
            </a:extLst>
          </p:cNvPr>
          <p:cNvSpPr/>
          <p:nvPr/>
        </p:nvSpPr>
        <p:spPr>
          <a:xfrm rot="2695908" flipV="1">
            <a:off x="2256811" y="3210225"/>
            <a:ext cx="387559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3" name="Freeform 17">
            <a:extLst>
              <a:ext uri="{FF2B5EF4-FFF2-40B4-BE49-F238E27FC236}">
                <a16:creationId xmlns:a16="http://schemas.microsoft.com/office/drawing/2014/main" id="{10789AD5-0FD4-4EF0-AA52-2C8D5B97EEA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46597" y="3229515"/>
            <a:ext cx="315468" cy="245081"/>
          </a:xfrm>
          <a:custGeom>
            <a:avLst/>
            <a:gdLst>
              <a:gd name="T0" fmla="*/ 2388 w 4799"/>
              <a:gd name="T1" fmla="*/ 2574 h 3719"/>
              <a:gd name="T2" fmla="*/ 2238 w 4799"/>
              <a:gd name="T3" fmla="*/ 2742 h 3719"/>
              <a:gd name="T4" fmla="*/ 2713 w 4799"/>
              <a:gd name="T5" fmla="*/ 2392 h 3719"/>
              <a:gd name="T6" fmla="*/ 2577 w 4799"/>
              <a:gd name="T7" fmla="*/ 2609 h 3719"/>
              <a:gd name="T8" fmla="*/ 2497 w 4799"/>
              <a:gd name="T9" fmla="*/ 2421 h 3719"/>
              <a:gd name="T10" fmla="*/ 1867 w 4799"/>
              <a:gd name="T11" fmla="*/ 3030 h 3719"/>
              <a:gd name="T12" fmla="*/ 1918 w 4799"/>
              <a:gd name="T13" fmla="*/ 2892 h 3719"/>
              <a:gd name="T14" fmla="*/ 2933 w 4799"/>
              <a:gd name="T15" fmla="*/ 2683 h 3719"/>
              <a:gd name="T16" fmla="*/ 2871 w 4799"/>
              <a:gd name="T17" fmla="*/ 2451 h 3719"/>
              <a:gd name="T18" fmla="*/ 2787 w 4799"/>
              <a:gd name="T19" fmla="*/ 2552 h 3719"/>
              <a:gd name="T20" fmla="*/ 2949 w 4799"/>
              <a:gd name="T21" fmla="*/ 2538 h 3719"/>
              <a:gd name="T22" fmla="*/ 2128 w 4799"/>
              <a:gd name="T23" fmla="*/ 2686 h 3719"/>
              <a:gd name="T24" fmla="*/ 1955 w 4799"/>
              <a:gd name="T25" fmla="*/ 2670 h 3719"/>
              <a:gd name="T26" fmla="*/ 2099 w 4799"/>
              <a:gd name="T27" fmla="*/ 2392 h 3719"/>
              <a:gd name="T28" fmla="*/ 1678 w 4799"/>
              <a:gd name="T29" fmla="*/ 3080 h 3719"/>
              <a:gd name="T30" fmla="*/ 1703 w 4799"/>
              <a:gd name="T31" fmla="*/ 2990 h 3719"/>
              <a:gd name="T32" fmla="*/ 1612 w 4799"/>
              <a:gd name="T33" fmla="*/ 2975 h 3719"/>
              <a:gd name="T34" fmla="*/ 1743 w 4799"/>
              <a:gd name="T35" fmla="*/ 2975 h 3719"/>
              <a:gd name="T36" fmla="*/ 4246 w 4799"/>
              <a:gd name="T37" fmla="*/ 2451 h 3719"/>
              <a:gd name="T38" fmla="*/ 4406 w 4799"/>
              <a:gd name="T39" fmla="*/ 2691 h 3719"/>
              <a:gd name="T40" fmla="*/ 141 w 4799"/>
              <a:gd name="T41" fmla="*/ 3387 h 3719"/>
              <a:gd name="T42" fmla="*/ 4664 w 4799"/>
              <a:gd name="T43" fmla="*/ 3387 h 3719"/>
              <a:gd name="T44" fmla="*/ 318 w 4799"/>
              <a:gd name="T45" fmla="*/ 3719 h 3719"/>
              <a:gd name="T46" fmla="*/ 4145 w 4799"/>
              <a:gd name="T47" fmla="*/ 1608 h 3719"/>
              <a:gd name="T48" fmla="*/ 4204 w 4799"/>
              <a:gd name="T49" fmla="*/ 1549 h 3719"/>
              <a:gd name="T50" fmla="*/ 2737 w 4799"/>
              <a:gd name="T51" fmla="*/ 1741 h 3719"/>
              <a:gd name="T52" fmla="*/ 3416 w 4799"/>
              <a:gd name="T53" fmla="*/ 2502 h 3719"/>
              <a:gd name="T54" fmla="*/ 3519 w 4799"/>
              <a:gd name="T55" fmla="*/ 2561 h 3719"/>
              <a:gd name="T56" fmla="*/ 3547 w 4799"/>
              <a:gd name="T57" fmla="*/ 2392 h 3719"/>
              <a:gd name="T58" fmla="*/ 3732 w 4799"/>
              <a:gd name="T59" fmla="*/ 2683 h 3719"/>
              <a:gd name="T60" fmla="*/ 3812 w 4799"/>
              <a:gd name="T61" fmla="*/ 2604 h 3719"/>
              <a:gd name="T62" fmla="*/ 3953 w 4799"/>
              <a:gd name="T63" fmla="*/ 2683 h 3719"/>
              <a:gd name="T64" fmla="*/ 4064 w 4799"/>
              <a:gd name="T65" fmla="*/ 2742 h 3719"/>
              <a:gd name="T66" fmla="*/ 739 w 4799"/>
              <a:gd name="T67" fmla="*/ 2594 h 3719"/>
              <a:gd name="T68" fmla="*/ 941 w 4799"/>
              <a:gd name="T69" fmla="*/ 2406 h 3719"/>
              <a:gd name="T70" fmla="*/ 956 w 4799"/>
              <a:gd name="T71" fmla="*/ 2713 h 3719"/>
              <a:gd name="T72" fmla="*/ 952 w 4799"/>
              <a:gd name="T73" fmla="*/ 3030 h 3719"/>
              <a:gd name="T74" fmla="*/ 891 w 4799"/>
              <a:gd name="T75" fmla="*/ 2986 h 3719"/>
              <a:gd name="T76" fmla="*/ 1184 w 4799"/>
              <a:gd name="T77" fmla="*/ 3124 h 3719"/>
              <a:gd name="T78" fmla="*/ 1086 w 4799"/>
              <a:gd name="T79" fmla="*/ 2892 h 3719"/>
              <a:gd name="T80" fmla="*/ 567 w 4799"/>
              <a:gd name="T81" fmla="*/ 2683 h 3719"/>
              <a:gd name="T82" fmla="*/ 647 w 4799"/>
              <a:gd name="T83" fmla="*/ 2604 h 3719"/>
              <a:gd name="T84" fmla="*/ 567 w 4799"/>
              <a:gd name="T85" fmla="*/ 2683 h 3719"/>
              <a:gd name="T86" fmla="*/ 702 w 4799"/>
              <a:gd name="T87" fmla="*/ 3009 h 3719"/>
              <a:gd name="T88" fmla="*/ 759 w 4799"/>
              <a:gd name="T89" fmla="*/ 3024 h 3719"/>
              <a:gd name="T90" fmla="*/ 693 w 4799"/>
              <a:gd name="T91" fmla="*/ 3096 h 3719"/>
              <a:gd name="T92" fmla="*/ 603 w 4799"/>
              <a:gd name="T93" fmla="*/ 2914 h 3719"/>
              <a:gd name="T94" fmla="*/ 484 w 4799"/>
              <a:gd name="T95" fmla="*/ 3032 h 3719"/>
              <a:gd name="T96" fmla="*/ 582 w 4799"/>
              <a:gd name="T97" fmla="*/ 2892 h 3719"/>
              <a:gd name="T98" fmla="*/ 1402 w 4799"/>
              <a:gd name="T99" fmla="*/ 2421 h 3719"/>
              <a:gd name="T100" fmla="*/ 1521 w 4799"/>
              <a:gd name="T101" fmla="*/ 2632 h 3719"/>
              <a:gd name="T102" fmla="*/ 1249 w 4799"/>
              <a:gd name="T103" fmla="*/ 2525 h 3719"/>
              <a:gd name="T104" fmla="*/ 1192 w 4799"/>
              <a:gd name="T105" fmla="*/ 2683 h 3719"/>
              <a:gd name="T106" fmla="*/ 1192 w 4799"/>
              <a:gd name="T107" fmla="*/ 2451 h 3719"/>
              <a:gd name="T108" fmla="*/ 1515 w 4799"/>
              <a:gd name="T109" fmla="*/ 3024 h 3719"/>
              <a:gd name="T110" fmla="*/ 1515 w 4799"/>
              <a:gd name="T111" fmla="*/ 3024 h 3719"/>
              <a:gd name="T112" fmla="*/ 1441 w 4799"/>
              <a:gd name="T113" fmla="*/ 3080 h 3719"/>
              <a:gd name="T114" fmla="*/ 1553 w 4799"/>
              <a:gd name="T115" fmla="*/ 2973 h 3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99" h="3719">
                <a:moveTo>
                  <a:pt x="2260" y="2633"/>
                </a:moveTo>
                <a:lnTo>
                  <a:pt x="2260" y="2633"/>
                </a:lnTo>
                <a:lnTo>
                  <a:pt x="2364" y="2633"/>
                </a:lnTo>
                <a:lnTo>
                  <a:pt x="2364" y="2683"/>
                </a:lnTo>
                <a:lnTo>
                  <a:pt x="2260" y="2683"/>
                </a:lnTo>
                <a:lnTo>
                  <a:pt x="2260" y="2633"/>
                </a:lnTo>
                <a:close/>
                <a:moveTo>
                  <a:pt x="2388" y="2574"/>
                </a:moveTo>
                <a:lnTo>
                  <a:pt x="2388" y="2574"/>
                </a:lnTo>
                <a:lnTo>
                  <a:pt x="2260" y="2574"/>
                </a:lnTo>
                <a:lnTo>
                  <a:pt x="2260" y="2450"/>
                </a:lnTo>
                <a:cubicBezTo>
                  <a:pt x="2273" y="2446"/>
                  <a:pt x="2281" y="2435"/>
                  <a:pt x="2281" y="2421"/>
                </a:cubicBezTo>
                <a:cubicBezTo>
                  <a:pt x="2281" y="2405"/>
                  <a:pt x="2268" y="2392"/>
                  <a:pt x="2254" y="2392"/>
                </a:cubicBezTo>
                <a:lnTo>
                  <a:pt x="2229" y="2392"/>
                </a:lnTo>
                <a:cubicBezTo>
                  <a:pt x="2213" y="2392"/>
                  <a:pt x="2204" y="2403"/>
                  <a:pt x="2204" y="2421"/>
                </a:cubicBezTo>
                <a:lnTo>
                  <a:pt x="2204" y="2707"/>
                </a:lnTo>
                <a:cubicBezTo>
                  <a:pt x="2204" y="2732"/>
                  <a:pt x="2214" y="2742"/>
                  <a:pt x="2238" y="2742"/>
                </a:cubicBezTo>
                <a:lnTo>
                  <a:pt x="2386" y="2742"/>
                </a:lnTo>
                <a:cubicBezTo>
                  <a:pt x="2410" y="2742"/>
                  <a:pt x="2420" y="2731"/>
                  <a:pt x="2420" y="2707"/>
                </a:cubicBezTo>
                <a:lnTo>
                  <a:pt x="2420" y="2611"/>
                </a:lnTo>
                <a:cubicBezTo>
                  <a:pt x="2420" y="2592"/>
                  <a:pt x="2417" y="2574"/>
                  <a:pt x="2388" y="2574"/>
                </a:cubicBezTo>
                <a:lnTo>
                  <a:pt x="2388" y="2574"/>
                </a:lnTo>
                <a:close/>
                <a:moveTo>
                  <a:pt x="2525" y="2392"/>
                </a:moveTo>
                <a:lnTo>
                  <a:pt x="2525" y="2392"/>
                </a:lnTo>
                <a:lnTo>
                  <a:pt x="2713" y="2392"/>
                </a:lnTo>
                <a:lnTo>
                  <a:pt x="2713" y="2524"/>
                </a:lnTo>
                <a:cubicBezTo>
                  <a:pt x="2713" y="2541"/>
                  <a:pt x="2713" y="2546"/>
                  <a:pt x="2700" y="2557"/>
                </a:cubicBezTo>
                <a:lnTo>
                  <a:pt x="2643" y="2610"/>
                </a:lnTo>
                <a:cubicBezTo>
                  <a:pt x="2634" y="2618"/>
                  <a:pt x="2634" y="2618"/>
                  <a:pt x="2634" y="2629"/>
                </a:cubicBezTo>
                <a:lnTo>
                  <a:pt x="2634" y="2713"/>
                </a:lnTo>
                <a:cubicBezTo>
                  <a:pt x="2634" y="2732"/>
                  <a:pt x="2624" y="2742"/>
                  <a:pt x="2606" y="2742"/>
                </a:cubicBezTo>
                <a:cubicBezTo>
                  <a:pt x="2587" y="2742"/>
                  <a:pt x="2577" y="2732"/>
                  <a:pt x="2577" y="2713"/>
                </a:cubicBezTo>
                <a:lnTo>
                  <a:pt x="2577" y="2609"/>
                </a:lnTo>
                <a:cubicBezTo>
                  <a:pt x="2577" y="2593"/>
                  <a:pt x="2579" y="2589"/>
                  <a:pt x="2590" y="2578"/>
                </a:cubicBezTo>
                <a:lnTo>
                  <a:pt x="2647" y="2527"/>
                </a:lnTo>
                <a:cubicBezTo>
                  <a:pt x="2657" y="2518"/>
                  <a:pt x="2657" y="2518"/>
                  <a:pt x="2657" y="2505"/>
                </a:cubicBezTo>
                <a:lnTo>
                  <a:pt x="2657" y="2451"/>
                </a:lnTo>
                <a:lnTo>
                  <a:pt x="2552" y="2451"/>
                </a:lnTo>
                <a:cubicBezTo>
                  <a:pt x="2549" y="2462"/>
                  <a:pt x="2539" y="2472"/>
                  <a:pt x="2525" y="2472"/>
                </a:cubicBezTo>
                <a:cubicBezTo>
                  <a:pt x="2507" y="2472"/>
                  <a:pt x="2497" y="2457"/>
                  <a:pt x="2497" y="2443"/>
                </a:cubicBezTo>
                <a:lnTo>
                  <a:pt x="2497" y="2421"/>
                </a:lnTo>
                <a:cubicBezTo>
                  <a:pt x="2497" y="2407"/>
                  <a:pt x="2507" y="2392"/>
                  <a:pt x="2525" y="2392"/>
                </a:cubicBezTo>
                <a:lnTo>
                  <a:pt x="2525" y="2392"/>
                </a:lnTo>
                <a:close/>
                <a:moveTo>
                  <a:pt x="1836" y="2936"/>
                </a:moveTo>
                <a:lnTo>
                  <a:pt x="1836" y="2936"/>
                </a:lnTo>
                <a:lnTo>
                  <a:pt x="1836" y="2986"/>
                </a:lnTo>
                <a:lnTo>
                  <a:pt x="1867" y="2986"/>
                </a:lnTo>
                <a:cubicBezTo>
                  <a:pt x="1877" y="2986"/>
                  <a:pt x="1888" y="2993"/>
                  <a:pt x="1888" y="3008"/>
                </a:cubicBezTo>
                <a:cubicBezTo>
                  <a:pt x="1888" y="3023"/>
                  <a:pt x="1877" y="3030"/>
                  <a:pt x="1867" y="3030"/>
                </a:cubicBezTo>
                <a:lnTo>
                  <a:pt x="1836" y="3030"/>
                </a:lnTo>
                <a:lnTo>
                  <a:pt x="1836" y="3080"/>
                </a:lnTo>
                <a:lnTo>
                  <a:pt x="1918" y="3080"/>
                </a:lnTo>
                <a:cubicBezTo>
                  <a:pt x="1929" y="3080"/>
                  <a:pt x="1940" y="3087"/>
                  <a:pt x="1940" y="3102"/>
                </a:cubicBezTo>
                <a:cubicBezTo>
                  <a:pt x="1940" y="3115"/>
                  <a:pt x="1931" y="3124"/>
                  <a:pt x="1918" y="3124"/>
                </a:cubicBezTo>
                <a:lnTo>
                  <a:pt x="1794" y="3124"/>
                </a:lnTo>
                <a:lnTo>
                  <a:pt x="1794" y="2892"/>
                </a:lnTo>
                <a:lnTo>
                  <a:pt x="1918" y="2892"/>
                </a:lnTo>
                <a:cubicBezTo>
                  <a:pt x="1929" y="2892"/>
                  <a:pt x="1940" y="2899"/>
                  <a:pt x="1940" y="2914"/>
                </a:cubicBezTo>
                <a:cubicBezTo>
                  <a:pt x="1940" y="2927"/>
                  <a:pt x="1931" y="2936"/>
                  <a:pt x="1918" y="2936"/>
                </a:cubicBezTo>
                <a:lnTo>
                  <a:pt x="1836" y="2936"/>
                </a:lnTo>
                <a:lnTo>
                  <a:pt x="1836" y="2936"/>
                </a:lnTo>
                <a:close/>
                <a:moveTo>
                  <a:pt x="2830" y="2597"/>
                </a:moveTo>
                <a:lnTo>
                  <a:pt x="2830" y="2597"/>
                </a:lnTo>
                <a:lnTo>
                  <a:pt x="2933" y="2597"/>
                </a:lnTo>
                <a:lnTo>
                  <a:pt x="2933" y="2683"/>
                </a:lnTo>
                <a:lnTo>
                  <a:pt x="2830" y="2683"/>
                </a:lnTo>
                <a:lnTo>
                  <a:pt x="2830" y="2597"/>
                </a:lnTo>
                <a:close/>
                <a:moveTo>
                  <a:pt x="2871" y="2451"/>
                </a:moveTo>
                <a:lnTo>
                  <a:pt x="2871" y="2451"/>
                </a:lnTo>
                <a:lnTo>
                  <a:pt x="2893" y="2451"/>
                </a:lnTo>
                <a:lnTo>
                  <a:pt x="2893" y="2537"/>
                </a:lnTo>
                <a:lnTo>
                  <a:pt x="2871" y="2537"/>
                </a:lnTo>
                <a:lnTo>
                  <a:pt x="2871" y="2451"/>
                </a:lnTo>
                <a:close/>
                <a:moveTo>
                  <a:pt x="2949" y="2538"/>
                </a:moveTo>
                <a:lnTo>
                  <a:pt x="2949" y="2538"/>
                </a:lnTo>
                <a:lnTo>
                  <a:pt x="2949" y="2421"/>
                </a:lnTo>
                <a:cubicBezTo>
                  <a:pt x="2949" y="2404"/>
                  <a:pt x="2938" y="2392"/>
                  <a:pt x="2921" y="2392"/>
                </a:cubicBezTo>
                <a:lnTo>
                  <a:pt x="2842" y="2392"/>
                </a:lnTo>
                <a:cubicBezTo>
                  <a:pt x="2825" y="2392"/>
                  <a:pt x="2814" y="2404"/>
                  <a:pt x="2814" y="2421"/>
                </a:cubicBezTo>
                <a:lnTo>
                  <a:pt x="2814" y="2538"/>
                </a:lnTo>
                <a:cubicBezTo>
                  <a:pt x="2803" y="2540"/>
                  <a:pt x="2794" y="2544"/>
                  <a:pt x="2787" y="2552"/>
                </a:cubicBezTo>
                <a:cubicBezTo>
                  <a:pt x="2778" y="2561"/>
                  <a:pt x="2773" y="2573"/>
                  <a:pt x="2773" y="2589"/>
                </a:cubicBezTo>
                <a:lnTo>
                  <a:pt x="2773" y="2691"/>
                </a:lnTo>
                <a:cubicBezTo>
                  <a:pt x="2773" y="2722"/>
                  <a:pt x="2792" y="2742"/>
                  <a:pt x="2822" y="2742"/>
                </a:cubicBezTo>
                <a:lnTo>
                  <a:pt x="2941" y="2742"/>
                </a:lnTo>
                <a:cubicBezTo>
                  <a:pt x="2971" y="2742"/>
                  <a:pt x="2990" y="2722"/>
                  <a:pt x="2990" y="2691"/>
                </a:cubicBezTo>
                <a:lnTo>
                  <a:pt x="2990" y="2589"/>
                </a:lnTo>
                <a:cubicBezTo>
                  <a:pt x="2990" y="2573"/>
                  <a:pt x="2985" y="2561"/>
                  <a:pt x="2977" y="2552"/>
                </a:cubicBezTo>
                <a:cubicBezTo>
                  <a:pt x="2969" y="2544"/>
                  <a:pt x="2960" y="2540"/>
                  <a:pt x="2949" y="2538"/>
                </a:cubicBezTo>
                <a:lnTo>
                  <a:pt x="2949" y="2538"/>
                </a:lnTo>
                <a:close/>
                <a:moveTo>
                  <a:pt x="2008" y="2451"/>
                </a:moveTo>
                <a:lnTo>
                  <a:pt x="2008" y="2451"/>
                </a:lnTo>
                <a:lnTo>
                  <a:pt x="2008" y="2537"/>
                </a:lnTo>
                <a:lnTo>
                  <a:pt x="2074" y="2537"/>
                </a:lnTo>
                <a:cubicBezTo>
                  <a:pt x="2087" y="2537"/>
                  <a:pt x="2100" y="2539"/>
                  <a:pt x="2113" y="2552"/>
                </a:cubicBezTo>
                <a:cubicBezTo>
                  <a:pt x="2126" y="2565"/>
                  <a:pt x="2128" y="2579"/>
                  <a:pt x="2128" y="2594"/>
                </a:cubicBezTo>
                <a:lnTo>
                  <a:pt x="2128" y="2686"/>
                </a:lnTo>
                <a:cubicBezTo>
                  <a:pt x="2128" y="2699"/>
                  <a:pt x="2127" y="2711"/>
                  <a:pt x="2116" y="2725"/>
                </a:cubicBezTo>
                <a:cubicBezTo>
                  <a:pt x="2103" y="2741"/>
                  <a:pt x="2089" y="2742"/>
                  <a:pt x="2074" y="2742"/>
                </a:cubicBezTo>
                <a:lnTo>
                  <a:pt x="1984" y="2742"/>
                </a:lnTo>
                <a:cubicBezTo>
                  <a:pt x="1972" y="2742"/>
                  <a:pt x="1965" y="2739"/>
                  <a:pt x="1954" y="2734"/>
                </a:cubicBezTo>
                <a:lnTo>
                  <a:pt x="1935" y="2725"/>
                </a:lnTo>
                <a:cubicBezTo>
                  <a:pt x="1925" y="2720"/>
                  <a:pt x="1911" y="2714"/>
                  <a:pt x="1911" y="2695"/>
                </a:cubicBezTo>
                <a:cubicBezTo>
                  <a:pt x="1911" y="2679"/>
                  <a:pt x="1923" y="2666"/>
                  <a:pt x="1938" y="2666"/>
                </a:cubicBezTo>
                <a:cubicBezTo>
                  <a:pt x="1945" y="2666"/>
                  <a:pt x="1950" y="2667"/>
                  <a:pt x="1955" y="2670"/>
                </a:cubicBezTo>
                <a:lnTo>
                  <a:pt x="1967" y="2675"/>
                </a:lnTo>
                <a:cubicBezTo>
                  <a:pt x="1968" y="2676"/>
                  <a:pt x="1970" y="2677"/>
                  <a:pt x="1972" y="2678"/>
                </a:cubicBezTo>
                <a:cubicBezTo>
                  <a:pt x="1976" y="2680"/>
                  <a:pt x="1982" y="2683"/>
                  <a:pt x="1985" y="2683"/>
                </a:cubicBezTo>
                <a:lnTo>
                  <a:pt x="2071" y="2683"/>
                </a:lnTo>
                <a:lnTo>
                  <a:pt x="2071" y="2597"/>
                </a:lnTo>
                <a:lnTo>
                  <a:pt x="1951" y="2597"/>
                </a:lnTo>
                <a:lnTo>
                  <a:pt x="1951" y="2392"/>
                </a:lnTo>
                <a:lnTo>
                  <a:pt x="2099" y="2392"/>
                </a:lnTo>
                <a:cubicBezTo>
                  <a:pt x="2116" y="2392"/>
                  <a:pt x="2128" y="2403"/>
                  <a:pt x="2128" y="2421"/>
                </a:cubicBezTo>
                <a:cubicBezTo>
                  <a:pt x="2128" y="2442"/>
                  <a:pt x="2113" y="2451"/>
                  <a:pt x="2099" y="2451"/>
                </a:cubicBezTo>
                <a:lnTo>
                  <a:pt x="2008" y="2451"/>
                </a:lnTo>
                <a:lnTo>
                  <a:pt x="2008" y="2451"/>
                </a:lnTo>
                <a:close/>
                <a:moveTo>
                  <a:pt x="1704" y="3024"/>
                </a:moveTo>
                <a:lnTo>
                  <a:pt x="1704" y="3024"/>
                </a:lnTo>
                <a:lnTo>
                  <a:pt x="1679" y="3077"/>
                </a:lnTo>
                <a:cubicBezTo>
                  <a:pt x="1678" y="3078"/>
                  <a:pt x="1678" y="3080"/>
                  <a:pt x="1678" y="3080"/>
                </a:cubicBezTo>
                <a:cubicBezTo>
                  <a:pt x="1677" y="3080"/>
                  <a:pt x="1677" y="3078"/>
                  <a:pt x="1676" y="3076"/>
                </a:cubicBezTo>
                <a:lnTo>
                  <a:pt x="1651" y="3024"/>
                </a:lnTo>
                <a:cubicBezTo>
                  <a:pt x="1648" y="3018"/>
                  <a:pt x="1647" y="3015"/>
                  <a:pt x="1647" y="3009"/>
                </a:cubicBezTo>
                <a:cubicBezTo>
                  <a:pt x="1647" y="3001"/>
                  <a:pt x="1649" y="2997"/>
                  <a:pt x="1652" y="2990"/>
                </a:cubicBezTo>
                <a:lnTo>
                  <a:pt x="1677" y="2938"/>
                </a:lnTo>
                <a:cubicBezTo>
                  <a:pt x="1677" y="2937"/>
                  <a:pt x="1678" y="2936"/>
                  <a:pt x="1677" y="2936"/>
                </a:cubicBezTo>
                <a:cubicBezTo>
                  <a:pt x="1678" y="2936"/>
                  <a:pt x="1678" y="2937"/>
                  <a:pt x="1679" y="2938"/>
                </a:cubicBezTo>
                <a:lnTo>
                  <a:pt x="1703" y="2990"/>
                </a:lnTo>
                <a:cubicBezTo>
                  <a:pt x="1706" y="2997"/>
                  <a:pt x="1708" y="3001"/>
                  <a:pt x="1708" y="3009"/>
                </a:cubicBezTo>
                <a:cubicBezTo>
                  <a:pt x="1708" y="3015"/>
                  <a:pt x="1707" y="3018"/>
                  <a:pt x="1704" y="3024"/>
                </a:cubicBezTo>
                <a:lnTo>
                  <a:pt x="1704" y="3024"/>
                </a:lnTo>
                <a:close/>
                <a:moveTo>
                  <a:pt x="1717" y="2919"/>
                </a:moveTo>
                <a:lnTo>
                  <a:pt x="1717" y="2919"/>
                </a:lnTo>
                <a:cubicBezTo>
                  <a:pt x="1708" y="2902"/>
                  <a:pt x="1694" y="2892"/>
                  <a:pt x="1678" y="2892"/>
                </a:cubicBezTo>
                <a:cubicBezTo>
                  <a:pt x="1661" y="2892"/>
                  <a:pt x="1647" y="2902"/>
                  <a:pt x="1638" y="2919"/>
                </a:cubicBezTo>
                <a:lnTo>
                  <a:pt x="1612" y="2975"/>
                </a:lnTo>
                <a:cubicBezTo>
                  <a:pt x="1607" y="2987"/>
                  <a:pt x="1605" y="2996"/>
                  <a:pt x="1605" y="3009"/>
                </a:cubicBezTo>
                <a:cubicBezTo>
                  <a:pt x="1605" y="3024"/>
                  <a:pt x="1609" y="3033"/>
                  <a:pt x="1614" y="3045"/>
                </a:cubicBezTo>
                <a:lnTo>
                  <a:pt x="1638" y="3096"/>
                </a:lnTo>
                <a:cubicBezTo>
                  <a:pt x="1647" y="3114"/>
                  <a:pt x="1661" y="3124"/>
                  <a:pt x="1678" y="3124"/>
                </a:cubicBezTo>
                <a:cubicBezTo>
                  <a:pt x="1694" y="3124"/>
                  <a:pt x="1708" y="3114"/>
                  <a:pt x="1717" y="3096"/>
                </a:cubicBezTo>
                <a:lnTo>
                  <a:pt x="1741" y="3045"/>
                </a:lnTo>
                <a:cubicBezTo>
                  <a:pt x="1747" y="3033"/>
                  <a:pt x="1751" y="3024"/>
                  <a:pt x="1751" y="3009"/>
                </a:cubicBezTo>
                <a:cubicBezTo>
                  <a:pt x="1751" y="2996"/>
                  <a:pt x="1748" y="2987"/>
                  <a:pt x="1743" y="2975"/>
                </a:cubicBezTo>
                <a:lnTo>
                  <a:pt x="1717" y="2919"/>
                </a:lnTo>
                <a:lnTo>
                  <a:pt x="1717" y="2919"/>
                </a:lnTo>
                <a:close/>
                <a:moveTo>
                  <a:pt x="4246" y="2451"/>
                </a:moveTo>
                <a:lnTo>
                  <a:pt x="4246" y="2451"/>
                </a:lnTo>
                <a:lnTo>
                  <a:pt x="4349" y="2451"/>
                </a:lnTo>
                <a:lnTo>
                  <a:pt x="4349" y="2683"/>
                </a:lnTo>
                <a:lnTo>
                  <a:pt x="4246" y="2683"/>
                </a:lnTo>
                <a:lnTo>
                  <a:pt x="4246" y="2451"/>
                </a:lnTo>
                <a:close/>
                <a:moveTo>
                  <a:pt x="4357" y="2392"/>
                </a:moveTo>
                <a:lnTo>
                  <a:pt x="4357" y="2392"/>
                </a:lnTo>
                <a:lnTo>
                  <a:pt x="4238" y="2392"/>
                </a:lnTo>
                <a:cubicBezTo>
                  <a:pt x="4211" y="2392"/>
                  <a:pt x="4189" y="2414"/>
                  <a:pt x="4189" y="2443"/>
                </a:cubicBezTo>
                <a:lnTo>
                  <a:pt x="4189" y="2691"/>
                </a:lnTo>
                <a:cubicBezTo>
                  <a:pt x="4189" y="2720"/>
                  <a:pt x="4210" y="2742"/>
                  <a:pt x="4238" y="2742"/>
                </a:cubicBezTo>
                <a:lnTo>
                  <a:pt x="4357" y="2742"/>
                </a:lnTo>
                <a:cubicBezTo>
                  <a:pt x="4384" y="2742"/>
                  <a:pt x="4406" y="2720"/>
                  <a:pt x="4406" y="2691"/>
                </a:cubicBezTo>
                <a:lnTo>
                  <a:pt x="4406" y="2443"/>
                </a:lnTo>
                <a:cubicBezTo>
                  <a:pt x="4406" y="2414"/>
                  <a:pt x="4384" y="2392"/>
                  <a:pt x="4357" y="2392"/>
                </a:cubicBezTo>
                <a:lnTo>
                  <a:pt x="4357" y="2392"/>
                </a:lnTo>
                <a:close/>
                <a:moveTo>
                  <a:pt x="4664" y="3387"/>
                </a:moveTo>
                <a:lnTo>
                  <a:pt x="4664" y="3387"/>
                </a:lnTo>
                <a:cubicBezTo>
                  <a:pt x="4664" y="3489"/>
                  <a:pt x="4581" y="3571"/>
                  <a:pt x="4479" y="3571"/>
                </a:cubicBezTo>
                <a:lnTo>
                  <a:pt x="326" y="3571"/>
                </a:lnTo>
                <a:cubicBezTo>
                  <a:pt x="224" y="3571"/>
                  <a:pt x="141" y="3489"/>
                  <a:pt x="141" y="3387"/>
                </a:cubicBezTo>
                <a:lnTo>
                  <a:pt x="141" y="317"/>
                </a:lnTo>
                <a:cubicBezTo>
                  <a:pt x="141" y="242"/>
                  <a:pt x="186" y="178"/>
                  <a:pt x="250" y="149"/>
                </a:cubicBezTo>
                <a:cubicBezTo>
                  <a:pt x="271" y="141"/>
                  <a:pt x="294" y="136"/>
                  <a:pt x="318" y="136"/>
                </a:cubicBezTo>
                <a:lnTo>
                  <a:pt x="4481" y="136"/>
                </a:lnTo>
                <a:cubicBezTo>
                  <a:pt x="4544" y="136"/>
                  <a:pt x="4600" y="168"/>
                  <a:pt x="4633" y="216"/>
                </a:cubicBezTo>
                <a:cubicBezTo>
                  <a:pt x="4652" y="245"/>
                  <a:pt x="4664" y="280"/>
                  <a:pt x="4664" y="317"/>
                </a:cubicBezTo>
                <a:lnTo>
                  <a:pt x="4664" y="3387"/>
                </a:lnTo>
                <a:lnTo>
                  <a:pt x="4664" y="3387"/>
                </a:lnTo>
                <a:close/>
                <a:moveTo>
                  <a:pt x="4744" y="142"/>
                </a:moveTo>
                <a:lnTo>
                  <a:pt x="4744" y="142"/>
                </a:lnTo>
                <a:cubicBezTo>
                  <a:pt x="4687" y="56"/>
                  <a:pt x="4590" y="0"/>
                  <a:pt x="4479" y="0"/>
                </a:cubicBezTo>
                <a:lnTo>
                  <a:pt x="326" y="0"/>
                </a:lnTo>
                <a:cubicBezTo>
                  <a:pt x="280" y="0"/>
                  <a:pt x="238" y="9"/>
                  <a:pt x="198" y="26"/>
                </a:cubicBezTo>
                <a:cubicBezTo>
                  <a:pt x="82" y="73"/>
                  <a:pt x="0" y="187"/>
                  <a:pt x="0" y="321"/>
                </a:cubicBezTo>
                <a:lnTo>
                  <a:pt x="0" y="3400"/>
                </a:lnTo>
                <a:cubicBezTo>
                  <a:pt x="0" y="3576"/>
                  <a:pt x="142" y="3719"/>
                  <a:pt x="318" y="3719"/>
                </a:cubicBezTo>
                <a:lnTo>
                  <a:pt x="4481" y="3719"/>
                </a:lnTo>
                <a:cubicBezTo>
                  <a:pt x="4657" y="3719"/>
                  <a:pt x="4799" y="3576"/>
                  <a:pt x="4799" y="3400"/>
                </a:cubicBezTo>
                <a:lnTo>
                  <a:pt x="4799" y="321"/>
                </a:lnTo>
                <a:cubicBezTo>
                  <a:pt x="4799" y="254"/>
                  <a:pt x="4779" y="193"/>
                  <a:pt x="4744" y="142"/>
                </a:cubicBezTo>
                <a:lnTo>
                  <a:pt x="4744" y="142"/>
                </a:lnTo>
                <a:close/>
                <a:moveTo>
                  <a:pt x="4204" y="1549"/>
                </a:moveTo>
                <a:lnTo>
                  <a:pt x="4204" y="1549"/>
                </a:lnTo>
                <a:cubicBezTo>
                  <a:pt x="4204" y="1581"/>
                  <a:pt x="4177" y="1608"/>
                  <a:pt x="4145" y="1608"/>
                </a:cubicBezTo>
                <a:lnTo>
                  <a:pt x="2737" y="1608"/>
                </a:lnTo>
                <a:cubicBezTo>
                  <a:pt x="2704" y="1608"/>
                  <a:pt x="2678" y="1581"/>
                  <a:pt x="2678" y="1549"/>
                </a:cubicBezTo>
                <a:lnTo>
                  <a:pt x="2678" y="706"/>
                </a:lnTo>
                <a:cubicBezTo>
                  <a:pt x="2678" y="674"/>
                  <a:pt x="2704" y="647"/>
                  <a:pt x="2737" y="647"/>
                </a:cubicBezTo>
                <a:lnTo>
                  <a:pt x="4145" y="647"/>
                </a:lnTo>
                <a:cubicBezTo>
                  <a:pt x="4177" y="647"/>
                  <a:pt x="4204" y="674"/>
                  <a:pt x="4204" y="706"/>
                </a:cubicBezTo>
                <a:lnTo>
                  <a:pt x="4204" y="1549"/>
                </a:lnTo>
                <a:lnTo>
                  <a:pt x="4204" y="1549"/>
                </a:lnTo>
                <a:close/>
                <a:moveTo>
                  <a:pt x="4337" y="1549"/>
                </a:moveTo>
                <a:lnTo>
                  <a:pt x="4337" y="1549"/>
                </a:lnTo>
                <a:lnTo>
                  <a:pt x="4337" y="706"/>
                </a:lnTo>
                <a:cubicBezTo>
                  <a:pt x="4337" y="600"/>
                  <a:pt x="4251" y="514"/>
                  <a:pt x="4145" y="514"/>
                </a:cubicBezTo>
                <a:lnTo>
                  <a:pt x="2737" y="514"/>
                </a:lnTo>
                <a:cubicBezTo>
                  <a:pt x="2631" y="514"/>
                  <a:pt x="2544" y="600"/>
                  <a:pt x="2544" y="706"/>
                </a:cubicBezTo>
                <a:lnTo>
                  <a:pt x="2544" y="1549"/>
                </a:lnTo>
                <a:cubicBezTo>
                  <a:pt x="2544" y="1655"/>
                  <a:pt x="2631" y="1741"/>
                  <a:pt x="2737" y="1741"/>
                </a:cubicBezTo>
                <a:lnTo>
                  <a:pt x="4145" y="1741"/>
                </a:lnTo>
                <a:cubicBezTo>
                  <a:pt x="4251" y="1741"/>
                  <a:pt x="4337" y="1655"/>
                  <a:pt x="4337" y="1549"/>
                </a:cubicBezTo>
                <a:lnTo>
                  <a:pt x="4337" y="1549"/>
                </a:lnTo>
                <a:close/>
                <a:moveTo>
                  <a:pt x="3416" y="2451"/>
                </a:moveTo>
                <a:lnTo>
                  <a:pt x="3416" y="2451"/>
                </a:lnTo>
                <a:lnTo>
                  <a:pt x="3519" y="2451"/>
                </a:lnTo>
                <a:lnTo>
                  <a:pt x="3519" y="2502"/>
                </a:lnTo>
                <a:lnTo>
                  <a:pt x="3416" y="2502"/>
                </a:lnTo>
                <a:lnTo>
                  <a:pt x="3416" y="2451"/>
                </a:lnTo>
                <a:close/>
                <a:moveTo>
                  <a:pt x="3547" y="2392"/>
                </a:moveTo>
                <a:lnTo>
                  <a:pt x="3547" y="2392"/>
                </a:lnTo>
                <a:lnTo>
                  <a:pt x="3387" y="2392"/>
                </a:lnTo>
                <a:cubicBezTo>
                  <a:pt x="3372" y="2392"/>
                  <a:pt x="3359" y="2405"/>
                  <a:pt x="3359" y="2421"/>
                </a:cubicBezTo>
                <a:lnTo>
                  <a:pt x="3359" y="2531"/>
                </a:lnTo>
                <a:cubicBezTo>
                  <a:pt x="3359" y="2547"/>
                  <a:pt x="3372" y="2561"/>
                  <a:pt x="3387" y="2561"/>
                </a:cubicBezTo>
                <a:lnTo>
                  <a:pt x="3519" y="2561"/>
                </a:lnTo>
                <a:lnTo>
                  <a:pt x="3519" y="2684"/>
                </a:lnTo>
                <a:cubicBezTo>
                  <a:pt x="3507" y="2688"/>
                  <a:pt x="3499" y="2699"/>
                  <a:pt x="3499" y="2713"/>
                </a:cubicBezTo>
                <a:cubicBezTo>
                  <a:pt x="3499" y="2729"/>
                  <a:pt x="3511" y="2742"/>
                  <a:pt x="3527" y="2742"/>
                </a:cubicBezTo>
                <a:lnTo>
                  <a:pt x="3547" y="2742"/>
                </a:lnTo>
                <a:cubicBezTo>
                  <a:pt x="3563" y="2742"/>
                  <a:pt x="3576" y="2729"/>
                  <a:pt x="3576" y="2713"/>
                </a:cubicBezTo>
                <a:lnTo>
                  <a:pt x="3576" y="2421"/>
                </a:lnTo>
                <a:cubicBezTo>
                  <a:pt x="3576" y="2405"/>
                  <a:pt x="3563" y="2392"/>
                  <a:pt x="3547" y="2392"/>
                </a:cubicBezTo>
                <a:lnTo>
                  <a:pt x="3547" y="2392"/>
                </a:lnTo>
                <a:close/>
                <a:moveTo>
                  <a:pt x="3869" y="2604"/>
                </a:moveTo>
                <a:lnTo>
                  <a:pt x="3869" y="2604"/>
                </a:lnTo>
                <a:lnTo>
                  <a:pt x="3869" y="2713"/>
                </a:lnTo>
                <a:cubicBezTo>
                  <a:pt x="3869" y="2731"/>
                  <a:pt x="3858" y="2742"/>
                  <a:pt x="3840" y="2742"/>
                </a:cubicBezTo>
                <a:lnTo>
                  <a:pt x="3680" y="2742"/>
                </a:lnTo>
                <a:cubicBezTo>
                  <a:pt x="3663" y="2742"/>
                  <a:pt x="3652" y="2731"/>
                  <a:pt x="3652" y="2713"/>
                </a:cubicBezTo>
                <a:cubicBezTo>
                  <a:pt x="3652" y="2695"/>
                  <a:pt x="3663" y="2683"/>
                  <a:pt x="3680" y="2683"/>
                </a:cubicBezTo>
                <a:lnTo>
                  <a:pt x="3732" y="2683"/>
                </a:lnTo>
                <a:lnTo>
                  <a:pt x="3732" y="2451"/>
                </a:lnTo>
                <a:lnTo>
                  <a:pt x="3680" y="2451"/>
                </a:lnTo>
                <a:cubicBezTo>
                  <a:pt x="3663" y="2451"/>
                  <a:pt x="3652" y="2439"/>
                  <a:pt x="3652" y="2421"/>
                </a:cubicBezTo>
                <a:cubicBezTo>
                  <a:pt x="3652" y="2403"/>
                  <a:pt x="3663" y="2392"/>
                  <a:pt x="3680" y="2392"/>
                </a:cubicBezTo>
                <a:lnTo>
                  <a:pt x="3789" y="2392"/>
                </a:lnTo>
                <a:lnTo>
                  <a:pt x="3789" y="2683"/>
                </a:lnTo>
                <a:lnTo>
                  <a:pt x="3812" y="2683"/>
                </a:lnTo>
                <a:lnTo>
                  <a:pt x="3812" y="2604"/>
                </a:lnTo>
                <a:cubicBezTo>
                  <a:pt x="3812" y="2586"/>
                  <a:pt x="3823" y="2575"/>
                  <a:pt x="3840" y="2575"/>
                </a:cubicBezTo>
                <a:cubicBezTo>
                  <a:pt x="3859" y="2575"/>
                  <a:pt x="3869" y="2586"/>
                  <a:pt x="3869" y="2604"/>
                </a:cubicBezTo>
                <a:lnTo>
                  <a:pt x="3869" y="2604"/>
                </a:lnTo>
                <a:close/>
                <a:moveTo>
                  <a:pt x="3953" y="2451"/>
                </a:moveTo>
                <a:lnTo>
                  <a:pt x="3953" y="2451"/>
                </a:lnTo>
                <a:lnTo>
                  <a:pt x="4056" y="2451"/>
                </a:lnTo>
                <a:lnTo>
                  <a:pt x="4056" y="2683"/>
                </a:lnTo>
                <a:lnTo>
                  <a:pt x="3953" y="2683"/>
                </a:lnTo>
                <a:lnTo>
                  <a:pt x="3953" y="2451"/>
                </a:lnTo>
                <a:close/>
                <a:moveTo>
                  <a:pt x="4064" y="2392"/>
                </a:moveTo>
                <a:lnTo>
                  <a:pt x="4064" y="2392"/>
                </a:lnTo>
                <a:lnTo>
                  <a:pt x="3945" y="2392"/>
                </a:lnTo>
                <a:cubicBezTo>
                  <a:pt x="3918" y="2392"/>
                  <a:pt x="3896" y="2414"/>
                  <a:pt x="3896" y="2443"/>
                </a:cubicBezTo>
                <a:lnTo>
                  <a:pt x="3896" y="2691"/>
                </a:lnTo>
                <a:cubicBezTo>
                  <a:pt x="3896" y="2720"/>
                  <a:pt x="3917" y="2742"/>
                  <a:pt x="3945" y="2742"/>
                </a:cubicBezTo>
                <a:lnTo>
                  <a:pt x="4064" y="2742"/>
                </a:lnTo>
                <a:cubicBezTo>
                  <a:pt x="4092" y="2742"/>
                  <a:pt x="4113" y="2720"/>
                  <a:pt x="4113" y="2691"/>
                </a:cubicBezTo>
                <a:lnTo>
                  <a:pt x="4113" y="2443"/>
                </a:lnTo>
                <a:cubicBezTo>
                  <a:pt x="4113" y="2414"/>
                  <a:pt x="4091" y="2392"/>
                  <a:pt x="4064" y="2392"/>
                </a:cubicBezTo>
                <a:lnTo>
                  <a:pt x="4064" y="2392"/>
                </a:lnTo>
                <a:close/>
                <a:moveTo>
                  <a:pt x="927" y="2742"/>
                </a:moveTo>
                <a:lnTo>
                  <a:pt x="927" y="2742"/>
                </a:lnTo>
                <a:lnTo>
                  <a:pt x="739" y="2742"/>
                </a:lnTo>
                <a:lnTo>
                  <a:pt x="739" y="2594"/>
                </a:lnTo>
                <a:cubicBezTo>
                  <a:pt x="739" y="2558"/>
                  <a:pt x="758" y="2537"/>
                  <a:pt x="793" y="2537"/>
                </a:cubicBezTo>
                <a:lnTo>
                  <a:pt x="899" y="2537"/>
                </a:lnTo>
                <a:lnTo>
                  <a:pt x="899" y="2451"/>
                </a:lnTo>
                <a:lnTo>
                  <a:pt x="767" y="2451"/>
                </a:lnTo>
                <a:cubicBezTo>
                  <a:pt x="753" y="2451"/>
                  <a:pt x="739" y="2442"/>
                  <a:pt x="739" y="2421"/>
                </a:cubicBezTo>
                <a:cubicBezTo>
                  <a:pt x="739" y="2403"/>
                  <a:pt x="750" y="2392"/>
                  <a:pt x="767" y="2392"/>
                </a:cubicBezTo>
                <a:lnTo>
                  <a:pt x="902" y="2392"/>
                </a:lnTo>
                <a:cubicBezTo>
                  <a:pt x="917" y="2392"/>
                  <a:pt x="929" y="2394"/>
                  <a:pt x="941" y="2406"/>
                </a:cubicBezTo>
                <a:cubicBezTo>
                  <a:pt x="955" y="2420"/>
                  <a:pt x="956" y="2435"/>
                  <a:pt x="956" y="2450"/>
                </a:cubicBezTo>
                <a:lnTo>
                  <a:pt x="956" y="2538"/>
                </a:lnTo>
                <a:cubicBezTo>
                  <a:pt x="956" y="2554"/>
                  <a:pt x="955" y="2568"/>
                  <a:pt x="941" y="2582"/>
                </a:cubicBezTo>
                <a:cubicBezTo>
                  <a:pt x="929" y="2594"/>
                  <a:pt x="917" y="2597"/>
                  <a:pt x="902" y="2597"/>
                </a:cubicBezTo>
                <a:lnTo>
                  <a:pt x="796" y="2597"/>
                </a:lnTo>
                <a:lnTo>
                  <a:pt x="796" y="2683"/>
                </a:lnTo>
                <a:lnTo>
                  <a:pt x="927" y="2683"/>
                </a:lnTo>
                <a:cubicBezTo>
                  <a:pt x="945" y="2683"/>
                  <a:pt x="956" y="2695"/>
                  <a:pt x="956" y="2713"/>
                </a:cubicBezTo>
                <a:cubicBezTo>
                  <a:pt x="956" y="2731"/>
                  <a:pt x="945" y="2742"/>
                  <a:pt x="927" y="2742"/>
                </a:cubicBezTo>
                <a:lnTo>
                  <a:pt x="927" y="2742"/>
                </a:lnTo>
                <a:close/>
                <a:moveTo>
                  <a:pt x="994" y="2914"/>
                </a:moveTo>
                <a:lnTo>
                  <a:pt x="994" y="2914"/>
                </a:lnTo>
                <a:lnTo>
                  <a:pt x="994" y="3102"/>
                </a:lnTo>
                <a:cubicBezTo>
                  <a:pt x="994" y="3116"/>
                  <a:pt x="987" y="3124"/>
                  <a:pt x="973" y="3124"/>
                </a:cubicBezTo>
                <a:cubicBezTo>
                  <a:pt x="960" y="3124"/>
                  <a:pt x="952" y="3116"/>
                  <a:pt x="952" y="3102"/>
                </a:cubicBezTo>
                <a:lnTo>
                  <a:pt x="952" y="3030"/>
                </a:lnTo>
                <a:lnTo>
                  <a:pt x="891" y="3030"/>
                </a:lnTo>
                <a:lnTo>
                  <a:pt x="891" y="3102"/>
                </a:lnTo>
                <a:cubicBezTo>
                  <a:pt x="891" y="3116"/>
                  <a:pt x="883" y="3124"/>
                  <a:pt x="870" y="3124"/>
                </a:cubicBezTo>
                <a:cubicBezTo>
                  <a:pt x="856" y="3124"/>
                  <a:pt x="848" y="3116"/>
                  <a:pt x="848" y="3102"/>
                </a:cubicBezTo>
                <a:lnTo>
                  <a:pt x="848" y="2914"/>
                </a:lnTo>
                <a:cubicBezTo>
                  <a:pt x="848" y="2900"/>
                  <a:pt x="856" y="2892"/>
                  <a:pt x="870" y="2892"/>
                </a:cubicBezTo>
                <a:cubicBezTo>
                  <a:pt x="883" y="2892"/>
                  <a:pt x="891" y="2900"/>
                  <a:pt x="891" y="2914"/>
                </a:cubicBezTo>
                <a:lnTo>
                  <a:pt x="891" y="2986"/>
                </a:lnTo>
                <a:lnTo>
                  <a:pt x="952" y="2986"/>
                </a:lnTo>
                <a:lnTo>
                  <a:pt x="952" y="2914"/>
                </a:lnTo>
                <a:cubicBezTo>
                  <a:pt x="952" y="2900"/>
                  <a:pt x="960" y="2892"/>
                  <a:pt x="973" y="2892"/>
                </a:cubicBezTo>
                <a:cubicBezTo>
                  <a:pt x="987" y="2892"/>
                  <a:pt x="994" y="2900"/>
                  <a:pt x="994" y="2914"/>
                </a:cubicBezTo>
                <a:lnTo>
                  <a:pt x="994" y="2914"/>
                </a:lnTo>
                <a:close/>
                <a:moveTo>
                  <a:pt x="1184" y="2914"/>
                </a:moveTo>
                <a:lnTo>
                  <a:pt x="1184" y="2914"/>
                </a:lnTo>
                <a:lnTo>
                  <a:pt x="1184" y="3124"/>
                </a:lnTo>
                <a:lnTo>
                  <a:pt x="1136" y="3124"/>
                </a:lnTo>
                <a:lnTo>
                  <a:pt x="1134" y="3119"/>
                </a:lnTo>
                <a:lnTo>
                  <a:pt x="1080" y="2989"/>
                </a:lnTo>
                <a:lnTo>
                  <a:pt x="1080" y="3102"/>
                </a:lnTo>
                <a:cubicBezTo>
                  <a:pt x="1080" y="3116"/>
                  <a:pt x="1072" y="3124"/>
                  <a:pt x="1059" y="3124"/>
                </a:cubicBezTo>
                <a:cubicBezTo>
                  <a:pt x="1045" y="3124"/>
                  <a:pt x="1037" y="3116"/>
                  <a:pt x="1037" y="3102"/>
                </a:cubicBezTo>
                <a:lnTo>
                  <a:pt x="1037" y="2892"/>
                </a:lnTo>
                <a:lnTo>
                  <a:pt x="1086" y="2892"/>
                </a:lnTo>
                <a:lnTo>
                  <a:pt x="1088" y="2897"/>
                </a:lnTo>
                <a:lnTo>
                  <a:pt x="1141" y="3028"/>
                </a:lnTo>
                <a:lnTo>
                  <a:pt x="1141" y="2914"/>
                </a:lnTo>
                <a:cubicBezTo>
                  <a:pt x="1141" y="2900"/>
                  <a:pt x="1149" y="2892"/>
                  <a:pt x="1162" y="2892"/>
                </a:cubicBezTo>
                <a:cubicBezTo>
                  <a:pt x="1176" y="2892"/>
                  <a:pt x="1184" y="2900"/>
                  <a:pt x="1184" y="2914"/>
                </a:cubicBezTo>
                <a:lnTo>
                  <a:pt x="1184" y="2914"/>
                </a:lnTo>
                <a:close/>
                <a:moveTo>
                  <a:pt x="567" y="2683"/>
                </a:moveTo>
                <a:lnTo>
                  <a:pt x="567" y="2683"/>
                </a:lnTo>
                <a:lnTo>
                  <a:pt x="567" y="2451"/>
                </a:lnTo>
                <a:lnTo>
                  <a:pt x="515" y="2451"/>
                </a:lnTo>
                <a:cubicBezTo>
                  <a:pt x="501" y="2451"/>
                  <a:pt x="487" y="2442"/>
                  <a:pt x="487" y="2421"/>
                </a:cubicBezTo>
                <a:cubicBezTo>
                  <a:pt x="487" y="2403"/>
                  <a:pt x="498" y="2392"/>
                  <a:pt x="515" y="2392"/>
                </a:cubicBezTo>
                <a:lnTo>
                  <a:pt x="624" y="2392"/>
                </a:lnTo>
                <a:lnTo>
                  <a:pt x="624" y="2683"/>
                </a:lnTo>
                <a:lnTo>
                  <a:pt x="647" y="2683"/>
                </a:lnTo>
                <a:lnTo>
                  <a:pt x="647" y="2604"/>
                </a:lnTo>
                <a:cubicBezTo>
                  <a:pt x="647" y="2586"/>
                  <a:pt x="657" y="2575"/>
                  <a:pt x="675" y="2575"/>
                </a:cubicBezTo>
                <a:cubicBezTo>
                  <a:pt x="693" y="2575"/>
                  <a:pt x="704" y="2586"/>
                  <a:pt x="704" y="2604"/>
                </a:cubicBezTo>
                <a:lnTo>
                  <a:pt x="704" y="2713"/>
                </a:lnTo>
                <a:cubicBezTo>
                  <a:pt x="704" y="2731"/>
                  <a:pt x="692" y="2742"/>
                  <a:pt x="675" y="2742"/>
                </a:cubicBezTo>
                <a:lnTo>
                  <a:pt x="515" y="2742"/>
                </a:lnTo>
                <a:cubicBezTo>
                  <a:pt x="498" y="2742"/>
                  <a:pt x="487" y="2731"/>
                  <a:pt x="487" y="2713"/>
                </a:cubicBezTo>
                <a:cubicBezTo>
                  <a:pt x="487" y="2695"/>
                  <a:pt x="498" y="2683"/>
                  <a:pt x="515" y="2683"/>
                </a:cubicBezTo>
                <a:lnTo>
                  <a:pt x="567" y="2683"/>
                </a:lnTo>
                <a:lnTo>
                  <a:pt x="567" y="2683"/>
                </a:lnTo>
                <a:close/>
                <a:moveTo>
                  <a:pt x="759" y="3024"/>
                </a:moveTo>
                <a:lnTo>
                  <a:pt x="759" y="3024"/>
                </a:lnTo>
                <a:lnTo>
                  <a:pt x="734" y="3077"/>
                </a:lnTo>
                <a:cubicBezTo>
                  <a:pt x="733" y="3078"/>
                  <a:pt x="732" y="3080"/>
                  <a:pt x="733" y="3080"/>
                </a:cubicBezTo>
                <a:cubicBezTo>
                  <a:pt x="732" y="3080"/>
                  <a:pt x="732" y="3078"/>
                  <a:pt x="731" y="3076"/>
                </a:cubicBezTo>
                <a:lnTo>
                  <a:pt x="706" y="3024"/>
                </a:lnTo>
                <a:cubicBezTo>
                  <a:pt x="703" y="3018"/>
                  <a:pt x="702" y="3015"/>
                  <a:pt x="702" y="3009"/>
                </a:cubicBezTo>
                <a:cubicBezTo>
                  <a:pt x="702" y="3001"/>
                  <a:pt x="703" y="2997"/>
                  <a:pt x="707" y="2990"/>
                </a:cubicBezTo>
                <a:lnTo>
                  <a:pt x="731" y="2938"/>
                </a:lnTo>
                <a:cubicBezTo>
                  <a:pt x="732" y="2937"/>
                  <a:pt x="732" y="2936"/>
                  <a:pt x="732" y="2936"/>
                </a:cubicBezTo>
                <a:cubicBezTo>
                  <a:pt x="732" y="2936"/>
                  <a:pt x="733" y="2937"/>
                  <a:pt x="734" y="2938"/>
                </a:cubicBezTo>
                <a:lnTo>
                  <a:pt x="758" y="2990"/>
                </a:lnTo>
                <a:cubicBezTo>
                  <a:pt x="761" y="2997"/>
                  <a:pt x="763" y="3001"/>
                  <a:pt x="763" y="3009"/>
                </a:cubicBezTo>
                <a:cubicBezTo>
                  <a:pt x="763" y="3014"/>
                  <a:pt x="762" y="3018"/>
                  <a:pt x="759" y="3024"/>
                </a:cubicBezTo>
                <a:lnTo>
                  <a:pt x="759" y="3024"/>
                </a:lnTo>
                <a:close/>
                <a:moveTo>
                  <a:pt x="771" y="2919"/>
                </a:moveTo>
                <a:lnTo>
                  <a:pt x="771" y="2919"/>
                </a:lnTo>
                <a:cubicBezTo>
                  <a:pt x="763" y="2902"/>
                  <a:pt x="749" y="2892"/>
                  <a:pt x="732" y="2892"/>
                </a:cubicBezTo>
                <a:cubicBezTo>
                  <a:pt x="716" y="2892"/>
                  <a:pt x="702" y="2902"/>
                  <a:pt x="693" y="2919"/>
                </a:cubicBezTo>
                <a:lnTo>
                  <a:pt x="667" y="2975"/>
                </a:lnTo>
                <a:cubicBezTo>
                  <a:pt x="662" y="2987"/>
                  <a:pt x="659" y="2996"/>
                  <a:pt x="659" y="3009"/>
                </a:cubicBezTo>
                <a:cubicBezTo>
                  <a:pt x="659" y="3024"/>
                  <a:pt x="663" y="3033"/>
                  <a:pt x="669" y="3045"/>
                </a:cubicBezTo>
                <a:lnTo>
                  <a:pt x="693" y="3096"/>
                </a:lnTo>
                <a:cubicBezTo>
                  <a:pt x="702" y="3114"/>
                  <a:pt x="716" y="3124"/>
                  <a:pt x="732" y="3124"/>
                </a:cubicBezTo>
                <a:cubicBezTo>
                  <a:pt x="749" y="3124"/>
                  <a:pt x="763" y="3114"/>
                  <a:pt x="772" y="3096"/>
                </a:cubicBezTo>
                <a:lnTo>
                  <a:pt x="796" y="3045"/>
                </a:lnTo>
                <a:cubicBezTo>
                  <a:pt x="802" y="3033"/>
                  <a:pt x="805" y="3024"/>
                  <a:pt x="805" y="3009"/>
                </a:cubicBezTo>
                <a:cubicBezTo>
                  <a:pt x="805" y="2996"/>
                  <a:pt x="803" y="2987"/>
                  <a:pt x="798" y="2975"/>
                </a:cubicBezTo>
                <a:lnTo>
                  <a:pt x="771" y="2919"/>
                </a:lnTo>
                <a:lnTo>
                  <a:pt x="771" y="2919"/>
                </a:lnTo>
                <a:close/>
                <a:moveTo>
                  <a:pt x="603" y="2914"/>
                </a:moveTo>
                <a:lnTo>
                  <a:pt x="603" y="2914"/>
                </a:lnTo>
                <a:lnTo>
                  <a:pt x="603" y="3069"/>
                </a:lnTo>
                <a:cubicBezTo>
                  <a:pt x="603" y="3080"/>
                  <a:pt x="603" y="3088"/>
                  <a:pt x="597" y="3099"/>
                </a:cubicBezTo>
                <a:cubicBezTo>
                  <a:pt x="585" y="3121"/>
                  <a:pt x="565" y="3124"/>
                  <a:pt x="552" y="3124"/>
                </a:cubicBezTo>
                <a:lnTo>
                  <a:pt x="537" y="3124"/>
                </a:lnTo>
                <a:cubicBezTo>
                  <a:pt x="522" y="3124"/>
                  <a:pt x="505" y="3122"/>
                  <a:pt x="493" y="3104"/>
                </a:cubicBezTo>
                <a:cubicBezTo>
                  <a:pt x="485" y="3093"/>
                  <a:pt x="484" y="3084"/>
                  <a:pt x="484" y="3072"/>
                </a:cubicBezTo>
                <a:lnTo>
                  <a:pt x="484" y="3032"/>
                </a:lnTo>
                <a:cubicBezTo>
                  <a:pt x="484" y="3018"/>
                  <a:pt x="491" y="3010"/>
                  <a:pt x="505" y="3010"/>
                </a:cubicBezTo>
                <a:cubicBezTo>
                  <a:pt x="518" y="3010"/>
                  <a:pt x="526" y="3018"/>
                  <a:pt x="526" y="3032"/>
                </a:cubicBezTo>
                <a:lnTo>
                  <a:pt x="526" y="3068"/>
                </a:lnTo>
                <a:cubicBezTo>
                  <a:pt x="526" y="3080"/>
                  <a:pt x="526" y="3080"/>
                  <a:pt x="537" y="3080"/>
                </a:cubicBezTo>
                <a:lnTo>
                  <a:pt x="551" y="3080"/>
                </a:lnTo>
                <a:cubicBezTo>
                  <a:pt x="561" y="3080"/>
                  <a:pt x="561" y="3079"/>
                  <a:pt x="561" y="3073"/>
                </a:cubicBezTo>
                <a:lnTo>
                  <a:pt x="561" y="2914"/>
                </a:lnTo>
                <a:cubicBezTo>
                  <a:pt x="561" y="2900"/>
                  <a:pt x="568" y="2892"/>
                  <a:pt x="582" y="2892"/>
                </a:cubicBezTo>
                <a:cubicBezTo>
                  <a:pt x="595" y="2892"/>
                  <a:pt x="603" y="2900"/>
                  <a:pt x="603" y="2914"/>
                </a:cubicBezTo>
                <a:lnTo>
                  <a:pt x="603" y="2914"/>
                </a:lnTo>
                <a:close/>
                <a:moveTo>
                  <a:pt x="1465" y="2633"/>
                </a:moveTo>
                <a:lnTo>
                  <a:pt x="1465" y="2633"/>
                </a:lnTo>
                <a:lnTo>
                  <a:pt x="1345" y="2633"/>
                </a:lnTo>
                <a:lnTo>
                  <a:pt x="1345" y="2421"/>
                </a:lnTo>
                <a:cubicBezTo>
                  <a:pt x="1345" y="2403"/>
                  <a:pt x="1356" y="2392"/>
                  <a:pt x="1373" y="2392"/>
                </a:cubicBezTo>
                <a:cubicBezTo>
                  <a:pt x="1391" y="2392"/>
                  <a:pt x="1402" y="2403"/>
                  <a:pt x="1402" y="2421"/>
                </a:cubicBezTo>
                <a:lnTo>
                  <a:pt x="1402" y="2574"/>
                </a:lnTo>
                <a:lnTo>
                  <a:pt x="1465" y="2574"/>
                </a:lnTo>
                <a:lnTo>
                  <a:pt x="1465" y="2458"/>
                </a:lnTo>
                <a:cubicBezTo>
                  <a:pt x="1465" y="2440"/>
                  <a:pt x="1476" y="2428"/>
                  <a:pt x="1493" y="2428"/>
                </a:cubicBezTo>
                <a:cubicBezTo>
                  <a:pt x="1510" y="2428"/>
                  <a:pt x="1521" y="2440"/>
                  <a:pt x="1521" y="2458"/>
                </a:cubicBezTo>
                <a:lnTo>
                  <a:pt x="1521" y="2575"/>
                </a:lnTo>
                <a:cubicBezTo>
                  <a:pt x="1534" y="2578"/>
                  <a:pt x="1542" y="2589"/>
                  <a:pt x="1542" y="2604"/>
                </a:cubicBezTo>
                <a:cubicBezTo>
                  <a:pt x="1542" y="2619"/>
                  <a:pt x="1534" y="2629"/>
                  <a:pt x="1521" y="2632"/>
                </a:cubicBezTo>
                <a:lnTo>
                  <a:pt x="1521" y="2713"/>
                </a:lnTo>
                <a:cubicBezTo>
                  <a:pt x="1521" y="2732"/>
                  <a:pt x="1511" y="2742"/>
                  <a:pt x="1493" y="2742"/>
                </a:cubicBezTo>
                <a:cubicBezTo>
                  <a:pt x="1475" y="2742"/>
                  <a:pt x="1465" y="2732"/>
                  <a:pt x="1465" y="2713"/>
                </a:cubicBezTo>
                <a:lnTo>
                  <a:pt x="1465" y="2633"/>
                </a:lnTo>
                <a:lnTo>
                  <a:pt x="1465" y="2633"/>
                </a:lnTo>
                <a:close/>
                <a:moveTo>
                  <a:pt x="1249" y="2443"/>
                </a:moveTo>
                <a:lnTo>
                  <a:pt x="1249" y="2443"/>
                </a:lnTo>
                <a:lnTo>
                  <a:pt x="1249" y="2525"/>
                </a:lnTo>
                <a:cubicBezTo>
                  <a:pt x="1249" y="2539"/>
                  <a:pt x="1247" y="2553"/>
                  <a:pt x="1236" y="2567"/>
                </a:cubicBezTo>
                <a:cubicBezTo>
                  <a:pt x="1247" y="2581"/>
                  <a:pt x="1249" y="2595"/>
                  <a:pt x="1249" y="2609"/>
                </a:cubicBezTo>
                <a:lnTo>
                  <a:pt x="1249" y="2691"/>
                </a:lnTo>
                <a:cubicBezTo>
                  <a:pt x="1249" y="2720"/>
                  <a:pt x="1228" y="2742"/>
                  <a:pt x="1200" y="2742"/>
                </a:cubicBezTo>
                <a:lnTo>
                  <a:pt x="1060" y="2742"/>
                </a:lnTo>
                <a:cubicBezTo>
                  <a:pt x="1043" y="2742"/>
                  <a:pt x="1032" y="2731"/>
                  <a:pt x="1032" y="2713"/>
                </a:cubicBezTo>
                <a:cubicBezTo>
                  <a:pt x="1032" y="2695"/>
                  <a:pt x="1043" y="2683"/>
                  <a:pt x="1060" y="2683"/>
                </a:cubicBezTo>
                <a:lnTo>
                  <a:pt x="1192" y="2683"/>
                </a:lnTo>
                <a:lnTo>
                  <a:pt x="1192" y="2620"/>
                </a:lnTo>
                <a:cubicBezTo>
                  <a:pt x="1192" y="2597"/>
                  <a:pt x="1183" y="2597"/>
                  <a:pt x="1180" y="2597"/>
                </a:cubicBezTo>
                <a:lnTo>
                  <a:pt x="1100" y="2597"/>
                </a:lnTo>
                <a:cubicBezTo>
                  <a:pt x="1083" y="2597"/>
                  <a:pt x="1072" y="2585"/>
                  <a:pt x="1072" y="2567"/>
                </a:cubicBezTo>
                <a:cubicBezTo>
                  <a:pt x="1072" y="2549"/>
                  <a:pt x="1083" y="2537"/>
                  <a:pt x="1100" y="2537"/>
                </a:cubicBezTo>
                <a:lnTo>
                  <a:pt x="1180" y="2537"/>
                </a:lnTo>
                <a:cubicBezTo>
                  <a:pt x="1183" y="2537"/>
                  <a:pt x="1192" y="2537"/>
                  <a:pt x="1192" y="2514"/>
                </a:cubicBezTo>
                <a:lnTo>
                  <a:pt x="1192" y="2451"/>
                </a:lnTo>
                <a:lnTo>
                  <a:pt x="1060" y="2451"/>
                </a:lnTo>
                <a:cubicBezTo>
                  <a:pt x="1046" y="2451"/>
                  <a:pt x="1032" y="2442"/>
                  <a:pt x="1032" y="2421"/>
                </a:cubicBezTo>
                <a:cubicBezTo>
                  <a:pt x="1032" y="2403"/>
                  <a:pt x="1043" y="2392"/>
                  <a:pt x="1060" y="2392"/>
                </a:cubicBezTo>
                <a:lnTo>
                  <a:pt x="1200" y="2392"/>
                </a:lnTo>
                <a:cubicBezTo>
                  <a:pt x="1228" y="2392"/>
                  <a:pt x="1249" y="2414"/>
                  <a:pt x="1249" y="2443"/>
                </a:cubicBezTo>
                <a:lnTo>
                  <a:pt x="1249" y="2443"/>
                </a:lnTo>
                <a:close/>
                <a:moveTo>
                  <a:pt x="1515" y="3024"/>
                </a:moveTo>
                <a:lnTo>
                  <a:pt x="1515" y="3024"/>
                </a:lnTo>
                <a:lnTo>
                  <a:pt x="1492" y="3073"/>
                </a:lnTo>
                <a:cubicBezTo>
                  <a:pt x="1489" y="3079"/>
                  <a:pt x="1489" y="3080"/>
                  <a:pt x="1484" y="3080"/>
                </a:cubicBezTo>
                <a:lnTo>
                  <a:pt x="1484" y="2936"/>
                </a:lnTo>
                <a:cubicBezTo>
                  <a:pt x="1488" y="2936"/>
                  <a:pt x="1489" y="2937"/>
                  <a:pt x="1491" y="2943"/>
                </a:cubicBezTo>
                <a:lnTo>
                  <a:pt x="1514" y="2992"/>
                </a:lnTo>
                <a:cubicBezTo>
                  <a:pt x="1517" y="2999"/>
                  <a:pt x="1519" y="3002"/>
                  <a:pt x="1519" y="3009"/>
                </a:cubicBezTo>
                <a:cubicBezTo>
                  <a:pt x="1519" y="3014"/>
                  <a:pt x="1518" y="3018"/>
                  <a:pt x="1515" y="3024"/>
                </a:cubicBezTo>
                <a:lnTo>
                  <a:pt x="1515" y="3024"/>
                </a:lnTo>
                <a:close/>
                <a:moveTo>
                  <a:pt x="1530" y="2924"/>
                </a:moveTo>
                <a:lnTo>
                  <a:pt x="1530" y="2924"/>
                </a:lnTo>
                <a:cubicBezTo>
                  <a:pt x="1519" y="2901"/>
                  <a:pt x="1505" y="2892"/>
                  <a:pt x="1483" y="2892"/>
                </a:cubicBezTo>
                <a:lnTo>
                  <a:pt x="1439" y="2892"/>
                </a:lnTo>
                <a:cubicBezTo>
                  <a:pt x="1425" y="2892"/>
                  <a:pt x="1416" y="2901"/>
                  <a:pt x="1416" y="2914"/>
                </a:cubicBezTo>
                <a:cubicBezTo>
                  <a:pt x="1416" y="2927"/>
                  <a:pt x="1425" y="2936"/>
                  <a:pt x="1440" y="2936"/>
                </a:cubicBezTo>
                <a:lnTo>
                  <a:pt x="1441" y="2936"/>
                </a:lnTo>
                <a:lnTo>
                  <a:pt x="1441" y="3080"/>
                </a:lnTo>
                <a:lnTo>
                  <a:pt x="1437" y="3080"/>
                </a:lnTo>
                <a:cubicBezTo>
                  <a:pt x="1426" y="3080"/>
                  <a:pt x="1416" y="3087"/>
                  <a:pt x="1416" y="3102"/>
                </a:cubicBezTo>
                <a:cubicBezTo>
                  <a:pt x="1416" y="3115"/>
                  <a:pt x="1424" y="3124"/>
                  <a:pt x="1437" y="3124"/>
                </a:cubicBezTo>
                <a:lnTo>
                  <a:pt x="1480" y="3124"/>
                </a:lnTo>
                <a:cubicBezTo>
                  <a:pt x="1505" y="3124"/>
                  <a:pt x="1519" y="3115"/>
                  <a:pt x="1529" y="3093"/>
                </a:cubicBezTo>
                <a:lnTo>
                  <a:pt x="1553" y="3043"/>
                </a:lnTo>
                <a:cubicBezTo>
                  <a:pt x="1559" y="3030"/>
                  <a:pt x="1561" y="3020"/>
                  <a:pt x="1561" y="3009"/>
                </a:cubicBezTo>
                <a:cubicBezTo>
                  <a:pt x="1561" y="2995"/>
                  <a:pt x="1558" y="2986"/>
                  <a:pt x="1553" y="2973"/>
                </a:cubicBezTo>
                <a:lnTo>
                  <a:pt x="1530" y="2924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936C22C3-329D-4B10-AD4F-8B1BDA7AD970}"/>
              </a:ext>
            </a:extLst>
          </p:cNvPr>
          <p:cNvSpPr/>
          <p:nvPr/>
        </p:nvSpPr>
        <p:spPr>
          <a:xfrm rot="16713974">
            <a:off x="4214431" y="2831406"/>
            <a:ext cx="328637" cy="24424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4" name="Freeform 5">
            <a:extLst>
              <a:ext uri="{FF2B5EF4-FFF2-40B4-BE49-F238E27FC236}">
                <a16:creationId xmlns:a16="http://schemas.microsoft.com/office/drawing/2014/main" id="{6351AC0D-7FE2-49CA-A6B6-6A28EB74288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78461" y="2754887"/>
            <a:ext cx="315468" cy="261698"/>
          </a:xfrm>
          <a:custGeom>
            <a:avLst/>
            <a:gdLst>
              <a:gd name="T0" fmla="*/ 3133 w 4830"/>
              <a:gd name="T1" fmla="*/ 3642 h 4009"/>
              <a:gd name="T2" fmla="*/ 3076 w 4830"/>
              <a:gd name="T3" fmla="*/ 3642 h 4009"/>
              <a:gd name="T4" fmla="*/ 2963 w 4830"/>
              <a:gd name="T5" fmla="*/ 3642 h 4009"/>
              <a:gd name="T6" fmla="*/ 2803 w 4830"/>
              <a:gd name="T7" fmla="*/ 3642 h 4009"/>
              <a:gd name="T8" fmla="*/ 2702 w 4830"/>
              <a:gd name="T9" fmla="*/ 3642 h 4009"/>
              <a:gd name="T10" fmla="*/ 2621 w 4830"/>
              <a:gd name="T11" fmla="*/ 3642 h 4009"/>
              <a:gd name="T12" fmla="*/ 2457 w 4830"/>
              <a:gd name="T13" fmla="*/ 3642 h 4009"/>
              <a:gd name="T14" fmla="*/ 2423 w 4830"/>
              <a:gd name="T15" fmla="*/ 3642 h 4009"/>
              <a:gd name="T16" fmla="*/ 2310 w 4830"/>
              <a:gd name="T17" fmla="*/ 3642 h 4009"/>
              <a:gd name="T18" fmla="*/ 2127 w 4830"/>
              <a:gd name="T19" fmla="*/ 3642 h 4009"/>
              <a:gd name="T20" fmla="*/ 2054 w 4830"/>
              <a:gd name="T21" fmla="*/ 3642 h 4009"/>
              <a:gd name="T22" fmla="*/ 1939 w 4830"/>
              <a:gd name="T23" fmla="*/ 3642 h 4009"/>
              <a:gd name="T24" fmla="*/ 1810 w 4830"/>
              <a:gd name="T25" fmla="*/ 3642 h 4009"/>
              <a:gd name="T26" fmla="*/ 1741 w 4830"/>
              <a:gd name="T27" fmla="*/ 3642 h 4009"/>
              <a:gd name="T28" fmla="*/ 1628 w 4830"/>
              <a:gd name="T29" fmla="*/ 3642 h 4009"/>
              <a:gd name="T30" fmla="*/ 1479 w 4830"/>
              <a:gd name="T31" fmla="*/ 3642 h 4009"/>
              <a:gd name="T32" fmla="*/ 1355 w 4830"/>
              <a:gd name="T33" fmla="*/ 3642 h 4009"/>
              <a:gd name="T34" fmla="*/ 1309 w 4830"/>
              <a:gd name="T35" fmla="*/ 3642 h 4009"/>
              <a:gd name="T36" fmla="*/ 1208 w 4830"/>
              <a:gd name="T37" fmla="*/ 3642 h 4009"/>
              <a:gd name="T38" fmla="*/ 1013 w 4830"/>
              <a:gd name="T39" fmla="*/ 3642 h 4009"/>
              <a:gd name="T40" fmla="*/ 946 w 4830"/>
              <a:gd name="T41" fmla="*/ 3642 h 4009"/>
              <a:gd name="T42" fmla="*/ 832 w 4830"/>
              <a:gd name="T43" fmla="*/ 3642 h 4009"/>
              <a:gd name="T44" fmla="*/ 708 w 4830"/>
              <a:gd name="T45" fmla="*/ 3642 h 4009"/>
              <a:gd name="T46" fmla="*/ 627 w 4830"/>
              <a:gd name="T47" fmla="*/ 3642 h 4009"/>
              <a:gd name="T48" fmla="*/ 503 w 4830"/>
              <a:gd name="T49" fmla="*/ 3642 h 4009"/>
              <a:gd name="T50" fmla="*/ 389 w 4830"/>
              <a:gd name="T51" fmla="*/ 3642 h 4009"/>
              <a:gd name="T52" fmla="*/ 3372 w 4830"/>
              <a:gd name="T53" fmla="*/ 1319 h 4009"/>
              <a:gd name="T54" fmla="*/ 98 w 4830"/>
              <a:gd name="T55" fmla="*/ 3776 h 4009"/>
              <a:gd name="T56" fmla="*/ 3506 w 4830"/>
              <a:gd name="T57" fmla="*/ 3776 h 4009"/>
              <a:gd name="T58" fmla="*/ 3604 w 4830"/>
              <a:gd name="T59" fmla="*/ 1454 h 4009"/>
              <a:gd name="T60" fmla="*/ 3372 w 4830"/>
              <a:gd name="T61" fmla="*/ 4009 h 4009"/>
              <a:gd name="T62" fmla="*/ 0 w 4830"/>
              <a:gd name="T63" fmla="*/ 1454 h 4009"/>
              <a:gd name="T64" fmla="*/ 3604 w 4830"/>
              <a:gd name="T65" fmla="*/ 1454 h 4009"/>
              <a:gd name="T66" fmla="*/ 4491 w 4830"/>
              <a:gd name="T67" fmla="*/ 506 h 4009"/>
              <a:gd name="T68" fmla="*/ 3549 w 4830"/>
              <a:gd name="T69" fmla="*/ 137 h 4009"/>
              <a:gd name="T70" fmla="*/ 4719 w 4830"/>
              <a:gd name="T71" fmla="*/ 1576 h 4009"/>
              <a:gd name="T72" fmla="*/ 4491 w 4830"/>
              <a:gd name="T73" fmla="*/ 506 h 4009"/>
              <a:gd name="T74" fmla="*/ 3521 w 4830"/>
              <a:gd name="T75" fmla="*/ 415 h 4009"/>
              <a:gd name="T76" fmla="*/ 4066 w 4830"/>
              <a:gd name="T77" fmla="*/ 851 h 4009"/>
              <a:gd name="T78" fmla="*/ 4314 w 4830"/>
              <a:gd name="T79" fmla="*/ 1534 h 4009"/>
              <a:gd name="T80" fmla="*/ 3521 w 4830"/>
              <a:gd name="T81" fmla="*/ 415 h 4009"/>
              <a:gd name="T82" fmla="*/ 3947 w 4830"/>
              <a:gd name="T83" fmla="*/ 1255 h 4009"/>
              <a:gd name="T84" fmla="*/ 3817 w 4830"/>
              <a:gd name="T85" fmla="*/ 1285 h 4009"/>
              <a:gd name="T86" fmla="*/ 3477 w 4830"/>
              <a:gd name="T87" fmla="*/ 838 h 4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30" h="4009">
                <a:moveTo>
                  <a:pt x="3076" y="3642"/>
                </a:moveTo>
                <a:lnTo>
                  <a:pt x="3076" y="3642"/>
                </a:lnTo>
                <a:lnTo>
                  <a:pt x="3133" y="3642"/>
                </a:lnTo>
                <a:lnTo>
                  <a:pt x="3133" y="1572"/>
                </a:lnTo>
                <a:lnTo>
                  <a:pt x="3076" y="1572"/>
                </a:lnTo>
                <a:lnTo>
                  <a:pt x="3076" y="3642"/>
                </a:lnTo>
                <a:close/>
                <a:moveTo>
                  <a:pt x="2803" y="3642"/>
                </a:moveTo>
                <a:lnTo>
                  <a:pt x="2803" y="3642"/>
                </a:lnTo>
                <a:lnTo>
                  <a:pt x="2963" y="3642"/>
                </a:lnTo>
                <a:lnTo>
                  <a:pt x="2963" y="1572"/>
                </a:lnTo>
                <a:lnTo>
                  <a:pt x="2803" y="1572"/>
                </a:lnTo>
                <a:lnTo>
                  <a:pt x="2803" y="3642"/>
                </a:lnTo>
                <a:close/>
                <a:moveTo>
                  <a:pt x="2621" y="3642"/>
                </a:moveTo>
                <a:lnTo>
                  <a:pt x="2621" y="3642"/>
                </a:lnTo>
                <a:lnTo>
                  <a:pt x="2702" y="3642"/>
                </a:lnTo>
                <a:lnTo>
                  <a:pt x="2702" y="1572"/>
                </a:lnTo>
                <a:lnTo>
                  <a:pt x="2621" y="1572"/>
                </a:lnTo>
                <a:lnTo>
                  <a:pt x="2621" y="3642"/>
                </a:lnTo>
                <a:close/>
                <a:moveTo>
                  <a:pt x="2423" y="3642"/>
                </a:moveTo>
                <a:lnTo>
                  <a:pt x="2423" y="3642"/>
                </a:lnTo>
                <a:lnTo>
                  <a:pt x="2457" y="3642"/>
                </a:lnTo>
                <a:lnTo>
                  <a:pt x="2457" y="1572"/>
                </a:lnTo>
                <a:lnTo>
                  <a:pt x="2423" y="1572"/>
                </a:lnTo>
                <a:lnTo>
                  <a:pt x="2423" y="3642"/>
                </a:lnTo>
                <a:close/>
                <a:moveTo>
                  <a:pt x="2127" y="3642"/>
                </a:moveTo>
                <a:lnTo>
                  <a:pt x="2127" y="3642"/>
                </a:lnTo>
                <a:lnTo>
                  <a:pt x="2310" y="3642"/>
                </a:lnTo>
                <a:lnTo>
                  <a:pt x="2310" y="1572"/>
                </a:lnTo>
                <a:lnTo>
                  <a:pt x="2127" y="1572"/>
                </a:lnTo>
                <a:lnTo>
                  <a:pt x="2127" y="3642"/>
                </a:lnTo>
                <a:close/>
                <a:moveTo>
                  <a:pt x="1939" y="3642"/>
                </a:moveTo>
                <a:lnTo>
                  <a:pt x="1939" y="3642"/>
                </a:lnTo>
                <a:lnTo>
                  <a:pt x="2054" y="3642"/>
                </a:lnTo>
                <a:lnTo>
                  <a:pt x="2054" y="1572"/>
                </a:lnTo>
                <a:lnTo>
                  <a:pt x="1939" y="1572"/>
                </a:lnTo>
                <a:lnTo>
                  <a:pt x="1939" y="3642"/>
                </a:lnTo>
                <a:close/>
                <a:moveTo>
                  <a:pt x="1741" y="3642"/>
                </a:moveTo>
                <a:lnTo>
                  <a:pt x="1741" y="3642"/>
                </a:lnTo>
                <a:lnTo>
                  <a:pt x="1810" y="3642"/>
                </a:lnTo>
                <a:lnTo>
                  <a:pt x="1810" y="1572"/>
                </a:lnTo>
                <a:lnTo>
                  <a:pt x="1741" y="1572"/>
                </a:lnTo>
                <a:lnTo>
                  <a:pt x="1741" y="3642"/>
                </a:lnTo>
                <a:close/>
                <a:moveTo>
                  <a:pt x="1479" y="3642"/>
                </a:moveTo>
                <a:lnTo>
                  <a:pt x="1479" y="3642"/>
                </a:lnTo>
                <a:lnTo>
                  <a:pt x="1628" y="3642"/>
                </a:lnTo>
                <a:lnTo>
                  <a:pt x="1628" y="1572"/>
                </a:lnTo>
                <a:lnTo>
                  <a:pt x="1479" y="1572"/>
                </a:lnTo>
                <a:lnTo>
                  <a:pt x="1479" y="3642"/>
                </a:lnTo>
                <a:close/>
                <a:moveTo>
                  <a:pt x="1309" y="3642"/>
                </a:moveTo>
                <a:lnTo>
                  <a:pt x="1309" y="3642"/>
                </a:lnTo>
                <a:lnTo>
                  <a:pt x="1355" y="3642"/>
                </a:lnTo>
                <a:lnTo>
                  <a:pt x="1355" y="1572"/>
                </a:lnTo>
                <a:lnTo>
                  <a:pt x="1309" y="1572"/>
                </a:lnTo>
                <a:lnTo>
                  <a:pt x="1309" y="3642"/>
                </a:lnTo>
                <a:close/>
                <a:moveTo>
                  <a:pt x="1013" y="3642"/>
                </a:moveTo>
                <a:lnTo>
                  <a:pt x="1013" y="3642"/>
                </a:lnTo>
                <a:lnTo>
                  <a:pt x="1208" y="3642"/>
                </a:lnTo>
                <a:lnTo>
                  <a:pt x="1208" y="1572"/>
                </a:lnTo>
                <a:lnTo>
                  <a:pt x="1013" y="1572"/>
                </a:lnTo>
                <a:lnTo>
                  <a:pt x="1013" y="3642"/>
                </a:lnTo>
                <a:close/>
                <a:moveTo>
                  <a:pt x="832" y="3642"/>
                </a:moveTo>
                <a:lnTo>
                  <a:pt x="832" y="3642"/>
                </a:lnTo>
                <a:lnTo>
                  <a:pt x="946" y="3642"/>
                </a:lnTo>
                <a:lnTo>
                  <a:pt x="946" y="1572"/>
                </a:lnTo>
                <a:lnTo>
                  <a:pt x="832" y="1572"/>
                </a:lnTo>
                <a:lnTo>
                  <a:pt x="832" y="3642"/>
                </a:lnTo>
                <a:close/>
                <a:moveTo>
                  <a:pt x="627" y="3642"/>
                </a:moveTo>
                <a:lnTo>
                  <a:pt x="627" y="3642"/>
                </a:lnTo>
                <a:lnTo>
                  <a:pt x="708" y="3642"/>
                </a:lnTo>
                <a:lnTo>
                  <a:pt x="708" y="1572"/>
                </a:lnTo>
                <a:lnTo>
                  <a:pt x="627" y="1572"/>
                </a:lnTo>
                <a:lnTo>
                  <a:pt x="627" y="3642"/>
                </a:lnTo>
                <a:close/>
                <a:moveTo>
                  <a:pt x="389" y="3642"/>
                </a:moveTo>
                <a:lnTo>
                  <a:pt x="389" y="3642"/>
                </a:lnTo>
                <a:lnTo>
                  <a:pt x="503" y="3642"/>
                </a:lnTo>
                <a:lnTo>
                  <a:pt x="503" y="1572"/>
                </a:lnTo>
                <a:lnTo>
                  <a:pt x="389" y="1572"/>
                </a:lnTo>
                <a:lnTo>
                  <a:pt x="389" y="3642"/>
                </a:lnTo>
                <a:close/>
                <a:moveTo>
                  <a:pt x="3506" y="1454"/>
                </a:moveTo>
                <a:lnTo>
                  <a:pt x="3506" y="1454"/>
                </a:lnTo>
                <a:cubicBezTo>
                  <a:pt x="3506" y="1380"/>
                  <a:pt x="3446" y="1319"/>
                  <a:pt x="3372" y="1319"/>
                </a:cubicBezTo>
                <a:lnTo>
                  <a:pt x="232" y="1319"/>
                </a:lnTo>
                <a:cubicBezTo>
                  <a:pt x="158" y="1319"/>
                  <a:pt x="98" y="1380"/>
                  <a:pt x="98" y="1454"/>
                </a:cubicBezTo>
                <a:lnTo>
                  <a:pt x="98" y="3776"/>
                </a:lnTo>
                <a:cubicBezTo>
                  <a:pt x="98" y="3850"/>
                  <a:pt x="158" y="3910"/>
                  <a:pt x="232" y="3910"/>
                </a:cubicBezTo>
                <a:lnTo>
                  <a:pt x="3372" y="3910"/>
                </a:lnTo>
                <a:cubicBezTo>
                  <a:pt x="3446" y="3910"/>
                  <a:pt x="3506" y="3850"/>
                  <a:pt x="3506" y="3776"/>
                </a:cubicBezTo>
                <a:lnTo>
                  <a:pt x="3506" y="1454"/>
                </a:lnTo>
                <a:lnTo>
                  <a:pt x="3506" y="1454"/>
                </a:lnTo>
                <a:close/>
                <a:moveTo>
                  <a:pt x="3604" y="1454"/>
                </a:moveTo>
                <a:lnTo>
                  <a:pt x="3604" y="1454"/>
                </a:lnTo>
                <a:lnTo>
                  <a:pt x="3604" y="3776"/>
                </a:lnTo>
                <a:cubicBezTo>
                  <a:pt x="3604" y="3904"/>
                  <a:pt x="3500" y="4009"/>
                  <a:pt x="3372" y="4009"/>
                </a:cubicBezTo>
                <a:lnTo>
                  <a:pt x="232" y="4009"/>
                </a:lnTo>
                <a:cubicBezTo>
                  <a:pt x="104" y="4009"/>
                  <a:pt x="0" y="3904"/>
                  <a:pt x="0" y="3776"/>
                </a:cubicBezTo>
                <a:lnTo>
                  <a:pt x="0" y="1454"/>
                </a:lnTo>
                <a:cubicBezTo>
                  <a:pt x="0" y="1325"/>
                  <a:pt x="104" y="1221"/>
                  <a:pt x="232" y="1221"/>
                </a:cubicBezTo>
                <a:lnTo>
                  <a:pt x="3372" y="1221"/>
                </a:lnTo>
                <a:cubicBezTo>
                  <a:pt x="3500" y="1221"/>
                  <a:pt x="3604" y="1325"/>
                  <a:pt x="3604" y="1454"/>
                </a:cubicBezTo>
                <a:lnTo>
                  <a:pt x="3604" y="1454"/>
                </a:lnTo>
                <a:close/>
                <a:moveTo>
                  <a:pt x="4491" y="506"/>
                </a:moveTo>
                <a:lnTo>
                  <a:pt x="4491" y="506"/>
                </a:lnTo>
                <a:cubicBezTo>
                  <a:pt x="4259" y="220"/>
                  <a:pt x="3929" y="42"/>
                  <a:pt x="3563" y="4"/>
                </a:cubicBezTo>
                <a:cubicBezTo>
                  <a:pt x="3527" y="0"/>
                  <a:pt x="3494" y="27"/>
                  <a:pt x="3490" y="64"/>
                </a:cubicBezTo>
                <a:cubicBezTo>
                  <a:pt x="3486" y="100"/>
                  <a:pt x="3513" y="133"/>
                  <a:pt x="3549" y="137"/>
                </a:cubicBezTo>
                <a:cubicBezTo>
                  <a:pt x="3880" y="171"/>
                  <a:pt x="4178" y="332"/>
                  <a:pt x="4387" y="590"/>
                </a:cubicBezTo>
                <a:cubicBezTo>
                  <a:pt x="4597" y="848"/>
                  <a:pt x="4693" y="1172"/>
                  <a:pt x="4659" y="1503"/>
                </a:cubicBezTo>
                <a:cubicBezTo>
                  <a:pt x="4655" y="1540"/>
                  <a:pt x="4682" y="1573"/>
                  <a:pt x="4719" y="1576"/>
                </a:cubicBezTo>
                <a:cubicBezTo>
                  <a:pt x="4721" y="1577"/>
                  <a:pt x="4723" y="1577"/>
                  <a:pt x="4726" y="1577"/>
                </a:cubicBezTo>
                <a:cubicBezTo>
                  <a:pt x="4759" y="1577"/>
                  <a:pt x="4788" y="1551"/>
                  <a:pt x="4792" y="1517"/>
                </a:cubicBezTo>
                <a:cubicBezTo>
                  <a:pt x="4830" y="1151"/>
                  <a:pt x="4723" y="792"/>
                  <a:pt x="4491" y="506"/>
                </a:cubicBezTo>
                <a:lnTo>
                  <a:pt x="4491" y="506"/>
                </a:lnTo>
                <a:close/>
                <a:moveTo>
                  <a:pt x="3521" y="415"/>
                </a:moveTo>
                <a:lnTo>
                  <a:pt x="3521" y="415"/>
                </a:lnTo>
                <a:cubicBezTo>
                  <a:pt x="3483" y="413"/>
                  <a:pt x="3451" y="438"/>
                  <a:pt x="3447" y="475"/>
                </a:cubicBezTo>
                <a:cubicBezTo>
                  <a:pt x="3444" y="512"/>
                  <a:pt x="3470" y="545"/>
                  <a:pt x="3507" y="548"/>
                </a:cubicBezTo>
                <a:cubicBezTo>
                  <a:pt x="3728" y="571"/>
                  <a:pt x="3926" y="679"/>
                  <a:pt x="4066" y="851"/>
                </a:cubicBezTo>
                <a:cubicBezTo>
                  <a:pt x="4206" y="1023"/>
                  <a:pt x="4271" y="1240"/>
                  <a:pt x="4248" y="1460"/>
                </a:cubicBezTo>
                <a:cubicBezTo>
                  <a:pt x="4244" y="1497"/>
                  <a:pt x="4271" y="1530"/>
                  <a:pt x="4307" y="1534"/>
                </a:cubicBezTo>
                <a:cubicBezTo>
                  <a:pt x="4310" y="1534"/>
                  <a:pt x="4312" y="1534"/>
                  <a:pt x="4314" y="1534"/>
                </a:cubicBezTo>
                <a:cubicBezTo>
                  <a:pt x="4348" y="1534"/>
                  <a:pt x="4377" y="1509"/>
                  <a:pt x="4381" y="1474"/>
                </a:cubicBezTo>
                <a:cubicBezTo>
                  <a:pt x="4407" y="1218"/>
                  <a:pt x="4332" y="967"/>
                  <a:pt x="4170" y="767"/>
                </a:cubicBezTo>
                <a:cubicBezTo>
                  <a:pt x="4008" y="567"/>
                  <a:pt x="3777" y="442"/>
                  <a:pt x="3521" y="415"/>
                </a:cubicBezTo>
                <a:lnTo>
                  <a:pt x="3521" y="415"/>
                </a:lnTo>
                <a:close/>
                <a:moveTo>
                  <a:pt x="3947" y="1255"/>
                </a:moveTo>
                <a:lnTo>
                  <a:pt x="3947" y="1255"/>
                </a:lnTo>
                <a:cubicBezTo>
                  <a:pt x="3956" y="1291"/>
                  <a:pt x="3933" y="1327"/>
                  <a:pt x="3897" y="1335"/>
                </a:cubicBezTo>
                <a:cubicBezTo>
                  <a:pt x="3892" y="1336"/>
                  <a:pt x="3887" y="1337"/>
                  <a:pt x="3882" y="1337"/>
                </a:cubicBezTo>
                <a:cubicBezTo>
                  <a:pt x="3852" y="1337"/>
                  <a:pt x="3824" y="1316"/>
                  <a:pt x="3817" y="1285"/>
                </a:cubicBezTo>
                <a:cubicBezTo>
                  <a:pt x="3779" y="1115"/>
                  <a:pt x="3636" y="989"/>
                  <a:pt x="3463" y="971"/>
                </a:cubicBezTo>
                <a:cubicBezTo>
                  <a:pt x="3426" y="968"/>
                  <a:pt x="3400" y="935"/>
                  <a:pt x="3404" y="898"/>
                </a:cubicBezTo>
                <a:cubicBezTo>
                  <a:pt x="3407" y="861"/>
                  <a:pt x="3440" y="834"/>
                  <a:pt x="3477" y="838"/>
                </a:cubicBezTo>
                <a:cubicBezTo>
                  <a:pt x="3707" y="862"/>
                  <a:pt x="3896" y="1030"/>
                  <a:pt x="3947" y="1255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E777327B-9E24-48A1-882B-08718647DFA4}"/>
              </a:ext>
            </a:extLst>
          </p:cNvPr>
          <p:cNvCxnSpPr>
            <a:cxnSpLocks/>
          </p:cNvCxnSpPr>
          <p:nvPr/>
        </p:nvCxnSpPr>
        <p:spPr>
          <a:xfrm>
            <a:off x="3977125" y="3222726"/>
            <a:ext cx="286743" cy="685800"/>
          </a:xfrm>
          <a:prstGeom prst="line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0A754B0C-BF5C-40B4-BB15-07833ED419EC}"/>
              </a:ext>
            </a:extLst>
          </p:cNvPr>
          <p:cNvSpPr/>
          <p:nvPr/>
        </p:nvSpPr>
        <p:spPr>
          <a:xfrm>
            <a:off x="4179855" y="3831736"/>
            <a:ext cx="168026" cy="168026"/>
          </a:xfrm>
          <a:prstGeom prst="ellipse">
            <a:avLst/>
          </a:prstGeom>
          <a:solidFill>
            <a:schemeClr val="accent2"/>
          </a:solidFill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991A32F-48E2-4A5B-8C95-2B5ACA9EA494}"/>
              </a:ext>
            </a:extLst>
          </p:cNvPr>
          <p:cNvSpPr/>
          <p:nvPr/>
        </p:nvSpPr>
        <p:spPr>
          <a:xfrm>
            <a:off x="5406256" y="2415692"/>
            <a:ext cx="714579" cy="585963"/>
          </a:xfrm>
          <a:custGeom>
            <a:avLst/>
            <a:gdLst>
              <a:gd name="connsiteX0" fmla="*/ 0 w 986932"/>
              <a:gd name="connsiteY0" fmla="*/ 32001 h 683481"/>
              <a:gd name="connsiteX1" fmla="*/ 32001 w 986932"/>
              <a:gd name="connsiteY1" fmla="*/ 0 h 683481"/>
              <a:gd name="connsiteX2" fmla="*/ 954931 w 986932"/>
              <a:gd name="connsiteY2" fmla="*/ 0 h 683481"/>
              <a:gd name="connsiteX3" fmla="*/ 986932 w 986932"/>
              <a:gd name="connsiteY3" fmla="*/ 32001 h 683481"/>
              <a:gd name="connsiteX4" fmla="*/ 986932 w 986932"/>
              <a:gd name="connsiteY4" fmla="*/ 651480 h 683481"/>
              <a:gd name="connsiteX5" fmla="*/ 954931 w 986932"/>
              <a:gd name="connsiteY5" fmla="*/ 683481 h 683481"/>
              <a:gd name="connsiteX6" fmla="*/ 32001 w 986932"/>
              <a:gd name="connsiteY6" fmla="*/ 683481 h 683481"/>
              <a:gd name="connsiteX7" fmla="*/ 0 w 986932"/>
              <a:gd name="connsiteY7" fmla="*/ 651480 h 683481"/>
              <a:gd name="connsiteX8" fmla="*/ 0 w 986932"/>
              <a:gd name="connsiteY8" fmla="*/ 32001 h 683481"/>
              <a:gd name="connsiteX0" fmla="*/ 0 w 986940"/>
              <a:gd name="connsiteY0" fmla="*/ 32001 h 773016"/>
              <a:gd name="connsiteX1" fmla="*/ 32001 w 986940"/>
              <a:gd name="connsiteY1" fmla="*/ 0 h 773016"/>
              <a:gd name="connsiteX2" fmla="*/ 954931 w 986940"/>
              <a:gd name="connsiteY2" fmla="*/ 0 h 773016"/>
              <a:gd name="connsiteX3" fmla="*/ 986932 w 986940"/>
              <a:gd name="connsiteY3" fmla="*/ 32001 h 773016"/>
              <a:gd name="connsiteX4" fmla="*/ 986932 w 986940"/>
              <a:gd name="connsiteY4" fmla="*/ 651480 h 773016"/>
              <a:gd name="connsiteX5" fmla="*/ 970171 w 986940"/>
              <a:gd name="connsiteY5" fmla="*/ 773016 h 773016"/>
              <a:gd name="connsiteX6" fmla="*/ 32001 w 986940"/>
              <a:gd name="connsiteY6" fmla="*/ 683481 h 773016"/>
              <a:gd name="connsiteX7" fmla="*/ 0 w 986940"/>
              <a:gd name="connsiteY7" fmla="*/ 651480 h 773016"/>
              <a:gd name="connsiteX8" fmla="*/ 0 w 986940"/>
              <a:gd name="connsiteY8" fmla="*/ 32001 h 773016"/>
              <a:gd name="connsiteX0" fmla="*/ 0 w 986940"/>
              <a:gd name="connsiteY0" fmla="*/ 32001 h 773016"/>
              <a:gd name="connsiteX1" fmla="*/ 32001 w 986940"/>
              <a:gd name="connsiteY1" fmla="*/ 0 h 773016"/>
              <a:gd name="connsiteX2" fmla="*/ 954931 w 986940"/>
              <a:gd name="connsiteY2" fmla="*/ 0 h 773016"/>
              <a:gd name="connsiteX3" fmla="*/ 986932 w 986940"/>
              <a:gd name="connsiteY3" fmla="*/ 32001 h 773016"/>
              <a:gd name="connsiteX4" fmla="*/ 986932 w 986940"/>
              <a:gd name="connsiteY4" fmla="*/ 651480 h 773016"/>
              <a:gd name="connsiteX5" fmla="*/ 970171 w 986940"/>
              <a:gd name="connsiteY5" fmla="*/ 773016 h 773016"/>
              <a:gd name="connsiteX6" fmla="*/ 32001 w 986940"/>
              <a:gd name="connsiteY6" fmla="*/ 683481 h 773016"/>
              <a:gd name="connsiteX7" fmla="*/ 0 w 986940"/>
              <a:gd name="connsiteY7" fmla="*/ 651480 h 773016"/>
              <a:gd name="connsiteX8" fmla="*/ 0 w 986940"/>
              <a:gd name="connsiteY8" fmla="*/ 32001 h 773016"/>
              <a:gd name="connsiteX0" fmla="*/ 0 w 986940"/>
              <a:gd name="connsiteY0" fmla="*/ 32001 h 780636"/>
              <a:gd name="connsiteX1" fmla="*/ 32001 w 986940"/>
              <a:gd name="connsiteY1" fmla="*/ 0 h 780636"/>
              <a:gd name="connsiteX2" fmla="*/ 954931 w 986940"/>
              <a:gd name="connsiteY2" fmla="*/ 0 h 780636"/>
              <a:gd name="connsiteX3" fmla="*/ 986932 w 986940"/>
              <a:gd name="connsiteY3" fmla="*/ 32001 h 780636"/>
              <a:gd name="connsiteX4" fmla="*/ 986932 w 986940"/>
              <a:gd name="connsiteY4" fmla="*/ 651480 h 780636"/>
              <a:gd name="connsiteX5" fmla="*/ 970171 w 986940"/>
              <a:gd name="connsiteY5" fmla="*/ 780636 h 780636"/>
              <a:gd name="connsiteX6" fmla="*/ 32001 w 986940"/>
              <a:gd name="connsiteY6" fmla="*/ 683481 h 780636"/>
              <a:gd name="connsiteX7" fmla="*/ 0 w 986940"/>
              <a:gd name="connsiteY7" fmla="*/ 651480 h 780636"/>
              <a:gd name="connsiteX8" fmla="*/ 0 w 986940"/>
              <a:gd name="connsiteY8" fmla="*/ 32001 h 780636"/>
              <a:gd name="connsiteX0" fmla="*/ 0 w 986940"/>
              <a:gd name="connsiteY0" fmla="*/ 32001 h 781284"/>
              <a:gd name="connsiteX1" fmla="*/ 32001 w 986940"/>
              <a:gd name="connsiteY1" fmla="*/ 0 h 781284"/>
              <a:gd name="connsiteX2" fmla="*/ 954931 w 986940"/>
              <a:gd name="connsiteY2" fmla="*/ 0 h 781284"/>
              <a:gd name="connsiteX3" fmla="*/ 986932 w 986940"/>
              <a:gd name="connsiteY3" fmla="*/ 32001 h 781284"/>
              <a:gd name="connsiteX4" fmla="*/ 986932 w 986940"/>
              <a:gd name="connsiteY4" fmla="*/ 651480 h 781284"/>
              <a:gd name="connsiteX5" fmla="*/ 970171 w 986940"/>
              <a:gd name="connsiteY5" fmla="*/ 780636 h 781284"/>
              <a:gd name="connsiteX6" fmla="*/ 274377 w 986940"/>
              <a:gd name="connsiteY6" fmla="*/ 709092 h 781284"/>
              <a:gd name="connsiteX7" fmla="*/ 32001 w 986940"/>
              <a:gd name="connsiteY7" fmla="*/ 683481 h 781284"/>
              <a:gd name="connsiteX8" fmla="*/ 0 w 986940"/>
              <a:gd name="connsiteY8" fmla="*/ 651480 h 781284"/>
              <a:gd name="connsiteX9" fmla="*/ 0 w 986940"/>
              <a:gd name="connsiteY9" fmla="*/ 32001 h 781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6940" h="781284">
                <a:moveTo>
                  <a:pt x="0" y="32001"/>
                </a:moveTo>
                <a:cubicBezTo>
                  <a:pt x="0" y="14327"/>
                  <a:pt x="14327" y="0"/>
                  <a:pt x="32001" y="0"/>
                </a:cubicBezTo>
                <a:lnTo>
                  <a:pt x="954931" y="0"/>
                </a:lnTo>
                <a:cubicBezTo>
                  <a:pt x="972605" y="0"/>
                  <a:pt x="986932" y="14327"/>
                  <a:pt x="986932" y="32001"/>
                </a:cubicBezTo>
                <a:lnTo>
                  <a:pt x="986932" y="651480"/>
                </a:lnTo>
                <a:cubicBezTo>
                  <a:pt x="986932" y="669154"/>
                  <a:pt x="987845" y="780636"/>
                  <a:pt x="970171" y="780636"/>
                </a:cubicBezTo>
                <a:cubicBezTo>
                  <a:pt x="851729" y="788333"/>
                  <a:pt x="430739" y="725285"/>
                  <a:pt x="274377" y="709092"/>
                </a:cubicBezTo>
                <a:cubicBezTo>
                  <a:pt x="118015" y="692899"/>
                  <a:pt x="78048" y="691178"/>
                  <a:pt x="32001" y="683481"/>
                </a:cubicBezTo>
                <a:cubicBezTo>
                  <a:pt x="14327" y="683481"/>
                  <a:pt x="0" y="669154"/>
                  <a:pt x="0" y="651480"/>
                </a:cubicBezTo>
                <a:lnTo>
                  <a:pt x="0" y="32001"/>
                </a:lnTo>
                <a:close/>
              </a:path>
            </a:pathLst>
          </a:cu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F891DF4-7BD5-4C5E-8A59-9BA014494A2A}"/>
              </a:ext>
            </a:extLst>
          </p:cNvPr>
          <p:cNvGrpSpPr/>
          <p:nvPr/>
        </p:nvGrpSpPr>
        <p:grpSpPr>
          <a:xfrm>
            <a:off x="-303411" y="2563425"/>
            <a:ext cx="2508238" cy="390232"/>
            <a:chOff x="-404548" y="3417899"/>
            <a:chExt cx="3344317" cy="520309"/>
          </a:xfrm>
          <a:solidFill>
            <a:schemeClr val="accent1"/>
          </a:solidFill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492FDF05-B206-4848-AC11-F78C65011431}"/>
                </a:ext>
              </a:extLst>
            </p:cNvPr>
            <p:cNvCxnSpPr/>
            <p:nvPr/>
          </p:nvCxnSpPr>
          <p:spPr>
            <a:xfrm>
              <a:off x="-404548" y="3707161"/>
              <a:ext cx="3154680" cy="0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8" name="Rounded Rectangle 207">
              <a:extLst>
                <a:ext uri="{FF2B5EF4-FFF2-40B4-BE49-F238E27FC236}">
                  <a16:creationId xmlns:a16="http://schemas.microsoft.com/office/drawing/2014/main" id="{B70B86EE-886A-42BE-9EAC-A5EEFF69B7F0}"/>
                </a:ext>
              </a:extLst>
            </p:cNvPr>
            <p:cNvSpPr/>
            <p:nvPr/>
          </p:nvSpPr>
          <p:spPr>
            <a:xfrm>
              <a:off x="625787" y="3582312"/>
              <a:ext cx="1737360" cy="267296"/>
            </a:xfrm>
            <a:prstGeom prst="roundRect">
              <a:avLst>
                <a:gd name="adj" fmla="val 50000"/>
              </a:avLst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ISTEN</a:t>
              </a:r>
            </a:p>
          </p:txBody>
        </p:sp>
        <p:sp>
          <p:nvSpPr>
            <p:cNvPr id="3" name="Arc 2">
              <a:extLst>
                <a:ext uri="{FF2B5EF4-FFF2-40B4-BE49-F238E27FC236}">
                  <a16:creationId xmlns:a16="http://schemas.microsoft.com/office/drawing/2014/main" id="{AA0ED440-E2EC-45F8-979F-2596C43F8537}"/>
                </a:ext>
              </a:extLst>
            </p:cNvPr>
            <p:cNvSpPr/>
            <p:nvPr/>
          </p:nvSpPr>
          <p:spPr>
            <a:xfrm rot="20772923" flipH="1">
              <a:off x="2749236" y="3417899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56ECDBD-9E9A-40AC-A885-9CE3307B4B9E}"/>
              </a:ext>
            </a:extLst>
          </p:cNvPr>
          <p:cNvGrpSpPr/>
          <p:nvPr/>
        </p:nvGrpSpPr>
        <p:grpSpPr>
          <a:xfrm>
            <a:off x="6567570" y="2964930"/>
            <a:ext cx="3223738" cy="414776"/>
            <a:chOff x="8756759" y="3953240"/>
            <a:chExt cx="4298317" cy="553034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14D6B22F-719A-48D3-8766-AD42346E3174}"/>
                </a:ext>
              </a:extLst>
            </p:cNvPr>
            <p:cNvCxnSpPr/>
            <p:nvPr/>
          </p:nvCxnSpPr>
          <p:spPr>
            <a:xfrm>
              <a:off x="8910001" y="4284268"/>
              <a:ext cx="3876746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id="{B8E40642-7E4E-4B29-9217-8A076560E69D}"/>
                </a:ext>
              </a:extLst>
            </p:cNvPr>
            <p:cNvSpPr/>
            <p:nvPr/>
          </p:nvSpPr>
          <p:spPr>
            <a:xfrm>
              <a:off x="12597876" y="4049074"/>
              <a:ext cx="457200" cy="4572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1" name="Arc 100">
              <a:extLst>
                <a:ext uri="{FF2B5EF4-FFF2-40B4-BE49-F238E27FC236}">
                  <a16:creationId xmlns:a16="http://schemas.microsoft.com/office/drawing/2014/main" id="{11F3D966-74E4-4BF2-85E8-767D87CA2830}"/>
                </a:ext>
              </a:extLst>
            </p:cNvPr>
            <p:cNvSpPr/>
            <p:nvPr/>
          </p:nvSpPr>
          <p:spPr>
            <a:xfrm rot="2318117">
              <a:off x="8756759" y="3953240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D8AD4A9-C931-4A74-89B9-70560B28F613}"/>
              </a:ext>
            </a:extLst>
          </p:cNvPr>
          <p:cNvGrpSpPr/>
          <p:nvPr/>
        </p:nvGrpSpPr>
        <p:grpSpPr>
          <a:xfrm>
            <a:off x="6985580" y="1807997"/>
            <a:ext cx="1145301" cy="844467"/>
            <a:chOff x="3224529" y="1673289"/>
            <a:chExt cx="1527068" cy="1125956"/>
          </a:xfrm>
        </p:grpSpPr>
        <p:sp>
          <p:nvSpPr>
            <p:cNvPr id="105" name="Thought Bubble: Cloud 104">
              <a:extLst>
                <a:ext uri="{FF2B5EF4-FFF2-40B4-BE49-F238E27FC236}">
                  <a16:creationId xmlns:a16="http://schemas.microsoft.com/office/drawing/2014/main" id="{D3A97979-C558-4182-A74F-15E76904D36E}"/>
                </a:ext>
              </a:extLst>
            </p:cNvPr>
            <p:cNvSpPr/>
            <p:nvPr/>
          </p:nvSpPr>
          <p:spPr>
            <a:xfrm>
              <a:off x="3224529" y="1673289"/>
              <a:ext cx="1493391" cy="1125956"/>
            </a:xfrm>
            <a:prstGeom prst="cloudCallout">
              <a:avLst>
                <a:gd name="adj1" fmla="val -94352"/>
                <a:gd name="adj2" fmla="val 24921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A320ABB-D43D-43B4-80D2-ECB1B80EAD73}"/>
                </a:ext>
              </a:extLst>
            </p:cNvPr>
            <p:cNvSpPr/>
            <p:nvPr/>
          </p:nvSpPr>
          <p:spPr>
            <a:xfrm>
              <a:off x="3365654" y="1851545"/>
              <a:ext cx="1385943" cy="80021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Whoa, there’s a lot going </a:t>
              </a:r>
              <a:b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on here!</a:t>
              </a:r>
            </a:p>
          </p:txBody>
        </p:sp>
      </p:grpSp>
      <p:sp>
        <p:nvSpPr>
          <p:cNvPr id="64" name="Title 7">
            <a:extLst>
              <a:ext uri="{FF2B5EF4-FFF2-40B4-BE49-F238E27FC236}">
                <a16:creationId xmlns:a16="http://schemas.microsoft.com/office/drawing/2014/main" id="{21084FEE-A1DD-44E9-829E-DA34B77FF1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91D95B5-797E-4F86-B3BB-0793B0FD2CF7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>
            <a:extLst>
              <a:ext uri="{FF2B5EF4-FFF2-40B4-BE49-F238E27FC236}">
                <a16:creationId xmlns:a16="http://schemas.microsoft.com/office/drawing/2014/main" id="{F565B769-BE3C-423F-843E-01C5CEFFFF85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5734413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04 0.00301 L -0.00104 0.00301 C -0.00039 0.00671 -0.00013 0.00903 0.00117 0.01181 C 0.00208 0.01389 0.00273 0.01412 0.00339 0.01667 C 0.00508 0.02361 0.00312 0.01944 0.0056 0.02384 C 0.00612 0.02685 0.00664 0.0287 0.0069 0.03171 C 0.00716 0.0338 0.00729 0.03681 0.00781 0.03889 C 0.00807 0.03958 0.00846 0.04028 0.00872 0.0412 C 0.00898 0.0419 0.00898 0.04282 0.00911 0.04352 C 0.00937 0.04444 0.00977 0.04514 0.01003 0.04606 C 0.01029 0.04676 0.01029 0.04769 0.01055 0.04838 C 0.01172 0.05278 0.01146 0.04861 0.01224 0.05556 C 0.01263 0.0581 0.01289 0.06088 0.01315 0.06343 C 0.01354 0.06667 0.01354 0.06829 0.01406 0.0713 C 0.01432 0.07292 0.01471 0.07454 0.01497 0.07616 C 0.0151 0.07685 0.0151 0.07778 0.01536 0.07847 C 0.01602 0.08009 0.01654 0.08171 0.01719 0.08333 C 0.01771 0.08426 0.01784 0.08611 0.01849 0.08634 C 0.02174 0.0875 0.02513 0.08704 0.02839 0.08727 C 0.02995 0.0875 0.03164 0.08796 0.03333 0.08796 C 0.0401 0.08796 0.04661 0.08773 0.05339 0.08634 C 0.05443 0.08634 0.05547 0.08588 0.05651 0.08565 C 0.0569 0.08588 0.05742 0.08681 0.05781 0.08634 C 0.05833 0.08611 0.05859 0.08495 0.05872 0.08403 C 0.05911 0.08148 0.05911 0.0787 0.05964 0.07616 L 0.06185 0.06412 L 0.06224 0.06181 C 0.0625 0.06111 0.0625 0.06019 0.06276 0.05949 L 0.06536 0.05231 L 0.06628 0.05 C 0.06667 0.04907 0.0668 0.04815 0.06719 0.04745 L 0.06992 0.04282 C 0.07057 0.03912 0.07031 0.04005 0.07214 0.03565 L 0.07474 0.0294 C 0.07513 0.02755 0.07552 0.025 0.07617 0.02384 C 0.07643 0.02292 0.07708 0.02269 0.07747 0.02222 L 0.0793 0.01736 C 0.07956 0.01667 0.07982 0.01574 0.08021 0.01505 L 0.08151 0.01273 C 0.08229 0.00856 0.08138 0.01181 0.08333 0.00787 C 0.08359 0.00718 0.08385 0.00625 0.08411 0.00556 C 0.08477 0.0044 0.08542 0.00347 0.08594 0.00231 C 0.08828 -0.00231 0.0862 0.00046 0.08867 -0.00255 C 0.09049 -0.00741 0.08841 -0.00255 0.09089 -0.00648 C 0.0918 -0.00787 0.09271 -0.00949 0.09349 -0.01111 C 0.09401 -0.01204 0.09453 -0.01273 0.09492 -0.01366 C 0.09531 -0.01458 0.0957 -0.01574 0.09622 -0.01667 C 0.09661 -0.01736 0.09714 -0.01759 0.09753 -0.01829 C 0.10091 -0.02338 0.09648 -0.01806 0.10117 -0.02315 C 0.10299 -0.02801 0.10091 -0.02315 0.10339 -0.02708 C 0.10794 -0.03426 0.1043 -0.02986 0.10742 -0.03333 C 0.10768 -0.03426 0.10794 -0.03519 0.10833 -0.03588 C 0.10911 -0.03727 0.1099 -0.0375 0.11094 -0.03819 C 0.1125 -0.04213 0.11107 -0.03935 0.11315 -0.04144 C 0.11393 -0.0419 0.11471 -0.04282 0.11536 -0.04375 C 0.11589 -0.04421 0.11628 -0.04491 0.1168 -0.04537 C 0.12096 -0.04861 0.1181 -0.04468 0.12214 -0.05 C 0.12461 -0.05347 0.12318 -0.05208 0.12656 -0.05394 L 0.12786 -0.05486 C 0.12839 -0.05556 0.12865 -0.05671 0.1293 -0.05718 C 0.13008 -0.0581 0.13099 -0.05833 0.1319 -0.0588 C 0.13242 -0.05903 0.13294 -0.05903 0.13333 -0.05949 C 0.13372 -0.06019 0.13411 -0.06088 0.13464 -0.06111 C 0.13542 -0.06181 0.13646 -0.06181 0.13724 -0.06273 C 0.13958 -0.06551 0.13763 -0.06366 0.14089 -0.06505 C 0.14284 -0.06597 0.14466 -0.06759 0.14661 -0.06829 C 0.14766 -0.06875 0.14883 -0.06875 0.14974 -0.06921 C 0.15104 -0.06944 0.15221 -0.07014 0.15339 -0.0706 C 0.15391 -0.07083 0.15456 -0.07106 0.15521 -0.07153 C 0.1556 -0.07176 0.15599 -0.07222 0.15651 -0.07222 C 0.16107 -0.07269 0.16575 -0.07269 0.17031 -0.07315 C 0.17786 -0.07477 0.17656 -0.07454 0.18867 -0.07454 C 0.19206 -0.07454 0.19544 -0.07407 0.19896 -0.07384 C 0.2 -0.07315 0.20078 -0.07269 0.20208 -0.07222 C 0.20312 -0.07199 0.20417 -0.07176 0.20521 -0.07153 C 0.20924 -0.06898 0.20286 -0.07269 0.20872 -0.06991 C 0.20964 -0.06944 0.21055 -0.06852 0.21146 -0.06829 C 0.21211 -0.06806 0.21289 -0.06782 0.21367 -0.06759 C 0.21458 -0.06713 0.21536 -0.0662 0.21628 -0.06597 C 0.21706 -0.06574 0.21784 -0.06551 0.21849 -0.06505 C 0.22083 -0.06412 0.21901 -0.06458 0.22122 -0.06273 C 0.22161 -0.06227 0.22214 -0.06227 0.22253 -0.06204 C 0.22318 -0.06111 0.2237 -0.06019 0.22435 -0.05949 C 0.22526 -0.0588 0.22708 -0.0581 0.22708 -0.0581 C 0.22786 -0.05694 0.22865 -0.05509 0.22969 -0.05486 C 0.2306 -0.0544 0.23242 -0.05394 0.23333 -0.05324 C 0.23672 -0.05023 0.23255 -0.05278 0.23594 -0.05093 C 0.23646 -0.05023 0.23685 -0.04977 0.23724 -0.04931 C 0.23802 -0.04861 0.23971 -0.04792 0.24036 -0.04769 C 0.24089 -0.04745 0.24128 -0.04722 0.2418 -0.04699 C 0.2457 -0.04167 0.24388 -0.04306 0.24661 -0.04144 C 0.24727 -0.04051 0.24792 -0.03981 0.24844 -0.03889 C 0.24883 -0.03819 0.24896 -0.03727 0.24935 -0.03657 C 0.24974 -0.03565 0.25026 -0.03495 0.25065 -0.03426 C 0.25104 -0.03333 0.25117 -0.03241 0.25156 -0.03171 C 0.25195 -0.03102 0.25247 -0.03079 0.25286 -0.03032 C 0.25339 -0.0294 0.25378 -0.02847 0.2543 -0.02778 C 0.25469 -0.02731 0.25521 -0.02685 0.2556 -0.02616 C 0.26055 -0.01875 0.25365 -0.02824 0.25833 -0.02222 C 0.25885 -0.02153 0.2595 -0.02083 0.26003 -0.01991 C 0.26068 -0.01898 0.2612 -0.01759 0.26185 -0.01667 C 0.26224 -0.0162 0.26276 -0.0162 0.26315 -0.01597 C 0.26562 -0.01319 0.26419 -0.01505 0.26719 -0.00949 C 0.26771 -0.0088 0.26823 -0.0081 0.26849 -0.00718 C 0.26901 -0.00625 0.2694 -0.00509 0.26992 -0.00394 C 0.27031 -0.00324 0.27083 -0.00255 0.27122 -0.00162 C 0.27305 0.00231 0.27096 -0.00069 0.27344 0.00231 L 0.27526 0.00718 L 0.27617 0.00949 C 0.27721 0.01551 0.27565 0.00833 0.27786 0.01343 C 0.27825 0.01412 0.27825 0.01505 0.27839 0.01574 C 0.27865 0.0169 0.27891 0.01806 0.2793 0.01898 C 0.27956 0.01991 0.27995 0.0206 0.28021 0.0213 C 0.2806 0.02292 0.28112 0.02616 0.28112 0.02616 C 0.28021 0.03032 0.28125 0.02708 0.2793 0.03009 C 0.27812 0.03194 0.27734 0.03426 0.27617 0.03565 C 0.27539 0.03657 0.27357 0.03866 0.27305 0.03958 C 0.27266 0.04028 0.27253 0.04144 0.27214 0.0419 C 0.27135 0.04329 0.27018 0.04375 0.2694 0.04514 C 0.26771 0.04815 0.26862 0.04699 0.2668 0.04907 C 0.26341 0.05787 0.26901 0.04352 0.26406 0.05394 C 0.26367 0.05486 0.26354 0.05602 0.26315 0.05718 C 0.26263 0.05856 0.26198 0.05972 0.26146 0.06111 C 0.26107 0.06181 0.26094 0.06273 0.26055 0.06343 C 0.26016 0.06389 0.25964 0.06389 0.25911 0.06412 C 0.2569 0.07014 0.25977 0.06296 0.2569 0.06898 C 0.25664 0.06968 0.25638 0.0706 0.25599 0.0713 C 0.2556 0.07245 0.25521 0.07361 0.25469 0.07454 C 0.2543 0.07546 0.25378 0.07616 0.25339 0.07685 C 0.25299 0.07755 0.25286 0.07847 0.25247 0.0794 C 0.25143 0.08125 0.25039 0.0831 0.24935 0.08495 C 0.24857 0.08611 0.24792 0.08773 0.24714 0.08889 C 0.24648 0.08958 0.24583 0.09028 0.24531 0.0912 C 0.24479 0.09213 0.24453 0.09352 0.24401 0.09444 C 0.24323 0.0956 0.24219 0.09653 0.24128 0.09745 C 0.24089 0.09815 0.24036 0.09838 0.23997 0.09907 C 0.23802 0.10255 0.23919 0.10093 0.23646 0.10394 C 0.23477 0.1081 0.23633 0.10486 0.23333 0.10856 C 0.23255 0.10972 0.23177 0.11088 0.23099 0.11181 C 0.22969 0.11343 0.22812 0.11458 0.22708 0.11667 C 0.22617 0.11829 0.22552 0.12037 0.22435 0.1213 C 0.22253 0.12292 0.222 0.12315 0.22031 0.12616 C 0.21979 0.12708 0.21953 0.12847 0.21901 0.1294 C 0.21823 0.13056 0.21706 0.13125 0.21628 0.13241 C 0.21549 0.1338 0.21497 0.13588 0.21406 0.13727 C 0.21289 0.13912 0.21133 0.14028 0.21003 0.1419 C 0.20937 0.14306 0.20859 0.14421 0.20781 0.14514 C 0.20664 0.14676 0.20352 0.15 0.20208 0.15231 C 0.20156 0.15301 0.20117 0.15394 0.20065 0.15463 C 0.20026 0.15532 0.19974 0.15556 0.19935 0.15625 C 0.19883 0.15694 0.19844 0.15787 0.19805 0.15856 C 0.19544 0.1625 0.19648 0.16088 0.1944 0.16343 C 0.19349 0.16458 0.19075 0.16852 0.18997 0.16898 L 0.18867 0.16968 C 0.18802 0.1706 0.1875 0.17153 0.18685 0.17222 C 0.18516 0.17407 0.18516 0.17315 0.18372 0.17523 C 0.1832 0.17593 0.18294 0.17708 0.18242 0.17778 C 0.18151 0.17894 0.17969 0.18079 0.17969 0.18079 C 0.17943 0.18171 0.17917 0.18264 0.17878 0.18333 C 0.17839 0.18403 0.17747 0.18495 0.17747 0.18495 L 0.17747 0.18495 " pathEditMode="relative" ptsTypes="AAAAAAAAAAAAAAAAAAAAAAAAAAAAAAAAAAAAAAAAAAAAAAAAAAAAAAAAAAAAAAAAAAAAAAAAAAAAAAAAAAAAAAAAAAAAAAAAAAAAAAAAAAAAAAAAAAAAAAAAAAAAAAAAAAAAAAAAAAAAAAAAAAAAAAAAAAAAAAAAA">
                                      <p:cBhvr>
                                        <p:cTn id="12" dur="2500" fill="hold"/>
                                        <p:tgtEl>
                                          <p:spTgt spid="2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45833E-6 -3.7037E-7 L -1.45833E-6 -3.7037E-7 C 0.0013 0.00023 0.00261 0.00023 0.00391 0.00069 C 0.00443 0.00093 0.00482 0.00116 0.00534 0.00139 C 0.00586 0.00185 0.00651 0.00208 0.00703 0.00232 C 0.0086 0.00255 0.01003 0.00278 0.01159 0.00301 C 0.01211 0.00324 0.01276 0.0037 0.01328 0.00394 C 0.01419 0.00417 0.01589 0.00463 0.01693 0.00556 C 0.0211 0.00926 0.01406 0.00463 0.02097 0.00857 L 0.025 0.01111 L 0.0263 0.01181 C 0.02669 0.01204 0.02722 0.01227 0.02761 0.0125 C 0.02878 0.01366 0.02995 0.01505 0.03125 0.01574 L 0.03386 0.01736 L 0.03516 0.01806 C 0.03568 0.01875 0.03607 0.01944 0.03659 0.01968 C 0.03867 0.02153 0.03906 0.02107 0.04102 0.02222 C 0.04193 0.02269 0.04284 0.02315 0.04375 0.02361 L 0.04636 0.02523 L 0.04909 0.02685 C 0.04948 0.02708 0.05 0.02732 0.05039 0.02778 L 0.05443 0.03241 C 0.05482 0.03287 0.05521 0.0338 0.05573 0.03403 C 0.05886 0.03588 0.05495 0.03357 0.05886 0.03634 C 0.05925 0.03681 0.05977 0.03681 0.06016 0.03727 C 0.06485 0.04167 0.0612 0.03935 0.06419 0.0412 C 0.06472 0.0419 0.06511 0.04282 0.06563 0.04352 C 0.06654 0.04491 0.06823 0.0463 0.06914 0.04745 C 0.06966 0.04815 0.07005 0.04907 0.07044 0.05 C 0.07162 0.05162 0.07383 0.05417 0.075 0.05556 C 0.075 0.05556 0.07761 0.05857 0.07761 0.05857 C 0.0793 0.06157 0.07839 0.06065 0.08034 0.06181 C 0.08047 0.0625 0.08047 0.06366 0.08073 0.06412 C 0.08151 0.06551 0.08347 0.06736 0.08347 0.06736 C 0.08373 0.06806 0.08399 0.06898 0.08438 0.06968 C 0.08542 0.07199 0.08607 0.07269 0.0875 0.07454 C 0.08776 0.07523 0.08802 0.07616 0.08828 0.07685 C 0.0888 0.07778 0.08932 0.07824 0.08972 0.07917 C 0.08998 0.07986 0.08985 0.08102 0.09011 0.08171 C 0.09141 0.08588 0.09167 0.08588 0.09323 0.08889 C 0.09375 0.0919 0.09362 0.09213 0.09453 0.09514 C 0.09518 0.09676 0.0961 0.09815 0.09636 0.1 C 0.09701 0.10324 0.09649 0.10162 0.09818 0.10463 C 0.09961 0.11273 0.0974 0.10023 0.09909 0.11019 C 0.09935 0.11181 0.09974 0.11343 0.1 0.11505 C 0.10013 0.11597 0.10013 0.11713 0.10039 0.11806 C 0.10065 0.11898 0.10104 0.11968 0.1013 0.1206 C 0.10169 0.12176 0.10195 0.12477 0.10222 0.12616 C 0.103 0.13125 0.10261 0.12986 0.10391 0.13333 C 0.1043 0.13588 0.10443 0.13773 0.10482 0.14028 C 0.10495 0.1412 0.10521 0.1419 0.10534 0.14282 C 0.1056 0.14537 0.10599 0.14815 0.10625 0.15069 C 0.10638 0.15232 0.10638 0.15394 0.10664 0.15556 C 0.1069 0.15718 0.10664 0.16019 0.10755 0.16019 L 0.11693 0.16111 C 0.11745 0.16134 0.1181 0.16181 0.11875 0.16181 C 0.12331 0.16181 0.125 0.16204 0.12852 0.16019 C 0.1306 0.15926 0.1293 0.15972 0.13164 0.15787 C 0.13203 0.15741 0.13255 0.15741 0.13294 0.15694 C 0.13386 0.15278 0.13333 0.15579 0.13386 0.14907 C 0.13399 0.14745 0.13386 0.14583 0.13438 0.14444 C 0.1349 0.14236 0.13633 0.14144 0.13698 0.13958 L 0.13972 0.13241 C 0.13998 0.13171 0.14024 0.13079 0.14063 0.13009 C 0.14102 0.12917 0.14154 0.1287 0.14193 0.12778 C 0.14232 0.12662 0.14245 0.12546 0.14284 0.12454 C 0.14323 0.12361 0.14375 0.12292 0.14414 0.12222 C 0.14792 0.11366 0.14427 0.12037 0.14727 0.11505 C 0.14844 0.10857 0.14662 0.11667 0.14909 0.11111 C 0.14961 0.10949 0.14987 0.10787 0.15039 0.10625 C 0.15091 0.10463 0.15182 0.10324 0.15222 0.10139 C 0.15235 0.10069 0.15248 0.09977 0.15261 0.09907 C 0.15352 0.09607 0.15365 0.09699 0.15482 0.09444 C 0.15521 0.09352 0.15547 0.09259 0.15573 0.0919 C 0.15677 0.08982 0.15755 0.08889 0.15886 0.08727 C 0.15977 0.08241 0.1586 0.08704 0.16107 0.08333 C 0.16159 0.08264 0.16159 0.08148 0.16198 0.08079 C 0.16289 0.07917 0.1638 0.07778 0.16472 0.07616 C 0.16511 0.07523 0.1655 0.07431 0.16602 0.07361 C 0.16641 0.07315 0.16693 0.07269 0.16732 0.07222 C 0.17201 0.06482 0.16836 0.06944 0.17136 0.06574 C 0.17188 0.06435 0.17227 0.06319 0.17266 0.06181 C 0.17305 0.06088 0.17318 0.06019 0.17357 0.05949 C 0.17396 0.0588 0.17448 0.05833 0.175 0.05787 C 0.17552 0.05694 0.17617 0.05648 0.17669 0.05556 C 0.18021 0.04931 0.17565 0.05486 0.18034 0.05 C 0.18073 0.04884 0.18112 0.04769 0.18164 0.04676 C 0.18255 0.04514 0.1832 0.04491 0.18438 0.04444 C 0.18815 0.03982 0.18333 0.04514 0.18698 0.0419 C 0.19154 0.03796 0.18464 0.04306 0.19011 0.03889 C 0.19063 0.03843 0.19102 0.03843 0.19154 0.03796 C 0.19206 0.0375 0.19271 0.03681 0.19323 0.03634 C 0.1944 0.03542 0.19518 0.03542 0.19636 0.03472 C 0.19727 0.03426 0.19818 0.03357 0.19909 0.03333 C 0.19961 0.03287 0.20026 0.03264 0.20091 0.03241 C 0.2013 0.03218 0.20169 0.03171 0.20222 0.03171 C 0.20326 0.03125 0.2043 0.03125 0.20534 0.03079 C 0.20612 0.03056 0.20677 0.03032 0.20755 0.03009 C 0.2082 0.02986 0.20873 0.02963 0.20938 0.02917 C 0.21029 0.0287 0.21107 0.02801 0.21198 0.02778 C 0.21419 0.02708 0.21602 0.02662 0.21823 0.02523 C 0.22279 0.02269 0.21576 0.02662 0.22136 0.02361 C 0.22227 0.02315 0.22474 0.02153 0.22591 0.0213 C 0.22774 0.02083 0.22969 0.02083 0.23164 0.0206 C 0.23607 0.01852 0.23021 0.02107 0.23841 0.01898 C 0.2388 0.01875 0.23919 0.01829 0.23972 0.01806 C 0.24024 0.01782 0.24089 0.01759 0.24154 0.01736 C 0.24414 0.0162 0.24414 0.01644 0.24727 0.01574 C 0.24792 0.01551 0.24844 0.01528 0.24909 0.01505 C 0.24948 0.01482 0.25 0.01435 0.25039 0.01412 C 0.25143 0.01389 0.25248 0.01366 0.25352 0.01343 C 0.2543 0.01319 0.25508 0.01296 0.25573 0.0125 L 0.28607 0.01343 C 0.28672 0.01343 0.28737 0.01389 0.28789 0.01412 C 0.28893 0.01458 0.28998 0.01482 0.29102 0.01505 L 0.29375 0.01667 C 0.29414 0.0169 0.29453 0.01713 0.29505 0.01736 C 0.29597 0.01759 0.29688 0.01782 0.29779 0.01806 C 0.30065 0.01921 0.29831 0.01875 0.30169 0.01968 C 0.303 0.02014 0.30417 0.02037 0.30534 0.0206 C 0.30833 0.02222 0.30469 0.02014 0.30938 0.02222 C 0.30977 0.02222 0.31029 0.02269 0.31068 0.02292 C 0.31133 0.02315 0.31185 0.02338 0.3125 0.02361 C 0.31289 0.02384 0.31341 0.02431 0.3138 0.02454 C 0.31458 0.02477 0.31537 0.025 0.31602 0.02523 C 0.31693 0.02569 0.31784 0.02639 0.31875 0.02685 L 0.32044 0.02778 C 0.32227 0.02986 0.32201 0.02963 0.32448 0.03079 L 0.32813 0.03241 C 0.32852 0.03287 0.32891 0.03357 0.32943 0.03403 C 0.33034 0.03472 0.33138 0.03472 0.33216 0.03565 C 0.33255 0.03611 0.33294 0.03681 0.33347 0.03727 C 0.33399 0.03773 0.33464 0.03819 0.33529 0.03889 C 0.33581 0.03935 0.33607 0.04051 0.33659 0.0412 C 0.34115 0.04745 0.3375 0.0419 0.34102 0.04583 C 0.34167 0.04653 0.34232 0.04745 0.34284 0.04838 C 0.34323 0.04907 0.34323 0.05023 0.34375 0.05069 C 0.34427 0.05139 0.34492 0.05116 0.34544 0.05139 C 0.34636 0.05602 0.34531 0.05185 0.34727 0.05556 C 0.34766 0.05602 0.34779 0.05718 0.34818 0.05787 C 0.35078 0.06296 0.34987 0.06204 0.35222 0.06343 C 0.35261 0.06435 0.353 0.06551 0.35352 0.06667 C 0.35625 0.0713 0.35443 0.0669 0.35664 0.0706 C 0.3612 0.07778 0.35768 0.07338 0.36068 0.07685 C 0.36289 0.08287 0.36003 0.07546 0.36289 0.08171 C 0.36641 0.08912 0.36159 0.07917 0.36419 0.08634 C 0.36563 0.09005 0.3655 0.08727 0.36654 0.0912 C 0.36693 0.09259 0.3668 0.09444 0.36732 0.09583 C 0.36953 0.10162 0.36693 0.09444 0.36914 0.10139 C 0.37057 0.10579 0.36966 0.10185 0.37057 0.10625 C 0.37031 0.1081 0.36966 0.11296 0.36914 0.11412 C 0.36823 0.11644 0.36823 0.11713 0.36693 0.11898 C 0.36654 0.11944 0.36602 0.11991 0.36563 0.1206 C 0.36315 0.12685 0.36628 0.11921 0.36341 0.12454 C 0.36289 0.12546 0.3625 0.12662 0.36198 0.12778 C 0.36107 0.12963 0.36003 0.13171 0.35886 0.13333 C 0.35664 0.13611 0.35768 0.13495 0.35573 0.13727 C 0.35443 0.14074 0.35547 0.13866 0.35352 0.1412 C 0.34688 0.14977 0.35261 0.14282 0.34779 0.14838 C 0.34727 0.14884 0.34688 0.14931 0.34636 0.15 C 0.34583 0.15069 0.34518 0.15162 0.34466 0.15232 C 0.34401 0.15301 0.34336 0.15324 0.34284 0.15394 C 0.33945 0.16204 0.34362 0.15278 0.33972 0.15857 C 0.33854 0.16019 0.33776 0.16273 0.33659 0.16412 C 0.33438 0.16713 0.33542 0.16574 0.33347 0.16806 C 0.33112 0.17454 0.33425 0.1669 0.33125 0.17222 C 0.33073 0.17315 0.33034 0.17431 0.32982 0.17523 C 0.3293 0.17639 0.32865 0.17732 0.32813 0.17847 C 0.32761 0.1794 0.32722 0.18056 0.32669 0.18171 C 0.32591 0.18333 0.32487 0.18472 0.32409 0.18634 C 0.32018 0.1956 0.32513 0.18426 0.32136 0.1919 C 0.31914 0.19653 0.3211 0.19398 0.31875 0.19676 C 0.31576 0.20579 0.31914 0.19699 0.31563 0.20232 C 0.31524 0.20301 0.31511 0.20394 0.31472 0.20463 C 0.31432 0.20532 0.3138 0.20556 0.31341 0.20625 C 0.31276 0.20718 0.31224 0.20857 0.31159 0.20949 C 0.31107 0.21019 0.31029 0.21019 0.30977 0.21111 C 0.30847 0.21296 0.30742 0.21528 0.30625 0.21736 C 0.30573 0.21806 0.30547 0.21944 0.30482 0.21968 L 0.30352 0.2206 C 0.30143 0.22616 0.3043 0.21944 0.30039 0.22523 C 0.29883 0.22778 0.2974 0.23056 0.29597 0.23333 L 0.29414 0.23634 L 0.29284 0.23889 C 0.29219 0.23982 0.2918 0.2412 0.29102 0.2419 L 0.28972 0.24352 C 0.28776 0.24861 0.28998 0.24352 0.2875 0.24745 C 0.2862 0.24954 0.28503 0.25185 0.28386 0.25394 C 0.28347 0.25463 0.28268 0.25486 0.28216 0.25556 C 0.27904 0.2588 0.28164 0.25718 0.27904 0.25857 C 0.27826 0.25972 0.27748 0.26088 0.27669 0.26181 C 0.27604 0.26273 0.27526 0.26319 0.27448 0.26412 C 0.27396 0.26482 0.2737 0.26597 0.27318 0.26667 C 0.27279 0.26713 0.27227 0.26713 0.27188 0.26736 C 0.2668 0.27153 0.27005 0.26991 0.26602 0.2713 C 0.26224 0.27593 0.26706 0.27037 0.26341 0.27361 C 0.26289 0.27407 0.2625 0.275 0.26198 0.27523 C 0.26159 0.27569 0.26107 0.27569 0.26068 0.27616 C 0.25794 0.27824 0.25977 0.27708 0.25755 0.27917 C 0.25703 0.27986 0.25638 0.28032 0.25573 0.28079 C 0.25534 0.28125 0.25482 0.28194 0.25443 0.28241 C 0.25365 0.28333 0.25222 0.28495 0.25222 0.28495 L 0.25222 0.28495 " pathEditMode="relative" ptsTypes="AAAAAAAAAAAAAAAAAAAAAAAAAAAAAAAAAAAAAAAAAAAAAAAAAAAAAAAAAAAAAAAAAAAAAAAAAAAAAAAAAAAAAAAAAAAAAAAAAAAAAAAAAAAAAAAAAAAAAAAAAAAAAAAAAAAAAAAAAAAAAAAAAAAAAAAAAAAAAAAAAAAAAAAAAAAAAAAAAAAAAAAAAAAAAAAAAAAAAAAAAAA">
                                      <p:cBhvr>
                                        <p:cTn id="17" dur="25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0117 -0.0037 L -0.00117 -0.0037 C -0.00013 -0.00509 0.00078 -0.00671 0.00195 -0.00764 C 0.00274 -0.00856 0.00365 -0.00879 0.00456 -0.00926 L 0.00586 -0.01018 C 0.00638 -0.01088 0.00677 -0.0118 0.00729 -0.0125 C 0.00768 -0.01296 0.0082 -0.01296 0.0086 -0.01319 C 0.0125 -0.0162 0.0086 -0.01389 0.01172 -0.01574 C 0.01211 -0.01643 0.0125 -0.01736 0.01302 -0.01805 C 0.01419 -0.01967 0.01485 -0.01967 0.01615 -0.02129 C 0.01862 -0.02361 0.01641 -0.02222 0.01888 -0.02361 C 0.01927 -0.02407 0.02136 -0.02685 0.02201 -0.02754 C 0.0224 -0.02801 0.02292 -0.02801 0.02331 -0.02824 C 0.02774 -0.0324 0.02096 -0.02731 0.02643 -0.03148 C 0.02682 -0.03194 0.02735 -0.03194 0.02774 -0.0324 C 0.02852 -0.0331 0.0293 -0.03402 0.03008 -0.03472 C 0.03086 -0.03541 0.03412 -0.0375 0.0349 -0.03796 C 0.03555 -0.03819 0.03607 -0.03842 0.03672 -0.03865 C 0.03763 -0.03912 0.03841 -0.03981 0.03945 -0.04027 C 0.04063 -0.04074 0.0418 -0.0412 0.04297 -0.0419 C 0.04336 -0.04213 0.04388 -0.04236 0.04427 -0.04259 C 0.04505 -0.04305 0.04583 -0.04305 0.04649 -0.04352 C 0.0474 -0.04375 0.04831 -0.04444 0.04922 -0.0449 C 0.04961 -0.04537 0.05013 -0.0456 0.05052 -0.04583 C 0.0513 -0.04606 0.05208 -0.04629 0.05274 -0.04652 C 0.05339 -0.04676 0.05391 -0.04722 0.05456 -0.04745 C 0.05586 -0.04791 0.0582 -0.04838 0.05951 -0.04907 C 0.06029 -0.0493 0.06289 -0.05115 0.06393 -0.05139 C 0.06641 -0.05185 0.06901 -0.05185 0.07149 -0.05208 C 0.07253 -0.05254 0.07461 -0.05347 0.07552 -0.0537 C 0.07774 -0.05416 0.08008 -0.05416 0.08229 -0.05463 C 0.08281 -0.05486 0.08346 -0.05532 0.08399 -0.05532 C 0.10703 -0.05532 0.10195 -0.05602 0.11393 -0.0537 L 0.11927 -0.05046 C 0.1207 -0.04977 0.12149 -0.0493 0.12292 -0.04815 C 0.12409 -0.04722 0.12513 -0.04583 0.12643 -0.0449 C 0.13047 -0.04259 0.12409 -0.04629 0.13008 -0.04352 C 0.13086 -0.04305 0.13177 -0.04236 0.13268 -0.0419 C 0.13268 -0.0419 0.13542 -0.04027 0.13542 -0.04027 C 0.13581 -0.03981 0.1362 -0.03912 0.13672 -0.03865 C 0.13763 -0.03773 0.13932 -0.0375 0.14024 -0.03703 C 0.14089 -0.0368 0.14154 -0.03657 0.14206 -0.03634 C 0.14297 -0.03588 0.14388 -0.03518 0.14479 -0.03472 C 0.1457 -0.03426 0.14701 -0.03379 0.14792 -0.0331 C 0.14844 -0.03264 0.14909 -0.03217 0.14961 -0.03148 C 0.15013 -0.03102 0.15052 -0.03032 0.15104 -0.02986 C 0.15169 -0.02916 0.15248 -0.02847 0.15326 -0.02754 C 0.15456 -0.02569 0.15586 -0.02361 0.15729 -0.02199 C 0.15768 -0.02152 0.1582 -0.02106 0.1586 -0.02037 C 0.15964 -0.01875 0.16055 -0.0162 0.16172 -0.01481 C 0.16602 -0.00972 0.15925 -0.01782 0.16485 -0.01088 C 0.16576 -0.00972 0.16654 -0.00833 0.16758 -0.00764 C 0.16836 -0.00717 0.16927 -0.00648 0.17018 -0.00602 C 0.1707 -0.00578 0.17266 -0.00509 0.17331 -0.00463 C 0.1763 -0.00185 0.17305 -0.00416 0.17604 -0.00046 C 0.17643 -2.96296E-6 0.17695 -0.00023 0.17735 0.00023 C 0.17787 0.0007 0.18021 0.00371 0.18047 0.00417 C 0.18138 0.00579 0.18242 0.00718 0.1832 0.00903 C 0.1836 0.00996 0.18399 0.01111 0.18451 0.01204 C 0.18503 0.01297 0.18568 0.01366 0.18633 0.01459 C 0.18711 0.01898 0.1862 0.01505 0.18763 0.01922 C 0.18789 0.02037 0.18802 0.02153 0.18854 0.02246 C 0.18893 0.02338 0.18971 0.02408 0.19024 0.02477 C 0.19232 0.03033 0.18985 0.02361 0.19258 0.03125 C 0.19336 0.03357 0.19375 0.03449 0.19479 0.03681 C 0.19492 0.03797 0.19492 0.03935 0.19518 0.04074 C 0.19557 0.04306 0.19688 0.04584 0.1974 0.04792 C 0.1987 0.05255 0.19662 0.04815 0.19922 0.05255 C 0.20078 0.06135 0.19818 0.04815 0.20052 0.05741 C 0.20091 0.0588 0.20117 0.06065 0.20143 0.06204 C 0.20156 0.06297 0.20169 0.06366 0.20195 0.06459 C 0.20221 0.06551 0.20235 0.06667 0.20274 0.0676 C 0.20313 0.06852 0.20378 0.06922 0.20417 0.07014 C 0.20482 0.07153 0.20586 0.07477 0.20586 0.07477 C 0.20755 0.08357 0.20495 0.07037 0.20729 0.07963 C 0.20768 0.08102 0.20781 0.08287 0.2082 0.08426 L 0.20899 0.08912 C 0.20925 0.08982 0.20912 0.09098 0.20951 0.09144 L 0.21081 0.09398 C 0.21094 0.09468 0.21107 0.0956 0.21133 0.0963 C 0.21146 0.09676 0.2138 0.10324 0.21445 0.10417 C 0.21471 0.10486 0.21524 0.10556 0.21576 0.10579 C 0.21732 0.10648 0.21901 0.10625 0.2207 0.10648 C 0.2211 0.10695 0.22149 0.10741 0.22201 0.10741 C 0.22396 0.10741 0.22591 0.10718 0.22774 0.10648 C 0.22956 0.10602 0.2319 0.10394 0.2332 0.10185 C 0.2349 0.09885 0.23399 0.1 0.23581 0.09792 C 0.2375 0.09329 0.23568 0.09746 0.23802 0.09398 C 0.2418 0.0882 0.23815 0.09283 0.24115 0.08912 C 0.24154 0.08843 0.24167 0.0875 0.24206 0.08681 C 0.24245 0.08588 0.2431 0.08519 0.24336 0.08426 C 0.24362 0.08357 0.24362 0.08264 0.24388 0.08195 C 0.24414 0.08102 0.2444 0.08033 0.24479 0.07963 C 0.24583 0.07153 0.24427 0.08148 0.2461 0.07315 C 0.24727 0.06736 0.24557 0.07246 0.2474 0.0676 C 0.24753 0.06667 0.24766 0.06551 0.24792 0.06459 C 0.2487 0.06111 0.24935 0.05857 0.25052 0.05579 C 0.25104 0.05463 0.25143 0.05371 0.25195 0.05255 C 0.25235 0.05023 0.25221 0.05 0.25326 0.04792 C 0.25365 0.04699 0.25417 0.0463 0.25456 0.04537 C 0.25521 0.04398 0.25573 0.04236 0.25638 0.04074 C 0.25664 0.03982 0.2569 0.03889 0.25729 0.03843 C 0.2582 0.03681 0.25912 0.03542 0.2599 0.03357 C 0.26159 0.02963 0.26068 0.03102 0.26263 0.02871 C 0.26367 0.02639 0.26432 0.02338 0.26576 0.02176 C 0.26836 0.01806 0.26693 0.01991 0.27018 0.01621 C 0.27123 0.01343 0.2711 0.0132 0.27292 0.01135 C 0.27331 0.01088 0.27383 0.01088 0.27422 0.01065 C 0.27878 0.00602 0.27526 0.00834 0.27826 0.00648 C 0.28151 0.00093 0.27865 0.00556 0.28138 0.00185 C 0.28203 0.00093 0.28386 -0.00208 0.2849 -0.00301 C 0.28529 -0.00324 0.28581 -0.00347 0.28633 -0.0037 C 0.29037 -0.00926 0.28581 -0.00324 0.28985 -0.00764 C 0.29076 -0.00879 0.29154 -0.00995 0.29258 -0.01088 C 0.2931 -0.01157 0.29375 -0.0118 0.29427 -0.0125 C 0.29518 -0.01342 0.29701 -0.01574 0.29701 -0.01574 C 0.29727 -0.01643 0.2974 -0.01736 0.29792 -0.01805 C 0.29818 -0.01852 0.29883 -0.01852 0.29922 -0.01875 C 0.29974 -0.01921 0.30013 -0.01967 0.30052 -0.02037 C 0.30274 -0.02361 0.30091 -0.02222 0.30326 -0.02361 C 0.30755 -0.0294 0.30208 -0.02245 0.30768 -0.02754 C 0.30833 -0.02801 0.30886 -0.0287 0.30951 -0.02916 C 0.31042 -0.02986 0.31172 -0.03032 0.31263 -0.03078 C 0.31927 -0.03773 0.3112 -0.02986 0.31667 -0.03379 C 0.31706 -0.03426 0.31745 -0.03495 0.31797 -0.03541 C 0.31836 -0.03588 0.31888 -0.03588 0.31927 -0.03634 C 0.32018 -0.03703 0.3211 -0.03796 0.32201 -0.03865 C 0.32266 -0.03912 0.32344 -0.03912 0.32422 -0.03935 C 0.32513 -0.03981 0.32604 -0.04051 0.32695 -0.04097 L 0.32826 -0.0419 C 0.32865 -0.04213 0.32917 -0.04259 0.32956 -0.04259 C 0.33333 -0.04375 0.33138 -0.04328 0.33542 -0.04421 L 0.33802 -0.04583 L 0.33945 -0.04652 L 0.38177 -0.04583 C 0.39115 -0.0456 0.38503 -0.04606 0.38893 -0.04421 C 0.38985 -0.04375 0.39193 -0.04328 0.39297 -0.04259 C 0.39401 -0.0419 0.39505 -0.04097 0.3961 -0.04027 C 0.39766 -0.03912 0.39792 -0.03958 0.39961 -0.03796 C 0.41406 -0.02407 0.39492 -0.0412 0.40586 -0.03148 C 0.40638 -0.03078 0.40677 -0.02986 0.40729 -0.02916 C 0.40768 -0.0287 0.4082 -0.0287 0.4086 -0.02824 C 0.41081 -0.02662 0.41016 -0.02662 0.41263 -0.02523 C 0.41745 -0.02245 0.41471 -0.02453 0.41836 -0.02268 C 0.41888 -0.02268 0.41927 -0.02222 0.41979 -0.02199 C 0.42044 -0.02176 0.42123 -0.02152 0.42201 -0.02129 C 0.4224 -0.02106 0.42292 -0.0206 0.42331 -0.02037 C 0.42409 -0.02014 0.42487 -0.0199 0.42552 -0.01967 C 0.42604 -0.01898 0.42643 -0.01852 0.42695 -0.01805 C 0.42774 -0.01736 0.42917 -0.0169 0.43008 -0.01643 C 0.43464 -0.01365 0.43034 -0.0162 0.4336 -0.01319 C 0.43425 -0.01273 0.43503 -0.01227 0.43581 -0.01157 C 0.4362 -0.01134 0.43672 -0.01134 0.43711 -0.01088 C 0.43763 -0.01041 0.43802 -0.00972 0.43854 -0.00926 C 0.44024 -0.0074 0.44076 -0.00764 0.44258 -0.00532 C 0.44297 -0.00463 0.44336 -0.0037 0.44388 -0.00301 C 0.44701 0.00116 0.44505 -0.00208 0.44792 0.00093 C 0.45313 0.00695 0.44922 0.00278 0.45235 0.00741 C 0.45287 0.00834 0.45365 0.0088 0.45417 0.00973 C 0.45469 0.01065 0.45495 0.01204 0.45547 0.01297 C 0.45612 0.01412 0.45703 0.01505 0.45768 0.01621 C 0.45833 0.01713 0.45899 0.01806 0.45951 0.01922 C 0.46003 0.0206 0.46016 0.02223 0.46081 0.02315 C 0.46133 0.02408 0.46198 0.02431 0.46263 0.02477 C 0.46576 0.03172 0.46289 0.02616 0.46615 0.03125 C 0.46667 0.03195 0.46706 0.03264 0.46758 0.03357 C 0.46784 0.03426 0.46797 0.03542 0.46836 0.03588 C 0.46875 0.03658 0.46927 0.03658 0.46979 0.03681 C 0.47044 0.03843 0.4711 0.04005 0.47201 0.04144 C 0.47461 0.04607 0.47214 0.03959 0.47461 0.04537 C 0.47526 0.04699 0.47643 0.05023 0.47643 0.05023 C 0.47656 0.05278 0.47695 0.05556 0.47695 0.0581 C 0.47695 0.05949 0.47604 0.06204 0.47552 0.06297 C 0.47513 0.06366 0.47461 0.06389 0.47422 0.06459 C 0.47383 0.06574 0.47344 0.06736 0.47292 0.06852 C 0.47175 0.07084 0.47031 0.07246 0.46927 0.07477 C 0.46888 0.07593 0.46849 0.07709 0.46797 0.07801 C 0.46745 0.07894 0.46667 0.0794 0.46615 0.08033 C 0.46498 0.08264 0.46445 0.08588 0.46302 0.0875 C 0.46003 0.09121 0.46367 0.08658 0.4599 0.09236 C 0.45951 0.09283 0.45899 0.09329 0.4586 0.09398 C 0.45768 0.09537 0.4569 0.09723 0.45586 0.09861 C 0.45534 0.09954 0.45469 0.10023 0.45417 0.10093 C 0.45287 0.10301 0.45195 0.10579 0.45052 0.10741 C 0.44987 0.1081 0.44896 0.1088 0.44831 0.10973 C 0.44766 0.11065 0.44714 0.11204 0.44649 0.11297 C 0.4461 0.11366 0.44557 0.11389 0.44518 0.11459 C 0.44466 0.11528 0.4444 0.11621 0.44388 0.1169 C 0.44349 0.1176 0.44297 0.11783 0.44258 0.11852 C 0.44206 0.11922 0.44167 0.12014 0.44115 0.12084 C 0.44063 0.12176 0.43998 0.12246 0.43945 0.12315 C 0.43893 0.12408 0.43854 0.12477 0.43802 0.1257 C 0.43737 0.12662 0.43659 0.12778 0.43581 0.12871 C 0.43516 0.12986 0.43477 0.13102 0.43399 0.13195 C 0.43346 0.13264 0.43281 0.13287 0.43229 0.13357 C 0.43177 0.13426 0.43138 0.13519 0.43086 0.13588 C 0.43034 0.13681 0.42969 0.1375 0.42917 0.13843 C 0.42878 0.13912 0.42865 0.14005 0.42826 0.14074 C 0.42708 0.14236 0.42461 0.14468 0.42461 0.14468 C 0.42253 0.15047 0.42539 0.14352 0.42201 0.14861 C 0.4207 0.15047 0.41966 0.15278 0.41836 0.1551 C 0.41797 0.15556 0.41784 0.15672 0.41758 0.15741 C 0.41654 0.15926 0.41576 0.16181 0.41445 0.16297 C 0.4138 0.16343 0.41315 0.16389 0.41263 0.16459 C 0.41016 0.16783 0.41107 0.16852 0.4086 0.17246 C 0.40807 0.17315 0.40742 0.17338 0.40677 0.17408 C 0.40612 0.17477 0.4056 0.17547 0.40508 0.17639 C 0.40091 0.1838 0.40794 0.17338 0.40274 0.18125 C 0.4013 0.18334 0.40039 0.18426 0.39883 0.18588 C 0.39688 0.19074 0.39831 0.18773 0.39427 0.19468 L 0.39427 0.19468 C 0.39388 0.19584 0.39349 0.19699 0.39297 0.19792 C 0.39219 0.19885 0.39115 0.19954 0.39024 0.20023 C 0.38867 0.20463 0.39037 0.20093 0.38763 0.20417 C 0.38685 0.2051 0.3862 0.20648 0.38542 0.20741 C 0.38425 0.20857 0.38177 0.21065 0.38177 0.21065 C 0.38151 0.21135 0.38138 0.21227 0.38086 0.21297 C 0.37982 0.21459 0.37865 0.21459 0.37735 0.21528 C 0.37292 0.2176 0.37643 0.21644 0.37149 0.2176 C 0.37018 0.21852 0.36953 0.21898 0.36797 0.21922 C 0.35755 0.2213 0.35768 0.21482 0.35768 0.22176 L 0.35768 0.22176 " pathEditMode="relative" ptsTypes="AAAAAAAAAAAAAAAAAAAAAAAAAAAAAAAAAAAAAAAAAAAAAAAAAAAAAAAAAAAAAAAAAAAAAAAAAAAAAAAAAAAAAAAAAAAAAAAAAAAAAAAAAAAAAAAAAAAAAAAAAAAAAAAAAAAAAAAAAAAAAAAAAAAAAAAAAAAAAAAAAAAAAAAAAAAAAAAAAAAAAAAAAAAAAAAAAAAAAAAAAAAAAAAAAAAAAAAAAAAAAA">
                                      <p:cBhvr>
                                        <p:cTn id="22" dur="2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0" presetClass="path" presetSubtype="0" accel="50000" decel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0.00143 -0.00348 L 0.00143 -0.00348 C 0.00182 -0.00625 0.00235 -0.0088 0.00274 -0.01135 C 0.00287 -0.0125 0.003 -0.01366 0.00313 -0.01459 C 0.00313 -0.01459 0.0043 -0.02061 0.00456 -0.02176 C 0.00469 -0.02246 0.00482 -0.02338 0.00495 -0.02408 C 0.00508 -0.0257 0.00534 -0.02894 0.00586 -0.03056 C 0.00612 -0.03125 0.00638 -0.03218 0.00677 -0.03287 C 0.00742 -0.03681 0.00742 -0.0375 0.00846 -0.04074 C 0.00873 -0.04167 0.00925 -0.04236 0.00938 -0.04329 C 0.00977 -0.04468 0.01003 -0.0463 0.01029 -0.04792 L 0.0112 -0.05278 C 0.0112 -0.05278 0.01211 -0.05741 0.01211 -0.05741 L 0.01302 -0.05973 C 0.01328 -0.06273 0.01354 -0.06598 0.01432 -0.06852 C 0.01706 -0.07824 0.01354 -0.06621 0.01615 -0.07408 C 0.01641 -0.07523 0.01667 -0.07616 0.01706 -0.07732 C 0.01732 -0.07801 0.01758 -0.07894 0.01784 -0.07963 C 0.01862 -0.08172 0.0194 -0.0838 0.02018 -0.08611 C 0.02044 -0.08681 0.02083 -0.0875 0.02096 -0.08843 C 0.02162 -0.09028 0.02201 -0.09236 0.02279 -0.09398 C 0.02318 -0.09491 0.0237 -0.09537 0.02409 -0.0963 C 0.02448 -0.09699 0.02474 -0.09792 0.025 -0.09861 C 0.02526 -0.09954 0.02513 -0.10047 0.02552 -0.10116 C 0.02578 -0.10186 0.02643 -0.10209 0.02682 -0.10278 C 0.02735 -0.10348 0.02774 -0.10417 0.02813 -0.1051 C 0.02826 -0.10579 0.02826 -0.10672 0.02865 -0.10741 C 0.02891 -0.10811 0.02956 -0.10834 0.02995 -0.10903 C 0.03047 -0.10973 0.03086 -0.11065 0.03125 -0.11135 C 0.03164 -0.11204 0.03177 -0.1132 0.03216 -0.11389 C 0.03255 -0.11436 0.03307 -0.11459 0.03346 -0.11528 C 0.03399 -0.11621 0.03438 -0.1176 0.0349 -0.11852 C 0.03529 -0.11922 0.03581 -0.11945 0.0362 -0.12014 C 0.03958 -0.12523 0.03555 -0.12014 0.03893 -0.12408 C 0.04089 -0.12963 0.03958 -0.12824 0.04206 -0.12963 C 0.04245 -0.1301 0.04284 -0.13056 0.04336 -0.13125 C 0.04453 -0.13287 0.04544 -0.13519 0.04688 -0.13588 L 0.04831 -0.13681 C 0.0487 -0.1375 0.04909 -0.13843 0.04961 -0.13912 C 0.05013 -0.13982 0.05078 -0.14005 0.05143 -0.14074 C 0.05235 -0.14167 0.05326 -0.14283 0.05404 -0.14398 C 0.05794 -0.14908 0.05625 -0.14792 0.05899 -0.14954 C 0.06237 -0.15348 0.05807 -0.14885 0.06211 -0.15186 C 0.06263 -0.15232 0.06289 -0.15301 0.06341 -0.15348 C 0.06432 -0.15417 0.06524 -0.15417 0.06615 -0.1551 C 0.06667 -0.15556 0.06732 -0.15625 0.06784 -0.15672 C 0.06875 -0.15718 0.06966 -0.15764 0.07057 -0.15811 C 0.07253 -0.15926 0.07149 -0.1588 0.0737 -0.15973 C 0.07748 -0.16436 0.07266 -0.1588 0.07643 -0.16227 C 0.07682 -0.1625 0.07721 -0.16343 0.07774 -0.16366 C 0.07839 -0.16412 0.07917 -0.16436 0.07995 -0.16459 C 0.08034 -0.16505 0.08073 -0.16574 0.08125 -0.16621 C 0.0819 -0.16667 0.08242 -0.16667 0.08307 -0.1669 C 0.0875 -0.16922 0.0806 -0.16598 0.0862 -0.16852 C 0.08828 -0.17107 0.08698 -0.16991 0.09024 -0.17176 L 0.09557 -0.17477 L 0.09831 -0.17639 L 0.09961 -0.17732 C 0.10221 -0.18033 0.1 -0.17824 0.10495 -0.17963 C 0.1056 -0.17986 0.10612 -0.18033 0.10677 -0.18033 C 0.1082 -0.18079 0.10977 -0.18079 0.1112 -0.18125 C 0.11953 -0.18287 0.10833 -0.18102 0.11836 -0.18287 C 0.125 -0.18403 0.12123 -0.18287 0.12591 -0.18426 C 0.13216 -0.18403 0.13841 -0.18426 0.14466 -0.18357 C 0.1543 -0.18264 0.14323 -0.18195 0.15091 -0.18033 C 0.15495 -0.17963 0.15612 -0.1794 0.16029 -0.17801 C 0.16107 -0.17778 0.16185 -0.17755 0.1625 -0.17732 C 0.16341 -0.17686 0.16432 -0.17639 0.16524 -0.1757 C 0.16628 -0.17477 0.16719 -0.17385 0.16836 -0.17338 C 0.17018 -0.17246 0.17149 -0.17246 0.17331 -0.17176 C 0.17422 -0.1713 0.17513 -0.17107 0.17591 -0.17014 C 0.17708 -0.16875 0.17774 -0.16783 0.17904 -0.1669 C 0.17969 -0.16644 0.18021 -0.16644 0.18086 -0.16621 C 0.18125 -0.16551 0.18177 -0.16505 0.18216 -0.16459 C 0.18255 -0.16412 0.18307 -0.16412 0.1836 -0.16366 C 0.18789 -0.15949 0.18451 -0.16135 0.18802 -0.15973 C 0.18893 -0.1588 0.18985 -0.15787 0.19063 -0.15672 C 0.19128 -0.15579 0.1918 -0.15486 0.19245 -0.15417 C 0.19284 -0.15371 0.19336 -0.15371 0.19375 -0.15348 L 0.19649 -0.15023 L 0.19779 -0.14861 C 0.19818 -0.14769 0.19818 -0.1463 0.1987 -0.14561 C 0.19909 -0.14491 0.19961 -0.14514 0.2 -0.14468 C 0.20065 -0.14422 0.2013 -0.14375 0.20182 -0.14306 C 0.20235 -0.14236 0.20274 -0.14144 0.20313 -0.14074 C 0.20404 -0.13959 0.20495 -0.13866 0.20586 -0.1375 C 0.20625 -0.13704 0.20664 -0.13635 0.20716 -0.13588 L 0.2086 -0.13519 C 0.20886 -0.13449 0.20899 -0.13334 0.20938 -0.13287 C 0.20977 -0.13218 0.21029 -0.13241 0.21081 -0.13195 C 0.2112 -0.13148 0.21172 -0.13102 0.21211 -0.13033 C 0.2125 -0.1294 0.21289 -0.12801 0.21341 -0.12732 C 0.2138 -0.12662 0.21445 -0.12709 0.21485 -0.12639 C 0.21537 -0.1257 0.21563 -0.12431 0.21615 -0.12338 C 0.21654 -0.12269 0.21706 -0.12246 0.21745 -0.12176 C 0.22253 -0.11273 0.2155 -0.12408 0.21966 -0.11528 C 0.22018 -0.11436 0.22083 -0.11389 0.22149 -0.11297 C 0.22175 -0.11204 0.22318 -0.10602 0.22422 -0.10417 C 0.225 -0.10255 0.22617 -0.10139 0.22682 -0.09954 C 0.228 -0.09653 0.22721 -0.09746 0.22904 -0.0963 C 0.22943 -0.09537 0.22956 -0.09398 0.22995 -0.09306 C 0.23034 -0.09236 0.23099 -0.09236 0.23125 -0.09167 C 0.23373 -0.08611 0.2293 -0.09213 0.23307 -0.0875 C 0.2336 -0.08496 0.2336 -0.08473 0.23438 -0.08195 C 0.23464 -0.08125 0.2349 -0.08033 0.23529 -0.07963 C 0.23568 -0.07894 0.2362 -0.07871 0.23672 -0.07801 C 0.23698 -0.07709 0.23737 -0.07593 0.2375 -0.075 C 0.23789 -0.07338 0.23802 -0.07153 0.23841 -0.07014 C 0.23971 -0.06551 0.23919 -0.06806 0.24024 -0.06227 C 0.24037 -0.06135 0.24063 -0.06065 0.24063 -0.05973 C 0.24089 -0.0588 0.24089 -0.05764 0.24115 -0.05672 C 0.24245 -0.05186 0.24284 -0.05278 0.24427 -0.04885 C 0.24466 -0.04769 0.24492 -0.04676 0.24518 -0.04561 C 0.24544 -0.04398 0.24557 -0.04213 0.2461 -0.04074 L 0.24688 -0.03843 C 0.24727 -0.03635 0.2474 -0.03403 0.24779 -0.03218 L 0.2487 -0.02732 C 0.24883 -0.02662 0.24909 -0.0257 0.24922 -0.025 C 0.24935 -0.02385 0.24935 -0.02269 0.24961 -0.02176 C 0.24974 -0.02107 0.25169 -0.01783 0.25235 -0.01783 C 0.25599 -0.01713 0.25977 -0.01736 0.26341 -0.0169 L 0.28216 -0.01783 C 0.28294 -0.01783 0.28373 -0.01806 0.28438 -0.01852 C 0.28672 -0.01991 0.28555 -0.01991 0.2875 -0.02176 C 0.29128 -0.025 0.28646 -0.01968 0.29024 -0.02408 C 0.29037 -0.02523 0.2905 -0.02639 0.29063 -0.02732 C 0.29141 -0.03056 0.2918 -0.02917 0.29297 -0.03218 C 0.29336 -0.03311 0.29349 -0.03426 0.29375 -0.03519 C 0.29414 -0.03658 0.2944 -0.03797 0.29466 -0.03912 C 0.29492 -0.04005 0.29531 -0.04074 0.29557 -0.04167 C 0.2961 -0.04306 0.29649 -0.04491 0.29688 -0.0463 C 0.29727 -0.04746 0.29792 -0.04838 0.29831 -0.04954 C 0.29857 -0.05047 0.29883 -0.05162 0.29922 -0.05278 C 0.29961 -0.05371 0.30013 -0.05486 0.30052 -0.05579 C 0.30091 -0.05695 0.30091 -0.05811 0.30143 -0.05903 C 0.30169 -0.05973 0.30235 -0.05996 0.30274 -0.06065 C 0.30326 -0.06135 0.30365 -0.06227 0.30404 -0.06297 C 0.30625 -0.0676 0.30443 -0.06505 0.30677 -0.06783 L 0.3086 -0.07246 C 0.30886 -0.07338 0.30912 -0.07431 0.30938 -0.075 C 0.3099 -0.0757 0.31042 -0.07639 0.31081 -0.07732 C 0.31146 -0.07871 0.31224 -0.08033 0.3125 -0.08195 C 0.31276 -0.08287 0.31276 -0.0838 0.31302 -0.08449 C 0.31341 -0.08565 0.31393 -0.08658 0.31432 -0.0875 C 0.31485 -0.08982 0.31485 -0.09098 0.31563 -0.09306 C 0.31615 -0.09422 0.31654 -0.09514 0.31706 -0.0963 C 0.31758 -0.09792 0.31823 -0.09954 0.31875 -0.10116 C 0.31875 -0.10116 0.32057 -0.10579 0.32057 -0.10579 C 0.3211 -0.10672 0.32162 -0.10741 0.32188 -0.10834 C 0.32266 -0.10973 0.32318 -0.11135 0.3237 -0.11297 L 0.32461 -0.11528 C 0.32487 -0.11621 0.32526 -0.1169 0.32552 -0.11783 C 0.32578 -0.11875 0.32604 -0.11991 0.32643 -0.12084 C 0.32695 -0.12246 0.32761 -0.12408 0.32813 -0.1257 C 0.32852 -0.12639 0.32865 -0.12755 0.32904 -0.12801 C 0.3319 -0.13148 0.32878 -0.12732 0.33216 -0.13287 C 0.33281 -0.1338 0.33346 -0.13426 0.33399 -0.13519 C 0.33477 -0.13658 0.33607 -0.14028 0.33711 -0.14144 C 0.3375 -0.1419 0.33802 -0.1419 0.33841 -0.14236 C 0.34388 -0.14653 0.33711 -0.14144 0.34154 -0.14561 C 0.34206 -0.14584 0.34245 -0.14607 0.34297 -0.1463 C 0.34362 -0.14676 0.3444 -0.14723 0.34518 -0.14792 C 0.34792 -0.15023 0.34492 -0.14908 0.3487 -0.15116 C 0.34948 -0.15139 0.35026 -0.15162 0.35091 -0.15186 C 0.35221 -0.15232 0.35339 -0.15278 0.35456 -0.15348 C 0.35547 -0.15394 0.35638 -0.15417 0.35716 -0.1551 C 0.35768 -0.15556 0.35807 -0.15625 0.3586 -0.15672 C 0.35899 -0.15695 0.35938 -0.15718 0.3599 -0.15741 C 0.36094 -0.15787 0.36211 -0.15834 0.36302 -0.15903 C 0.36719 -0.16227 0.36419 -0.16088 0.36797 -0.16227 C 0.37214 -0.16598 0.36693 -0.16135 0.3724 -0.16528 C 0.37318 -0.16598 0.37383 -0.16644 0.37461 -0.1669 C 0.37578 -0.1676 0.37695 -0.16806 0.37826 -0.16852 C 0.37878 -0.16875 0.37943 -0.16898 0.37995 -0.16922 L 0.38138 -0.17014 C 0.3836 -0.17292 0.38164 -0.17084 0.3849 -0.17246 C 0.39024 -0.175 0.38464 -0.17338 0.39115 -0.17477 C 0.3918 -0.17523 0.39232 -0.17547 0.39297 -0.1757 C 0.39336 -0.17593 0.39375 -0.17616 0.39427 -0.17639 C 0.39505 -0.17686 0.3957 -0.17709 0.39649 -0.17732 L 0.41797 -0.17639 C 0.41836 -0.17639 0.41888 -0.17593 0.41927 -0.1757 C 0.41992 -0.17547 0.42044 -0.17523 0.4211 -0.17477 C 0.42201 -0.17431 0.4237 -0.17338 0.4237 -0.17338 C 0.42422 -0.17269 0.42461 -0.17223 0.42513 -0.17176 C 0.42565 -0.17084 0.42617 -0.16991 0.42682 -0.16922 C 0.42721 -0.16898 0.42774 -0.16875 0.42826 -0.16852 C 0.42865 -0.16783 0.42904 -0.16667 0.42956 -0.16621 C 0.42995 -0.16574 0.43047 -0.16598 0.43086 -0.16528 C 0.4332 -0.16204 0.43008 -0.16366 0.43307 -0.16065 C 0.4336 -0.15996 0.43425 -0.15996 0.4349 -0.15973 C 0.43789 -0.1544 0.43412 -0.16088 0.43893 -0.15348 C 0.43932 -0.15278 0.43971 -0.15186 0.44024 -0.15116 C 0.44063 -0.15047 0.44115 -0.15 0.44154 -0.14954 C 0.44219 -0.14861 0.44271 -0.14792 0.44336 -0.14699 C 0.44427 -0.14607 0.44531 -0.14537 0.4461 -0.14398 C 0.44714 -0.1419 0.4474 -0.14121 0.4487 -0.14005 C 0.44987 -0.13889 0.45117 -0.1382 0.45235 -0.13681 C 0.45404 -0.13473 0.45313 -0.13542 0.45495 -0.13449 L 0.4586 -0.13033 C 0.45925 -0.12963 0.46081 -0.12801 0.46081 -0.12801 C 0.46224 -0.12431 0.46107 -0.12662 0.46341 -0.12408 C 0.46458 -0.12292 0.4655 -0.12153 0.46654 -0.12014 C 0.46745 -0.11898 0.46836 -0.11806 0.46927 -0.1169 C 0.46992 -0.11621 0.47044 -0.11551 0.4711 -0.11459 C 0.47149 -0.11389 0.47188 -0.11297 0.4724 -0.11227 C 0.47279 -0.11158 0.47331 -0.11111 0.4737 -0.11065 C 0.47422 -0.10996 0.47461 -0.10903 0.47513 -0.10834 C 0.47578 -0.10718 0.47656 -0.10602 0.47735 -0.1051 C 0.47761 -0.10394 0.47774 -0.10278 0.47826 -0.10186 C 0.47995 -0.09792 0.48034 -0.09769 0.48216 -0.09561 C 0.48255 -0.09468 0.48268 -0.09375 0.48307 -0.09306 C 0.48346 -0.09236 0.48412 -0.09213 0.48451 -0.09167 C 0.48529 -0.09028 0.48594 -0.08912 0.48672 -0.0875 C 0.48698 -0.08681 0.48724 -0.08588 0.48763 -0.08519 C 0.48828 -0.08357 0.48906 -0.08195 0.48985 -0.08056 C 0.49193 -0.07616 0.49037 -0.07986 0.49297 -0.0757 C 0.49544 -0.07176 0.49531 -0.07176 0.49701 -0.06783 C 0.49792 -0.0625 0.49662 -0.06806 0.4987 -0.06389 C 0.49974 -0.06181 0.50052 -0.05949 0.50143 -0.05741 C 0.50182 -0.05648 0.50221 -0.05533 0.50274 -0.05417 L 0.50417 -0.05186 C 0.50378 -0.05 0.50365 -0.04815 0.50326 -0.0463 C 0.5 -0.03496 0.50182 -0.04236 0.4987 -0.03681 C 0.49831 -0.03611 0.49818 -0.03519 0.49779 -0.03449 C 0.4931 -0.02616 0.49909 -0.03889 0.49427 -0.02894 C 0.49258 -0.02547 0.49284 -0.02408 0.49024 -0.02107 C 0.48971 -0.02037 0.48906 -0.02037 0.48841 -0.02014 C 0.48555 -0.01505 0.48906 -0.02014 0.4849 -0.0169 C 0.48425 -0.01644 0.48373 -0.01528 0.48307 -0.01459 C 0.48268 -0.01412 0.48216 -0.01366 0.48177 -0.01297 C 0.48125 -0.01227 0.48099 -0.01111 0.48047 -0.01065 C 0.47982 -0.00996 0.47891 -0.01019 0.47826 -0.00996 C 0.47774 -0.00926 0.47735 -0.0088 0.47682 -0.00834 C 0.47539 -0.00672 0.47383 -0.00533 0.4724 -0.00348 C 0.47175 -0.00278 0.47123 -0.00186 0.47057 -0.00116 C 0.47005 -0.00047 0.4694 -0.00023 0.46888 0.00046 C 0.46745 0.00185 0.46615 0.0037 0.46485 0.00532 C 0.46406 0.00602 0.46315 0.00648 0.46263 0.00764 C 0.4599 0.01227 0.45977 0.01273 0.45495 0.01782 C 0.4543 0.01875 0.45352 0.01944 0.45274 0.02037 C 0.45195 0.02129 0.4513 0.02245 0.45052 0.02338 C 0.44987 0.0243 0.44909 0.025 0.44831 0.02592 C 0.44284 0.03194 0.44531 0.03032 0.44206 0.03217 L 0.43763 0.03842 C 0.43685 0.03958 0.4362 0.04074 0.43529 0.04166 C 0.43451 0.04282 0.43008 0.04791 0.42956 0.04884 C 0.42904 0.04953 0.42865 0.05046 0.42826 0.05115 C 0.42735 0.05254 0.42578 0.05486 0.42461 0.05602 C 0.42266 0.0581 0.42331 0.05717 0.42149 0.05833 C 0.41979 0.05949 0.41706 0.06157 0.41576 0.06319 C 0.41524 0.06365 0.41471 0.06412 0.41432 0.06481 C 0.41393 0.06551 0.41354 0.06643 0.41302 0.06713 C 0.41224 0.06782 0.41029 0.06875 0.41029 0.06875 C 0.40964 0.06967 0.40886 0.07083 0.40807 0.07176 C 0.40534 0.07523 0.40638 0.07291 0.40404 0.07662 C 0.40365 0.07731 0.40313 0.07801 0.40274 0.07893 C 0.40235 0.07963 0.40182 0.08148 0.40182 0.08148 L 0.40182 0.08148 " pathEditMode="relative" ptsTypes="AAAAAAAAAAAAAAAAAAAAAAAAAAAAAAAAAAAAAAAAAAAAAAAAAAAAAAAAAAAAAAAAAAAAAAAAAAAAAAAAAAAAAAAAAAAAAAAAAAAAAAAAAAAAAAAAAAAAAAAAAAAAAAAAAAAAAAAAAAAAAAAAAAAAAAAAAAAAAAAAAAAAAAAAAAAAAAAAAAAAAAAAAAAAAAAAAAAAAAAAAAAAAAAAAAAAAAAAAAAAAAAAAAAAAAAAAAAAAAAAAAAAAAAAAAAAAAAAAAA">
                                      <p:cBhvr>
                                        <p:cTn id="27" dur="2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0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586 0.00069 L -0.00586 0.00069 C -0.00599 -0.00185 -0.00586 -0.0044 -0.00625 -0.00648 C -0.00664 -0.00833 -0.00742 -0.00972 -0.00807 -0.01134 C -0.00833 -0.01204 -0.00872 -0.01273 -0.00898 -0.01366 L -0.0099 -0.01852 C -0.01003 -0.01921 -0.01003 -0.02014 -0.01029 -0.02083 C -0.01055 -0.02199 -0.01094 -0.02292 -0.0112 -0.02407 C -0.01224 -0.0287 -0.01081 -0.02431 -0.0125 -0.0287 C -0.01315 -0.03356 -0.01276 -0.03102 -0.0138 -0.03681 C -0.01406 -0.0375 -0.01406 -0.03843 -0.01432 -0.03912 C -0.01458 -0.03981 -0.01497 -0.04051 -0.01523 -0.04143 C -0.01536 -0.04213 -0.01549 -0.04306 -0.01562 -0.04375 C -0.01588 -0.04514 -0.01628 -0.04653 -0.01654 -0.04792 C -0.0168 -0.04884 -0.0168 -0.05 -0.01693 -0.05093 C -0.01719 -0.05231 -0.01758 -0.0537 -0.01784 -0.05486 C -0.01914 -0.06111 -0.0181 -0.0581 -0.01966 -0.06204 C -0.02044 -0.06806 -0.01966 -0.06273 -0.02096 -0.06852 C -0.02122 -0.06921 -0.02135 -0.07014 -0.02148 -0.07083 C -0.02305 -0.07847 -0.02174 -0.07176 -0.02279 -0.07708 C -0.02292 -0.07893 -0.02331 -0.08333 -0.0237 -0.08518 C -0.02396 -0.08611 -0.02435 -0.08727 -0.02461 -0.08819 C -0.02474 -0.08912 -0.02487 -0.08981 -0.025 -0.09074 C -0.02526 -0.09167 -0.02526 -0.09282 -0.02552 -0.09375 C -0.02565 -0.09468 -0.02617 -0.09537 -0.0263 -0.0963 C -0.02656 -0.09699 -0.02656 -0.09792 -0.02682 -0.09861 C -0.02891 -0.10625 -0.02617 -0.09375 -0.02904 -0.10486 C -0.02943 -0.10648 -0.02956 -0.1081 -0.02995 -0.10972 C -0.03021 -0.11065 -0.0306 -0.11134 -0.03086 -0.11204 C -0.03099 -0.11273 -0.03112 -0.11366 -0.03125 -0.11458 C -0.03151 -0.11574 -0.0319 -0.11713 -0.03216 -0.11852 C -0.03242 -0.12014 -0.03294 -0.12569 -0.03307 -0.12708 C -0.0332 -0.12824 -0.03333 -0.12917 -0.03346 -0.13032 C -0.03463 -0.14005 -0.03333 -0.13102 -0.03437 -0.13819 C -0.0345 -0.14097 -0.03476 -0.14352 -0.0349 -0.1463 C -0.03568 -0.17338 -0.03437 -0.16111 -0.03568 -0.17315 C -0.03568 -0.17477 -0.03568 -0.18912 -0.0349 -0.19468 C -0.03463 -0.19606 -0.03424 -0.19722 -0.03398 -0.19861 C -0.03372 -0.19977 -0.03372 -0.20116 -0.03346 -0.20255 C -0.03333 -0.2037 -0.03281 -0.20463 -0.03255 -0.20579 C -0.03229 -0.20718 -0.03216 -0.20903 -0.03177 -0.21042 C -0.03138 -0.21157 -0.03112 -0.21273 -0.03086 -0.21366 C -0.02982 -0.2169 -0.02995 -0.21528 -0.02904 -0.21921 C -0.02747 -0.22639 -0.02904 -0.22176 -0.02721 -0.22639 C -0.02708 -0.22708 -0.02695 -0.22801 -0.02682 -0.2287 C -0.02656 -0.23009 -0.02617 -0.23125 -0.02591 -0.23264 C -0.02552 -0.23518 -0.02552 -0.2375 -0.025 -0.23981 C -0.02474 -0.24097 -0.02435 -0.2419 -0.02409 -0.24306 C -0.02383 -0.24468 -0.02357 -0.2463 -0.02318 -0.24768 C -0.02305 -0.24861 -0.02292 -0.24931 -0.02279 -0.25023 C -0.02266 -0.25116 -0.02266 -0.25231 -0.0224 -0.25324 C -0.022 -0.25463 -0.02135 -0.25602 -0.02096 -0.25718 C -0.01914 -0.26389 -0.02083 -0.2588 -0.01966 -0.26366 C -0.0194 -0.26481 -0.01914 -0.26574 -0.01875 -0.2669 C -0.01823 -0.26852 -0.01784 -0.2706 -0.01693 -0.27153 L -0.01562 -0.27315 C -0.01497 -0.27708 -0.01549 -0.27454 -0.0138 -0.2787 C -0.01354 -0.2794 -0.01328 -0.28032 -0.01302 -0.28102 C -0.01263 -0.28194 -0.01198 -0.28264 -0.01159 -0.28356 C -0.00859 -0.28981 -0.01315 -0.28125 -0.0099 -0.28912 C -0.00937 -0.29028 -0.00859 -0.29097 -0.00807 -0.29213 C -0.00365 -0.30139 -0.01133 -0.28657 -0.00625 -0.29768 C -0.00547 -0.29954 -0.00365 -0.30255 -0.00365 -0.30255 C -0.00247 -0.31042 -0.00417 -0.30231 -0.00182 -0.30648 C -0.0013 -0.30741 -0.0013 -0.30856 -0.00091 -0.30972 C -0.00052 -0.31088 -6.25E-7 -0.31181 0.00039 -0.31273 C 0.00274 -0.31921 0.00052 -0.31458 0.00352 -0.31991 C 0.00456 -0.32569 0.003 -0.31852 0.00664 -0.32708 C 0.01315 -0.34236 0.00612 -0.32708 0.01159 -0.33657 C 0.01198 -0.33727 0.01211 -0.33843 0.0125 -0.33912 C 0.01302 -0.34005 0.01367 -0.34051 0.01432 -0.34143 C 0.01563 -0.34375 0.01654 -0.34699 0.01823 -0.34861 C 0.02005 -0.35 0.02031 -0.35 0.02188 -0.35255 C 0.02305 -0.35417 0.02357 -0.35625 0.025 -0.35718 C 0.02578 -0.35787 0.02682 -0.35833 0.0276 -0.3588 C 0.02917 -0.35972 0.0306 -0.36065 0.03216 -0.36134 C 0.03294 -0.36157 0.03385 -0.36181 0.03477 -0.36204 C 0.03633 -0.36296 0.0362 -0.36296 0.03789 -0.36366 C 0.03867 -0.36389 0.03945 -0.36412 0.0401 -0.36435 C 0.04063 -0.36458 0.04102 -0.36505 0.04154 -0.36528 C 0.04206 -0.36551 0.04271 -0.36574 0.04323 -0.36597 C 0.04375 -0.3662 0.04414 -0.36667 0.04466 -0.3669 C 0.0457 -0.36736 0.04662 -0.36759 0.04779 -0.36829 C 0.05195 -0.37153 0.04701 -0.36852 0.05182 -0.37083 C 0.05495 -0.37222 0.05104 -0.37083 0.05495 -0.37315 C 0.0556 -0.37361 0.05638 -0.37361 0.05716 -0.37384 C 0.06211 -0.37616 0.05391 -0.37292 0.06029 -0.37639 C 0.06107 -0.37685 0.06198 -0.37685 0.06289 -0.37708 C 0.0638 -0.37755 0.06471 -0.37847 0.06563 -0.3787 C 0.06667 -0.37893 0.06771 -0.37917 0.06875 -0.3794 C 0.06927 -0.37963 0.06992 -0.38009 0.07057 -0.38032 C 0.07162 -0.38056 0.07266 -0.38079 0.0737 -0.38102 C 0.07617 -0.38264 0.07435 -0.38171 0.07852 -0.38264 C 0.08867 -0.38495 0.07487 -0.38287 0.1 -0.38426 L 0.1125 -0.38495 C 0.11862 -0.38657 0.11758 -0.38657 0.12721 -0.38495 C 0.128 -0.38495 0.13021 -0.3831 0.13125 -0.38264 C 0.13555 -0.38079 0.13359 -0.38148 0.13698 -0.38032 C 0.13802 -0.3794 0.13906 -0.37847 0.1401 -0.37801 C 0.14076 -0.37755 0.14141 -0.37755 0.14193 -0.37708 C 0.14245 -0.37662 0.14284 -0.37546 0.14323 -0.37477 C 0.14388 -0.37384 0.1444 -0.37315 0.14505 -0.37245 C 0.14596 -0.3713 0.14688 -0.37037 0.14779 -0.36921 C 0.14831 -0.36852 0.14896 -0.36759 0.14948 -0.3669 C 0.15 -0.3662 0.15039 -0.36574 0.15091 -0.36528 C 0.15143 -0.36435 0.15208 -0.36366 0.1526 -0.36273 C 0.15339 -0.36204 0.15417 -0.36134 0.15495 -0.36042 C 0.15521 -0.36018 0.15742 -0.35694 0.15807 -0.35648 C 0.15859 -0.35602 0.15925 -0.35602 0.15977 -0.35579 C 0.16029 -0.35556 0.16068 -0.35509 0.1612 -0.35486 C 0.16458 -0.35023 0.16133 -0.3544 0.16471 -0.35093 C 0.16576 -0.34977 0.16693 -0.34815 0.16784 -0.34699 C 0.17018 -0.34398 0.16823 -0.34676 0.17135 -0.34306 C 0.17201 -0.34236 0.17253 -0.34143 0.17318 -0.34051 C 0.17396 -0.33981 0.17474 -0.33912 0.17539 -0.33819 C 0.18138 -0.33102 0.17787 -0.33449 0.18164 -0.33102 C 0.18268 -0.32917 0.18399 -0.32755 0.18477 -0.32546 C 0.18529 -0.32454 0.18568 -0.32338 0.1862 -0.32245 C 0.18685 -0.32106 0.18776 -0.32037 0.18841 -0.31921 C 0.18893 -0.31829 0.18919 -0.3169 0.18971 -0.31597 C 0.18971 -0.31597 0.19375 -0.30903 0.19414 -0.3081 C 0.19492 -0.30671 0.19557 -0.30509 0.19635 -0.30417 C 0.19688 -0.30347 0.1974 -0.30324 0.19779 -0.30255 C 0.20052 -0.29861 0.19753 -0.30139 0.20091 -0.29861 C 0.203 -0.29306 0.20026 -0.29977 0.20352 -0.29375 C 0.20664 -0.28819 0.20117 -0.29491 0.20664 -0.28912 C 0.20677 -0.28819 0.2069 -0.28727 0.20716 -0.28657 C 0.20742 -0.28565 0.20807 -0.28518 0.20846 -0.28426 C 0.20885 -0.28356 0.20912 -0.28264 0.20938 -0.28194 C 0.21042 -0.27407 0.20885 -0.28356 0.2112 -0.27546 C 0.21146 -0.27454 0.21146 -0.27338 0.21159 -0.27245 C 0.21172 -0.27153 0.21198 -0.27083 0.21198 -0.26991 C 0.21211 -0.26898 0.21263 -0.26389 0.21289 -0.26273 C 0.21315 -0.26204 0.21354 -0.26134 0.2138 -0.26042 C 0.21393 -0.25949 0.21406 -0.25833 0.21432 -0.25718 C 0.21445 -0.25648 0.21458 -0.25579 0.21471 -0.25486 C 0.2155 -0.24653 0.21484 -0.24977 0.21563 -0.24306 C 0.21589 -0.24097 0.21615 -0.23866 0.21654 -0.23657 C 0.21758 -0.23079 0.21719 -0.23356 0.21784 -0.2287 C 0.21797 -0.22407 0.2168 -0.21852 0.21823 -0.21435 C 0.21914 -0.21204 0.22162 -0.21366 0.22318 -0.21366 C 0.22839 -0.21366 0.23359 -0.21412 0.2388 -0.21435 C 0.24089 -0.21481 0.24297 -0.21458 0.24505 -0.21528 C 0.24596 -0.21551 0.24688 -0.2162 0.24779 -0.2169 C 0.24974 -0.21806 0.2487 -0.21736 0.25091 -0.21852 C 0.25182 -0.21944 0.25287 -0.22014 0.25352 -0.22153 L 0.25625 -0.22639 C 0.2569 -0.22731 0.25729 -0.2287 0.25807 -0.22963 L 0.25977 -0.23194 C 0.26029 -0.23333 0.26055 -0.23472 0.2612 -0.23588 C 0.26237 -0.23843 0.2638 -0.24074 0.26524 -0.24306 C 0.26576 -0.24398 0.26654 -0.24491 0.26693 -0.2463 C 0.26875 -0.25116 0.2668 -0.24606 0.26914 -0.25093 C 0.27318 -0.25926 0.26875 -0.25093 0.27279 -0.2581 C 0.27305 -0.25903 0.27331 -0.26018 0.2737 -0.26134 C 0.27422 -0.26296 0.27487 -0.26435 0.27539 -0.26597 L 0.2763 -0.26829 C 0.27669 -0.26921 0.27695 -0.26991 0.27721 -0.27083 C 0.27774 -0.27199 0.27813 -0.27338 0.27852 -0.27477 C 0.27891 -0.27569 0.27904 -0.27685 0.27943 -0.27801 C 0.27995 -0.2794 0.28073 -0.28032 0.28125 -0.28194 C 0.28216 -0.28472 0.28203 -0.28565 0.28255 -0.28819 C 0.28281 -0.28935 0.2832 -0.29028 0.28346 -0.29143 C 0.28372 -0.29213 0.28372 -0.29306 0.28399 -0.29375 C 0.28425 -0.29491 0.28477 -0.29583 0.28529 -0.29699 C 0.28555 -0.29931 0.28594 -0.30208 0.28659 -0.30417 C 0.28698 -0.30509 0.2875 -0.30579 0.28789 -0.30648 C 0.28815 -0.30764 0.28802 -0.3088 0.28841 -0.30972 C 0.28867 -0.31042 0.28932 -0.31065 0.28971 -0.31134 C 0.2901 -0.31181 0.29037 -0.31273 0.29063 -0.31366 C 0.29089 -0.31435 0.29076 -0.31528 0.29102 -0.31597 C 0.29141 -0.3169 0.29206 -0.31759 0.29245 -0.31829 C 0.29271 -0.31921 0.29297 -0.31991 0.29336 -0.32083 C 0.2944 -0.32361 0.29688 -0.32963 0.2987 -0.33194 C 0.30052 -0.33403 0.29948 -0.3331 0.30182 -0.33495 C 0.30208 -0.33588 0.30221 -0.33681 0.30274 -0.3375 C 0.30768 -0.34514 0.30339 -0.33727 0.30716 -0.34213 C 0.31003 -0.34583 0.30677 -0.34375 0.31029 -0.34537 C 0.31081 -0.34583 0.31146 -0.3463 0.31211 -0.34699 C 0.3125 -0.34745 0.31289 -0.34815 0.31341 -0.34861 C 0.31406 -0.34907 0.31484 -0.34907 0.31563 -0.34931 C 0.31667 -0.35069 0.3181 -0.35231 0.31914 -0.35324 C 0.32214 -0.35602 0.32227 -0.35602 0.32461 -0.35718 C 0.32513 -0.3581 0.32565 -0.35903 0.3263 -0.35972 C 0.32904 -0.3625 0.32917 -0.36227 0.33125 -0.36366 C 0.33281 -0.36574 0.33307 -0.36643 0.33477 -0.36759 C 0.33568 -0.36829 0.33672 -0.36852 0.3375 -0.36921 C 0.33815 -0.36968 0.33867 -0.37037 0.33932 -0.37083 C 0.3401 -0.3713 0.34102 -0.37199 0.34193 -0.37245 C 0.34727 -0.37431 0.34492 -0.37338 0.34909 -0.37477 C 0.35352 -0.37454 0.35807 -0.37431 0.3625 -0.37384 C 0.36315 -0.37384 0.36367 -0.37338 0.36432 -0.37315 C 0.36497 -0.37292 0.36745 -0.37199 0.36836 -0.37153 C 0.36888 -0.37106 0.3694 -0.37014 0.37005 -0.36991 C 0.37305 -0.36898 0.37904 -0.36829 0.37904 -0.36829 C 0.38438 -0.36643 0.378 -0.36852 0.38841 -0.3669 C 0.38919 -0.36667 0.38984 -0.3662 0.39063 -0.36597 C 0.3918 -0.36574 0.39297 -0.36551 0.39414 -0.36528 C 0.39505 -0.36458 0.39649 -0.36389 0.39727 -0.36366 C 0.39935 -0.36319 0.40143 -0.36319 0.40352 -0.36273 C 0.40599 -0.3625 0.40833 -0.36157 0.41068 -0.36134 L 0.41563 -0.36042 C 0.41732 -0.35972 0.41797 -0.35949 0.41966 -0.3581 C 0.42018 -0.35764 0.42044 -0.35671 0.42096 -0.35648 C 0.4224 -0.35556 0.42396 -0.35509 0.42539 -0.35417 C 0.42656 -0.35324 0.42747 -0.35231 0.42852 -0.35162 C 0.42943 -0.35116 0.43034 -0.35139 0.43125 -0.35093 C 0.43216 -0.35046 0.43307 -0.34977 0.43399 -0.34931 C 0.43438 -0.34861 0.43477 -0.34768 0.43529 -0.34699 C 0.43607 -0.34606 0.43698 -0.34514 0.43789 -0.34468 C 0.43867 -0.34421 0.43945 -0.34398 0.44024 -0.34375 C 0.44076 -0.34352 0.44141 -0.34329 0.44193 -0.34306 C 0.44349 -0.34143 0.44505 -0.34005 0.44649 -0.33819 C 0.44688 -0.33773 0.44727 -0.33704 0.44779 -0.33657 C 0.4487 -0.33588 0.44961 -0.33495 0.45039 -0.33426 C 0.45091 -0.3331 0.4513 -0.33194 0.45182 -0.33102 C 0.45495 -0.32593 0.45482 -0.32708 0.45807 -0.32384 C 0.45885 -0.32315 0.45951 -0.32222 0.46029 -0.32153 C 0.46081 -0.32106 0.46146 -0.3206 0.46211 -0.31991 C 0.46471 -0.3169 0.46367 -0.31736 0.46563 -0.31435 C 0.46654 -0.31296 0.46745 -0.31181 0.46836 -0.31042 C 0.47279 -0.30278 0.47227 -0.30393 0.475 -0.29768 C 0.47578 -0.29352 0.475 -0.29699 0.47682 -0.29143 C 0.47708 -0.29028 0.47721 -0.28912 0.47774 -0.28819 C 0.47826 -0.28704 0.47917 -0.28611 0.47995 -0.28495 C 0.48034 -0.28426 0.48086 -0.28356 0.48125 -0.28264 C 0.48138 -0.28194 0.48164 -0.28125 0.48164 -0.28032 C 0.48164 -0.27338 0.48177 -0.27292 0.48034 -0.26829 C 0.47995 -0.26713 0.47956 -0.26551 0.47904 -0.26435 C 0.47865 -0.26366 0.47813 -0.26343 0.47774 -0.26273 C 0.47578 -0.25972 0.47409 -0.25648 0.47227 -0.25324 L 0.47005 -0.24931 C 0.4694 -0.24815 0.46875 -0.24653 0.46784 -0.24537 C 0.46732 -0.24468 0.46667 -0.24398 0.46602 -0.24306 C 0.4655 -0.24213 0.46524 -0.24074 0.46471 -0.23981 C 0.46289 -0.23611 0.46302 -0.23657 0.4612 -0.23426 C 0.45912 -0.2287 0.46172 -0.23542 0.45846 -0.2287 C 0.4582 -0.22801 0.45794 -0.22708 0.45755 -0.22639 C 0.45703 -0.22546 0.45638 -0.22477 0.45586 -0.22407 C 0.45482 -0.22245 0.45404 -0.22083 0.45313 -0.21921 C 0.45234 -0.21782 0.45169 -0.21643 0.45091 -0.21528 C 0.44974 -0.21366 0.44779 -0.21042 0.44649 -0.2088 C 0.4457 -0.2081 0.44492 -0.20741 0.44414 -0.20648 C 0.44401 -0.20579 0.44401 -0.20486 0.44375 -0.20417 C 0.44245 -0.20093 0.43919 -0.19768 0.43789 -0.19537 C 0.43412 -0.18866 0.43841 -0.1956 0.43399 -0.18981 C 0.43242 -0.18773 0.43099 -0.18565 0.42943 -0.18356 C 0.42852 -0.18218 0.42774 -0.18079 0.42682 -0.17963 C 0.4263 -0.17893 0.42591 -0.17847 0.42539 -0.17801 C 0.42435 -0.17639 0.42344 -0.17477 0.42227 -0.17315 C 0.42175 -0.17245 0.42109 -0.17176 0.42057 -0.17083 C 0.41693 -0.16435 0.42005 -0.16736 0.41602 -0.16435 C 0.41524 -0.16296 0.41445 -0.16111 0.41341 -0.15972 C 0.41224 -0.1581 0.41094 -0.15718 0.40977 -0.15579 C 0.40925 -0.15509 0.40872 -0.15417 0.40807 -0.15324 C 0.40703 -0.15231 0.40586 -0.15139 0.40495 -0.15023 C 0.40391 -0.14884 0.40313 -0.14699 0.40221 -0.14537 C 0.40091 -0.14352 0.39948 -0.1419 0.39818 -0.13981 C 0.39753 -0.13889 0.39714 -0.1375 0.39649 -0.13657 C 0.39596 -0.13588 0.39518 -0.13565 0.39466 -0.13518 C 0.39401 -0.13449 0.39349 -0.13333 0.39284 -0.13264 C 0.38893 -0.12847 0.39154 -0.13194 0.38789 -0.1287 C 0.3875 -0.12824 0.38711 -0.12755 0.38659 -0.12708 C 0.3862 -0.12685 0.38568 -0.12662 0.38529 -0.12639 C 0.38412 -0.12546 0.38294 -0.12384 0.38164 -0.12315 C 0.38073 -0.12268 0.37956 -0.12268 0.37852 -0.12245 C 0.37774 -0.12222 0.37682 -0.12199 0.37591 -0.12153 C 0.37526 -0.1213 0.37474 -0.12106 0.37409 -0.12083 C 0.37331 -0.1206 0.37266 -0.12037 0.37188 -0.12014 C 0.37122 -0.11968 0.37005 -0.11921 0.37005 -0.11921 L 0.37005 -0.11921 L 0.37005 -0.11921 " pathEditMode="relative" ptsTypes="AAAAAAAAAAAAAAAAAAAAAAAAAAAAAAAAAAAAAAAAAAAAAAAAAAAAAAAAAAAAAAAAAAAAAAAAAAAAAAAAAAAAAAAAAAAAAAAAAAAAAAAAAAAAAAAAAAAAAAAAAAAAAAAAAAAAAAAAAAAAAAAAAAAAAAAAAAAAAAAAAAAAAAAAAAAAAAAAAAAAAAAAAAAAAAAAAAAAAAAAAAAAAAAAAAAAAAAAAAAAAAAAAAAAAAAAAAAAAAAAAAAAAAAAAAAAAAAAAAAAAAAAAAAAAAAA">
                                      <p:cBhvr>
                                        <p:cTn id="32" dur="25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0" presetClass="path" presetSubtype="0" accel="50000" decel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0.0056 0.00417 L -0.0056 0.00417 C -0.00547 0.00185 -0.00521 -0.00023 -0.00495 -0.00255 C -0.00482 -0.00393 -0.00469 -0.00555 -0.00456 -0.00694 C -0.0043 -0.00926 -0.00391 -0.01134 -0.00378 -0.01366 C -0.00365 -0.01759 -0.00365 -0.01967 -0.00313 -0.02338 C -0.003 -0.02407 -0.00287 -0.02477 -0.00274 -0.02523 C -0.00196 -0.03912 -0.00248 -0.02824 -0.00196 -0.05023 C -0.0017 -0.06435 -0.00209 -0.05949 -0.00131 -0.06713 C -0.00118 -0.0706 -0.00105 -0.07407 -0.00092 -0.07755 C -0.00079 -0.07917 -0.00052 -0.08055 -0.00052 -0.08217 C -0.00052 -0.09097 -0.00079 -0.09954 -0.00092 -0.10833 C -0.00079 -0.11319 -0.00274 -0.12014 -0.00052 -0.12268 C 0.00299 -0.12662 0.00781 -0.12268 0.01198 -0.12338 C 0.01289 -0.12338 0.01367 -0.1243 0.01458 -0.12454 C 0.0151 -0.125 0.01575 -0.125 0.0164 -0.12523 C 0.01692 -0.12569 0.01731 -0.12616 0.01783 -0.12662 C 0.01836 -0.12685 0.01888 -0.12731 0.0194 -0.12731 C 0.02343 -0.12731 0.02747 -0.12685 0.03151 -0.12662 C 0.0319 -0.12639 0.03242 -0.12569 0.03294 -0.12592 C 0.03346 -0.12616 0.03372 -0.12708 0.03398 -0.12778 C 0.03437 -0.1287 0.0345 -0.12963 0.03476 -0.13055 C 0.03541 -0.13241 0.03632 -0.13426 0.03698 -0.13565 C 0.03776 -0.13981 0.03685 -0.13565 0.03815 -0.13958 C 0.03867 -0.14143 0.03906 -0.14305 0.03958 -0.14491 C 0.03984 -0.14583 0.0401 -0.14653 0.04023 -0.14745 C 0.04036 -0.14815 0.04049 -0.14884 0.04062 -0.14954 C 0.04088 -0.15023 0.04114 -0.15069 0.0414 -0.15139 C 0.04153 -0.15208 0.04153 -0.15278 0.04179 -0.15347 C 0.04179 -0.1537 0.04323 -0.15787 0.04362 -0.15856 C 0.04388 -0.15926 0.0444 -0.15995 0.04466 -0.16065 C 0.04505 -0.16134 0.04531 -0.1625 0.04583 -0.16319 C 0.04648 -0.16435 0.04739 -0.16528 0.04804 -0.16643 C 0.04856 -0.16759 0.04895 -0.16921 0.04948 -0.17037 C 0.05 -0.17153 0.05078 -0.17245 0.0513 -0.17361 C 0.05273 -0.17639 0.05273 -0.18055 0.05468 -0.18264 L 0.05573 -0.18403 C 0.05755 -0.19074 0.0552 -0.18241 0.05755 -0.18935 C 0.05846 -0.1919 0.05872 -0.19537 0.06015 -0.19722 C 0.06315 -0.20116 0.06028 -0.19699 0.06276 -0.20162 C 0.06354 -0.20324 0.06445 -0.20463 0.06523 -0.20625 L 0.06783 -0.21088 C 0.06823 -0.2118 0.06862 -0.2125 0.06901 -0.21342 C 0.06927 -0.21412 0.0694 -0.21481 0.06966 -0.21551 C 0.07226 -0.22037 0.07174 -0.21944 0.07369 -0.22199 C 0.07421 -0.22315 0.07461 -0.22477 0.07526 -0.22592 C 0.07617 -0.22755 0.07773 -0.22847 0.07851 -0.23032 C 0.08046 -0.23518 0.07877 -0.23148 0.08216 -0.23704 C 0.08268 -0.23773 0.0832 -0.23866 0.08372 -0.23958 C 0.08437 -0.24074 0.08528 -0.24167 0.08593 -0.24282 C 0.08645 -0.24398 0.08671 -0.2456 0.08737 -0.24676 C 0.08776 -0.24745 0.08841 -0.24745 0.0888 -0.24815 C 0.08932 -0.24884 0.08971 -0.24977 0.09023 -0.25069 C 0.09075 -0.25139 0.09127 -0.25208 0.09179 -0.25255 C 0.09349 -0.25856 0.09114 -0.25162 0.09466 -0.25856 C 0.09505 -0.25926 0.09505 -0.26042 0.09544 -0.26111 C 0.09661 -0.26319 0.09817 -0.26412 0.09908 -0.26643 C 0.10169 -0.27176 0.1 -0.26898 0.10208 -0.27153 C 0.1026 -0.27222 0.10299 -0.27315 0.10351 -0.27361 C 0.10403 -0.27384 0.10455 -0.27407 0.10494 -0.2743 C 0.10638 -0.27592 0.10924 -0.2794 0.11093 -0.28079 C 0.11132 -0.28102 0.11185 -0.28125 0.11237 -0.28148 C 0.11276 -0.28148 0.11315 -0.28171 0.11341 -0.28194 C 0.1138 -0.28241 0.11419 -0.2831 0.11458 -0.28333 C 0.11523 -0.2838 0.11601 -0.2838 0.11679 -0.28403 C 0.12044 -0.28518 0.11653 -0.28426 0.12148 -0.28518 L 0.14948 -0.28472 C 0.14987 -0.28472 0.15026 -0.28403 0.15065 -0.28403 C 0.15156 -0.28356 0.1526 -0.28356 0.15351 -0.28333 C 0.1556 -0.2831 0.15768 -0.28287 0.15976 -0.28264 C 0.16067 -0.28241 0.16145 -0.28217 0.16237 -0.28194 C 0.16354 -0.28171 0.16484 -0.28171 0.16601 -0.28148 C 0.16705 -0.28125 0.16796 -0.28102 0.16901 -0.28079 C 0.17148 -0.27917 0.16927 -0.28032 0.17408 -0.2794 C 0.175 -0.27917 0.17578 -0.27893 0.17669 -0.2787 C 0.17721 -0.2787 0.1776 -0.27824 0.17812 -0.27801 C 0.17955 -0.27778 0.18086 -0.27778 0.18216 -0.27755 C 0.18945 -0.27616 0.18216 -0.27731 0.19036 -0.27616 C 0.19088 -0.27592 0.19153 -0.27592 0.19218 -0.27546 C 0.19336 -0.27477 0.19453 -0.27384 0.19583 -0.27292 C 0.19648 -0.27245 0.197 -0.27199 0.19765 -0.27153 L 0.20026 -0.27037 C 0.20091 -0.26944 0.20195 -0.26805 0.20286 -0.26759 C 0.20351 -0.26736 0.20429 -0.26713 0.20494 -0.2669 C 0.20586 -0.26643 0.20677 -0.26597 0.20755 -0.26505 C 0.20807 -0.26458 0.2082 -0.26366 0.20872 -0.26319 C 0.20924 -0.2625 0.20989 -0.26227 0.21054 -0.2618 C 0.21119 -0.26065 0.21198 -0.25949 0.21276 -0.25856 C 0.21302 -0.2581 0.21354 -0.25764 0.2138 -0.25717 C 0.21445 -0.25625 0.21497 -0.25509 0.21562 -0.25393 C 0.2164 -0.25278 0.21718 -0.25185 0.21783 -0.25069 C 0.21836 -0.25 0.21849 -0.24884 0.21901 -0.24815 C 0.21966 -0.24676 0.22057 -0.24606 0.22122 -0.24491 C 0.22161 -0.24398 0.22187 -0.24305 0.22226 -0.24213 C 0.22291 -0.24097 0.22382 -0.24005 0.22448 -0.23889 C 0.22552 -0.23727 0.22617 -0.23472 0.22747 -0.2338 C 0.23033 -0.23125 0.2289 -0.23241 0.23151 -0.22986 C 0.2319 -0.22893 0.23216 -0.22801 0.23255 -0.22708 C 0.23294 -0.22662 0.23333 -0.22639 0.23372 -0.22592 C 0.23437 -0.225 0.23489 -0.22407 0.23554 -0.22315 C 0.23789 -0.21967 0.23515 -0.22292 0.23841 -0.21875 C 0.23919 -0.21782 0.23997 -0.21713 0.24062 -0.21597 C 0.24505 -0.20972 0.23919 -0.21574 0.24622 -0.20764 C 0.25 -0.20301 0.24375 -0.21018 0.24908 -0.20486 C 0.24961 -0.2044 0.25 -0.20347 0.25065 -0.20301 C 0.25117 -0.20255 0.25182 -0.20208 0.25247 -0.20162 C 0.2552 -0.19954 0.25273 -0.20116 0.25494 -0.19977 C 0.25533 -0.19907 0.25586 -0.19861 0.25612 -0.19768 C 0.25755 -0.19421 0.25677 -0.19236 0.25651 -0.18727 C 0.25638 -0.18634 0.25638 -0.18542 0.25612 -0.18472 C 0.25586 -0.1838 0.25533 -0.18356 0.25494 -0.18264 C 0.25234 -0.17708 0.25677 -0.18518 0.25312 -0.17824 C 0.2526 -0.17708 0.25182 -0.17616 0.2513 -0.175 C 0.25104 -0.17407 0.25091 -0.17292 0.25065 -0.17222 C 0.25 -0.17106 0.24908 -0.17014 0.24843 -0.16898 C 0.24726 -0.16713 0.24622 -0.16505 0.24505 -0.16319 C 0.24453 -0.16204 0.24375 -0.16111 0.24323 -0.15995 C 0.24257 -0.15856 0.24205 -0.15717 0.2414 -0.15602 C 0.24101 -0.15509 0.24036 -0.15463 0.23997 -0.15393 C 0.23606 -0.14792 0.24023 -0.1537 0.23619 -0.14676 C 0.2358 -0.14606 0.23528 -0.1456 0.23476 -0.14491 C 0.23099 -0.13796 0.23502 -0.14352 0.23073 -0.13842 C 0.23033 -0.1375 0.23007 -0.13657 0.22968 -0.13565 C 0.22825 -0.13333 0.22643 -0.13194 0.22526 -0.12917 C 0.22487 -0.12824 0.22461 -0.12731 0.22408 -0.12662 C 0.22304 -0.12477 0.22135 -0.12407 0.22044 -0.12199 C 0.21823 -0.1169 0.22057 -0.12199 0.21744 -0.1169 C 0.21315 -0.10949 0.21562 -0.11134 0.21276 -0.10949 C 0.21106 -0.10671 0.21106 -0.10648 0.20911 -0.1037 C 0.2069 -0.10092 0.20898 -0.10417 0.20651 -0.10046 C 0.20221 -0.09398 0.20442 -0.0956 0.20169 -0.09398 C 0.2013 -0.09352 0.20104 -0.09305 0.20065 -0.09259 C 0.20013 -0.09213 0.19961 -0.0919 0.19908 -0.0912 C 0.19778 -0.08958 0.19674 -0.08773 0.19544 -0.08611 C 0.19427 -0.08449 0.19283 -0.08333 0.19179 -0.08148 L 0.18841 -0.07569 C 0.18789 -0.07454 0.18737 -0.07315 0.18658 -0.07245 C 0.18489 -0.07037 0.18528 -0.0706 0.18255 -0.06852 C 0.18203 -0.06805 0.18138 -0.06759 0.18073 -0.06713 C 0.18033 -0.0669 0.18007 -0.0662 0.17968 -0.06574 C 0.17916 -0.06528 0.17864 -0.06505 0.17812 -0.06458 C 0.17747 -0.06366 0.17695 -0.06273 0.1763 -0.0618 C 0.17604 -0.06157 0.17408 -0.06018 0.17343 -0.05995 C 0.17291 -0.05972 0.17239 -0.05949 0.17187 -0.05926 C 0.17161 -0.05903 0.16966 -0.05764 0.16901 -0.05741 C 0.1681 -0.05694 0.16731 -0.05694 0.1664 -0.05671 C 0.16484 -0.05625 0.16523 -0.05602 0.1638 -0.05532 C 0.16211 -0.0544 0.16185 -0.05463 0.15976 -0.05417 C 0.15937 -0.05393 0.15911 -0.05347 0.15872 -0.05347 C 0.15716 -0.05301 0.15573 -0.05301 0.15429 -0.05208 C 0.1539 -0.05185 0.15351 -0.05162 0.15312 -0.05139 C 0.15234 -0.05116 0.15143 -0.05116 0.15065 -0.05092 C 0.14987 -0.05069 0.14908 -0.05046 0.14843 -0.05023 C 0.14791 -0.04977 0.14739 -0.04907 0.14687 -0.04884 C 0.14453 -0.04745 0.14479 -0.04745 0.14323 -0.04745 L 0.14362 -0.04815 L 0.14362 -0.04815 L 0.14362 -0.04815 " pathEditMode="relative" ptsTypes="AAAAAAAAAAAAAAAAAAAAAAAAAAAAAAAAAAAAAAAAAAAAAAAAAAAAAAAAAAAAAAAAAAAAAAAAAAAAAAAAAAAAAAAAAAAAAAAAAAAAAAAAAAAAAAAAAAAAAAAAAAAAAAAAAAAAAAAAAAAAAAAAAAAAAAAAAAAAAA">
                                      <p:cBhvr>
                                        <p:cTn id="37" dur="20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0" presetClass="path" presetSubtype="0" accel="50000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0.00065 0.00047 L -0.00065 0.00047 L 0.00325 -0.00046 C 0.00507 -0.00069 0.0069 -0.00092 0.00872 -0.00115 C 0.00911 -0.00139 0.0095 -0.00185 0.01002 -0.00208 C 0.01145 -0.00254 0.01302 -0.00278 0.01445 -0.0037 C 0.01497 -0.00393 0.01536 -0.00416 0.01575 -0.0044 C 0.01705 -0.00532 0.0181 -0.00694 0.0194 -0.00764 C 0.01979 -0.00787 0.02031 -0.0081 0.0207 -0.00833 C 0.02174 -0.00879 0.0233 -0.00903 0.02435 -0.00995 C 0.02474 -0.01041 0.02513 -0.01111 0.02565 -0.01157 C 0.02604 -0.01203 0.02656 -0.01203 0.02695 -0.01227 C 0.02786 -0.01319 0.02864 -0.01458 0.02968 -0.01551 C 0.0302 -0.01597 0.03086 -0.01643 0.03138 -0.01713 C 0.03346 -0.01921 0.03281 -0.01921 0.03502 -0.02268 C 0.03567 -0.02384 0.03645 -0.025 0.03724 -0.02592 C 0.04075 -0.03009 0.03711 -0.02384 0.04127 -0.03055 C 0.04218 -0.03217 0.04283 -0.03426 0.04388 -0.03541 C 0.04466 -0.03611 0.04544 -0.0368 0.04622 -0.03773 C 0.04739 -0.03958 0.0483 -0.04236 0.04974 -0.04398 C 0.05156 -0.04629 0.0513 -0.04583 0.05325 -0.04953 C 0.0539 -0.05092 0.05442 -0.05254 0.05507 -0.0537 C 0.05664 -0.05602 0.06002 -0.05995 0.06002 -0.05995 C 0.06028 -0.06065 0.06054 -0.0618 0.06093 -0.06227 C 0.06171 -0.06365 0.06354 -0.06551 0.06354 -0.06551 C 0.06419 -0.06713 0.06458 -0.06898 0.06536 -0.07037 C 0.06588 -0.07106 0.06653 -0.07129 0.06718 -0.07176 C 0.06783 -0.07268 0.06875 -0.07338 0.0694 -0.0743 C 0.07005 -0.07523 0.07057 -0.07639 0.07122 -0.07731 C 0.07161 -0.07801 0.07213 -0.07847 0.07252 -0.07893 C 0.07304 -0.07963 0.07343 -0.08055 0.07382 -0.08125 C 0.07643 -0.0875 0.07395 -0.08333 0.07656 -0.08842 C 0.07708 -0.08958 0.07773 -0.09051 0.07825 -0.09166 C 0.07864 -0.09236 0.0789 -0.09328 0.07916 -0.09398 C 0.07955 -0.0949 0.0802 -0.0956 0.0806 -0.09653 C 0.08125 -0.09791 0.08177 -0.09953 0.08229 -0.10115 C 0.08268 -0.10208 0.08294 -0.10278 0.0832 -0.10347 C 0.08372 -0.10486 0.08398 -0.10625 0.0845 -0.10764 C 0.08489 -0.10833 0.08554 -0.10903 0.08593 -0.10995 C 0.08724 -0.11273 0.08724 -0.11296 0.08815 -0.1162 C 0.08828 -0.11736 0.08828 -0.11852 0.08854 -0.11944 C 0.0888 -0.12037 0.08919 -0.12106 0.08945 -0.12176 C 0.08971 -0.12245 0.08971 -0.12338 0.08997 -0.1243 C 0.0901 -0.12639 0.0901 -0.13055 0.09075 -0.13287 C 0.09101 -0.13379 0.0914 -0.13449 0.09166 -0.13541 C 0.09179 -0.1375 0.09192 -0.13958 0.09218 -0.14166 C 0.09218 -0.14236 0.09257 -0.14328 0.09257 -0.14398 C 0.09283 -0.14722 0.09283 -0.15046 0.0931 -0.15347 C 0.0931 -0.15463 0.09336 -0.15555 0.09349 -0.15671 C 0.09362 -0.1581 0.09388 -0.15926 0.09388 -0.16065 C 0.09518 -0.17615 0.09427 -0.16921 0.0957 -0.18125 C 0.09648 -0.18796 0.09583 -0.18055 0.09661 -0.18935 C 0.09674 -0.1912 0.09687 -0.19305 0.097 -0.1949 C 0.09726 -0.19653 0.09791 -0.19953 0.09791 -0.19953 C 0.09804 -0.20301 0.09817 -0.20648 0.09843 -0.20995 C 0.09843 -0.21088 0.09882 -0.21203 0.09882 -0.21296 C 0.09882 -0.23217 0.09856 -0.25115 0.09843 -0.27014 C 0.1039 -0.27407 0.09674 -0.26944 0.10781 -0.27245 C 0.10833 -0.27268 0.10859 -0.27361 0.10911 -0.27407 C 0.10976 -0.27477 0.11054 -0.27546 0.11132 -0.27569 C 0.11354 -0.27639 0.11575 -0.27615 0.1181 -0.27662 C 0.11875 -0.27685 0.11953 -0.27708 0.12031 -0.27731 C 0.1207 -0.27754 0.12109 -0.27801 0.12161 -0.27801 C 0.12513 -0.27801 0.12877 -0.27754 0.13229 -0.27731 C 0.1332 -0.27754 0.13424 -0.27731 0.13502 -0.27801 C 0.13567 -0.27893 0.13593 -0.2824 0.13632 -0.28356 C 0.1375 -0.2875 0.13893 -0.29074 0.13997 -0.29467 C 0.1401 -0.2956 0.14023 -0.29629 0.14036 -0.29722 C 0.14062 -0.29815 0.14101 -0.2993 0.14127 -0.30023 C 0.14166 -0.30208 0.14205 -0.30416 0.14257 -0.30578 C 0.14283 -0.30671 0.14323 -0.3074 0.14349 -0.30833 C 0.14388 -0.30949 0.14401 -0.31088 0.1444 -0.31227 C 0.14479 -0.31365 0.14622 -0.31666 0.14661 -0.31782 C 0.14713 -0.31898 0.14739 -0.3206 0.14791 -0.32176 C 0.1483 -0.32268 0.14882 -0.32338 0.14935 -0.32407 C 0.15 -0.32569 0.15078 -0.32731 0.15156 -0.32893 C 0.1526 -0.33148 0.15377 -0.33403 0.15468 -0.3368 C 0.15494 -0.33796 0.15507 -0.33912 0.1556 -0.34004 C 0.15638 -0.34166 0.15742 -0.34282 0.1582 -0.34467 C 0.15872 -0.34583 0.15911 -0.34676 0.1595 -0.34791 C 0.16054 -0.35023 0.16132 -0.35278 0.16224 -0.35509 C 0.16276 -0.35648 0.16393 -0.35972 0.16445 -0.36065 C 0.16484 -0.36134 0.16536 -0.36157 0.16575 -0.36227 C 0.16601 -0.36296 0.16601 -0.36389 0.16627 -0.36458 C 0.16653 -0.36528 0.16718 -0.36551 0.16757 -0.3662 C 0.16823 -0.3669 0.16888 -0.36759 0.1694 -0.36852 C 0.17044 -0.3706 0.17096 -0.37291 0.172 -0.37477 L 0.17565 -0.38125 C 0.18255 -0.39352 0.17356 -0.37731 0.17968 -0.38912 C 0.18372 -0.39699 0.18086 -0.39097 0.1845 -0.39699 C 0.18841 -0.40324 0.1858 -0.40023 0.18906 -0.40416 C 0.18945 -0.40486 0.18984 -0.40532 0.19036 -0.40578 C 0.19114 -0.40648 0.19192 -0.40671 0.19257 -0.4074 C 0.19336 -0.4081 0.19401 -0.40926 0.19479 -0.40972 C 0.1957 -0.41041 0.19661 -0.41088 0.19752 -0.41134 C 0.19961 -0.4125 0.19843 -0.41203 0.20104 -0.41296 C 0.20169 -0.41342 0.20221 -0.41412 0.20286 -0.41458 C 0.20364 -0.41504 0.20625 -0.41597 0.2069 -0.4162 C 0.20898 -0.41759 0.21106 -0.41921 0.21315 -0.42014 C 0.21432 -0.4206 0.21549 -0.42106 0.21666 -0.42176 C 0.21783 -0.42222 0.21875 -0.42338 0.21979 -0.42407 C 0.22122 -0.425 0.22187 -0.425 0.22343 -0.42569 C 0.22448 -0.42639 0.22552 -0.42731 0.22656 -0.42801 C 0.22708 -0.42847 0.22773 -0.4287 0.22825 -0.42893 C 0.22981 -0.4294 0.23125 -0.42986 0.23281 -0.43032 C 0.2345 -0.43125 0.23489 -0.43148 0.23685 -0.43194 L 0.24218 -0.43356 L 0.24479 -0.43426 L 0.26002 -0.43356 C 0.26171 -0.43356 0.26328 -0.4331 0.26497 -0.43287 C 0.26549 -0.43264 0.26614 -0.43217 0.26666 -0.43194 C 0.26862 -0.43148 0.27057 -0.43148 0.27252 -0.43125 C 0.27369 -0.43102 0.27487 -0.43078 0.27604 -0.43032 C 0.27721 -0.42986 0.27838 -0.42916 0.27968 -0.42893 C 0.28177 -0.42824 0.2832 -0.42847 0.28502 -0.42731 C 0.28645 -0.42639 0.28789 -0.42477 0.28945 -0.42407 C 0.29388 -0.42199 0.28867 -0.4243 0.29752 -0.42083 C 0.29817 -0.4206 0.29869 -0.42037 0.29935 -0.42014 C 0.29935 -0.42014 0.30351 -0.41759 0.30468 -0.4169 C 0.30507 -0.41666 0.3056 -0.4162 0.30599 -0.4162 L 0.3082 -0.41528 C 0.30937 -0.41389 0.31158 -0.41065 0.31263 -0.40972 L 0.31536 -0.4074 C 0.31614 -0.40602 0.31679 -0.40463 0.31757 -0.40347 C 0.31875 -0.40162 0.32096 -0.3993 0.322 -0.39791 C 0.32265 -0.39722 0.3233 -0.39629 0.32382 -0.3956 C 0.32435 -0.3949 0.32474 -0.39444 0.32513 -0.39398 C 0.32539 -0.39352 0.32799 -0.38981 0.32877 -0.38912 C 0.32929 -0.38865 0.32994 -0.38865 0.3306 -0.38842 C 0.33112 -0.38727 0.33164 -0.38611 0.33229 -0.38518 C 0.33411 -0.38264 0.33489 -0.38217 0.33685 -0.38032 C 0.3375 -0.37916 0.33815 -0.37754 0.33906 -0.37639 C 0.34075 -0.37407 0.34062 -0.37546 0.34218 -0.37407 C 0.34518 -0.37129 0.34153 -0.37338 0.34531 -0.37176 C 0.34687 -0.36898 0.34687 -0.36875 0.34882 -0.3662 C 0.35091 -0.36342 0.35143 -0.36365 0.35286 -0.36065 C 0.3539 -0.35833 0.35599 -0.35347 0.35599 -0.35347 C 0.35612 -0.35208 0.35625 -0.35069 0.35638 -0.34953 C 0.35651 -0.34861 0.35677 -0.34791 0.3569 -0.34722 C 0.35703 -0.3456 0.35703 -0.34398 0.35729 -0.34236 C 0.35781 -0.33958 0.35859 -0.33703 0.35911 -0.33449 L 0.35963 -0.33194 C 0.35937 -0.33078 0.35937 -0.3294 0.35911 -0.32801 C 0.35833 -0.3243 0.35573 -0.32315 0.35416 -0.32083 C 0.35273 -0.31875 0.35169 -0.31574 0.35013 -0.31389 C 0.34283 -0.30393 0.35481 -0.31967 0.34622 -0.30903 C 0.34296 -0.30509 0.34492 -0.30694 0.34218 -0.30278 C 0.34153 -0.30185 0.34088 -0.30115 0.34036 -0.30023 C 0.33893 -0.29791 0.33789 -0.29537 0.33632 -0.29305 C 0.33554 -0.29213 0.33476 -0.2912 0.33411 -0.29004 C 0.3332 -0.28842 0.33242 -0.28657 0.33138 -0.28518 C 0.33007 -0.28356 0.32838 -0.28287 0.32695 -0.28125 C 0.31823 -0.27176 0.32239 -0.27569 0.31757 -0.26944 C 0.31653 -0.26805 0.31549 -0.26666 0.31445 -0.26551 C 0.31367 -0.26435 0.31302 -0.26319 0.31224 -0.26227 C 0.31041 -0.26018 0.30833 -0.25856 0.30638 -0.25671 C 0.30273 -0.24791 0.30872 -0.26157 0.30104 -0.24791 C 0.29974 -0.2456 0.29856 -0.24282 0.297 -0.24074 C 0.29635 -0.23981 0.29557 -0.23889 0.29479 -0.23773 C 0.29349 -0.23541 0.29218 -0.23287 0.29075 -0.23055 C 0.2901 -0.22916 0.28945 -0.22754 0.28854 -0.22662 C 0.28541 -0.22245 0.28541 -0.22245 0.28138 -0.21551 C 0.2806 -0.21389 0.27994 -0.21227 0.27916 -0.21065 C 0.27669 -0.20578 0.2776 -0.20764 0.27513 -0.2044 C 0.27421 -0.20301 0.27343 -0.20162 0.27252 -0.20046 C 0.27135 -0.19884 0.26979 -0.19838 0.26849 -0.19722 C 0.26796 -0.19676 0.26757 -0.19606 0.26718 -0.1956 C 0.26653 -0.1949 0.26601 -0.19467 0.26536 -0.19398 C 0.26458 -0.19328 0.26393 -0.19236 0.26315 -0.19166 C 0.26263 -0.1912 0.26198 -0.1912 0.26132 -0.19074 C 0.26093 -0.19051 0.26041 -0.19028 0.26002 -0.19004 C 0.25612 -0.18703 0.26002 -0.18958 0.2569 -0.18773 C 0.25195 -0.18102 0.25976 -0.19143 0.25065 -0.18055 C 0.25013 -0.18009 0.24974 -0.1794 0.24935 -0.17893 C 0.24648 -0.17639 0.24778 -0.17801 0.24531 -0.17662 C 0.24101 -0.17407 0.24518 -0.17569 0.24036 -0.17407 C 0.23893 -0.175 0.23854 -0.175 0.23945 -0.175 L 0.23945 -0.175 " pathEditMode="relative" ptsTypes="AAAAAAAAAAAAAAAAAAAAAAAAAAAAAAAAAAAAAAAAAAAAAAAAAAAAAAAAAAAAAAAAAAAAAAAAAAAAAAAAAAAAAAAAAAAAAAAAAAAAAAAAAAAAAAAAAAAAAAAAAAAAAAAAAAAAAAAAAAAAAAAAAAAAAAAAAAAAAAAAAAAAAAAAAAAAAAAAAA">
                                      <p:cBhvr>
                                        <p:cTn id="42" dur="2500" fill="hold"/>
                                        <p:tgtEl>
                                          <p:spTgt spid="2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" grpId="0" animBg="1"/>
      <p:bldP spid="140" grpId="0"/>
      <p:bldP spid="116" grpId="0" animBg="1"/>
      <p:bldP spid="245" grpId="0" animBg="1"/>
      <p:bldP spid="22" grpId="0" animBg="1"/>
      <p:bldP spid="254" grpId="0" animBg="1"/>
      <p:bldP spid="112" grpId="0" animBg="1"/>
      <p:bldP spid="285" grpId="0" animBg="1"/>
      <p:bldP spid="113" grpId="0" animBg="1"/>
      <p:bldP spid="250" grpId="0" animBg="1"/>
      <p:bldP spid="114" grpId="0" animBg="1"/>
      <p:bldP spid="149" grpId="0" animBg="1"/>
      <p:bldP spid="115" grpId="0" animBg="1"/>
      <p:bldP spid="253" grpId="0" animBg="1"/>
      <p:bldP spid="117" grpId="0" animBg="1"/>
      <p:bldP spid="28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9B9DAA3-3403-452C-B135-242D3C341B9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992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9B9DAA3-3403-452C-B135-242D3C341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Oval 110" hidden="1">
            <a:extLst>
              <a:ext uri="{FF2B5EF4-FFF2-40B4-BE49-F238E27FC236}">
                <a16:creationId xmlns:a16="http://schemas.microsoft.com/office/drawing/2014/main" id="{83FB83F6-14B3-4A9B-8D6B-37DD80EF711C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3" name="TextBox 132" hidden="1">
            <a:extLst>
              <a:ext uri="{FF2B5EF4-FFF2-40B4-BE49-F238E27FC236}">
                <a16:creationId xmlns:a16="http://schemas.microsoft.com/office/drawing/2014/main" id="{D50CC469-04D2-4189-BC94-064E127C790D}"/>
              </a:ext>
            </a:extLst>
          </p:cNvPr>
          <p:cNvSpPr txBox="1"/>
          <p:nvPr/>
        </p:nvSpPr>
        <p:spPr>
          <a:xfrm rot="2759185">
            <a:off x="895917" y="1087211"/>
            <a:ext cx="1077973" cy="479576"/>
          </a:xfrm>
          <a:prstGeom prst="rect">
            <a:avLst/>
          </a:prstGeom>
          <a:noFill/>
        </p:spPr>
        <p:txBody>
          <a:bodyPr wrap="none" rtlCol="0">
            <a:prstTxWarp prst="textArchUp">
              <a:avLst>
                <a:gd name="adj" fmla="val 13494372"/>
              </a:avLst>
            </a:prstTxWarp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30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ERSTAND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6BE156E-565A-4F79-81EC-7F24F1906952}"/>
              </a:ext>
            </a:extLst>
          </p:cNvPr>
          <p:cNvSpPr/>
          <p:nvPr/>
        </p:nvSpPr>
        <p:spPr>
          <a:xfrm>
            <a:off x="2138523" y="1790728"/>
            <a:ext cx="1778707" cy="1778707"/>
          </a:xfrm>
          <a:prstGeom prst="ellipse">
            <a:avLst/>
          </a:prstGeom>
          <a:noFill/>
          <a:ln w="28575">
            <a:solidFill>
              <a:srgbClr val="2946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F9C0336-606A-4678-A1E6-1A4F70E7AF00}"/>
              </a:ext>
            </a:extLst>
          </p:cNvPr>
          <p:cNvSpPr/>
          <p:nvPr/>
        </p:nvSpPr>
        <p:spPr>
          <a:xfrm>
            <a:off x="2789303" y="3260086"/>
            <a:ext cx="855491" cy="855491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8" name="Freeform 6">
            <a:extLst>
              <a:ext uri="{FF2B5EF4-FFF2-40B4-BE49-F238E27FC236}">
                <a16:creationId xmlns:a16="http://schemas.microsoft.com/office/drawing/2014/main" id="{3B6B07BA-4DE5-4FF3-8CB7-CC39A26B723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77901" y="2078800"/>
            <a:ext cx="315974" cy="513713"/>
          </a:xfrm>
          <a:custGeom>
            <a:avLst/>
            <a:gdLst>
              <a:gd name="T0" fmla="*/ 741 w 2478"/>
              <a:gd name="T1" fmla="*/ 3516 h 4032"/>
              <a:gd name="T2" fmla="*/ 774 w 2478"/>
              <a:gd name="T3" fmla="*/ 3668 h 4032"/>
              <a:gd name="T4" fmla="*/ 929 w 2478"/>
              <a:gd name="T5" fmla="*/ 3668 h 4032"/>
              <a:gd name="T6" fmla="*/ 963 w 2478"/>
              <a:gd name="T7" fmla="*/ 3516 h 4032"/>
              <a:gd name="T8" fmla="*/ 852 w 2478"/>
              <a:gd name="T9" fmla="*/ 3336 h 4032"/>
              <a:gd name="T10" fmla="*/ 1054 w 2478"/>
              <a:gd name="T11" fmla="*/ 3453 h 4032"/>
              <a:gd name="T12" fmla="*/ 1054 w 2478"/>
              <a:gd name="T13" fmla="*/ 3689 h 4032"/>
              <a:gd name="T14" fmla="*/ 852 w 2478"/>
              <a:gd name="T15" fmla="*/ 3806 h 4032"/>
              <a:gd name="T16" fmla="*/ 649 w 2478"/>
              <a:gd name="T17" fmla="*/ 3689 h 4032"/>
              <a:gd name="T18" fmla="*/ 649 w 2478"/>
              <a:gd name="T19" fmla="*/ 3453 h 4032"/>
              <a:gd name="T20" fmla="*/ 852 w 2478"/>
              <a:gd name="T21" fmla="*/ 3336 h 4032"/>
              <a:gd name="T22" fmla="*/ 293 w 2478"/>
              <a:gd name="T23" fmla="*/ 3121 h 4032"/>
              <a:gd name="T24" fmla="*/ 1382 w 2478"/>
              <a:gd name="T25" fmla="*/ 3156 h 4032"/>
              <a:gd name="T26" fmla="*/ 1394 w 2478"/>
              <a:gd name="T27" fmla="*/ 1258 h 4032"/>
              <a:gd name="T28" fmla="*/ 1397 w 2478"/>
              <a:gd name="T29" fmla="*/ 1139 h 4032"/>
              <a:gd name="T30" fmla="*/ 1514 w 2478"/>
              <a:gd name="T31" fmla="*/ 1255 h 4032"/>
              <a:gd name="T32" fmla="*/ 1473 w 2478"/>
              <a:gd name="T33" fmla="*/ 3227 h 4032"/>
              <a:gd name="T34" fmla="*/ 303 w 2478"/>
              <a:gd name="T35" fmla="*/ 3267 h 4032"/>
              <a:gd name="T36" fmla="*/ 186 w 2478"/>
              <a:gd name="T37" fmla="*/ 3151 h 4032"/>
              <a:gd name="T38" fmla="*/ 227 w 2478"/>
              <a:gd name="T39" fmla="*/ 1179 h 4032"/>
              <a:gd name="T40" fmla="*/ 1037 w 2478"/>
              <a:gd name="T41" fmla="*/ 966 h 4032"/>
              <a:gd name="T42" fmla="*/ 1091 w 2478"/>
              <a:gd name="T43" fmla="*/ 1040 h 4032"/>
              <a:gd name="T44" fmla="*/ 636 w 2478"/>
              <a:gd name="T45" fmla="*/ 1074 h 4032"/>
              <a:gd name="T46" fmla="*/ 609 w 2478"/>
              <a:gd name="T47" fmla="*/ 988 h 4032"/>
              <a:gd name="T48" fmla="*/ 186 w 2478"/>
              <a:gd name="T49" fmla="*/ 894 h 4032"/>
              <a:gd name="T50" fmla="*/ 110 w 2478"/>
              <a:gd name="T51" fmla="*/ 3786 h 4032"/>
              <a:gd name="T52" fmla="*/ 214 w 2478"/>
              <a:gd name="T53" fmla="*/ 3917 h 4032"/>
              <a:gd name="T54" fmla="*/ 1553 w 2478"/>
              <a:gd name="T55" fmla="*/ 3871 h 4032"/>
              <a:gd name="T56" fmla="*/ 1569 w 2478"/>
              <a:gd name="T57" fmla="*/ 955 h 4032"/>
              <a:gd name="T58" fmla="*/ 246 w 2478"/>
              <a:gd name="T59" fmla="*/ 880 h 4032"/>
              <a:gd name="T60" fmla="*/ 1593 w 2478"/>
              <a:gd name="T61" fmla="*/ 816 h 4032"/>
              <a:gd name="T62" fmla="*/ 1693 w 2478"/>
              <a:gd name="T63" fmla="*/ 1015 h 4032"/>
              <a:gd name="T64" fmla="*/ 1621 w 2478"/>
              <a:gd name="T65" fmla="*/ 3960 h 4032"/>
              <a:gd name="T66" fmla="*/ 246 w 2478"/>
              <a:gd name="T67" fmla="*/ 4032 h 4032"/>
              <a:gd name="T68" fmla="*/ 46 w 2478"/>
              <a:gd name="T69" fmla="*/ 3932 h 4032"/>
              <a:gd name="T70" fmla="*/ 2 w 2478"/>
              <a:gd name="T71" fmla="*/ 975 h 4032"/>
              <a:gd name="T72" fmla="*/ 132 w 2478"/>
              <a:gd name="T73" fmla="*/ 797 h 4032"/>
              <a:gd name="T74" fmla="*/ 1647 w 2478"/>
              <a:gd name="T75" fmla="*/ 601 h 4032"/>
              <a:gd name="T76" fmla="*/ 1855 w 2478"/>
              <a:gd name="T77" fmla="*/ 784 h 4032"/>
              <a:gd name="T78" fmla="*/ 1862 w 2478"/>
              <a:gd name="T79" fmla="*/ 935 h 4032"/>
              <a:gd name="T80" fmla="*/ 1786 w 2478"/>
              <a:gd name="T81" fmla="*/ 918 h 4032"/>
              <a:gd name="T82" fmla="*/ 1660 w 2478"/>
              <a:gd name="T83" fmla="*/ 731 h 4032"/>
              <a:gd name="T84" fmla="*/ 1499 w 2478"/>
              <a:gd name="T85" fmla="*/ 662 h 4032"/>
              <a:gd name="T86" fmla="*/ 1536 w 2478"/>
              <a:gd name="T87" fmla="*/ 580 h 4032"/>
              <a:gd name="T88" fmla="*/ 1840 w 2478"/>
              <a:gd name="T89" fmla="*/ 365 h 4032"/>
              <a:gd name="T90" fmla="*/ 2111 w 2478"/>
              <a:gd name="T91" fmla="*/ 641 h 4032"/>
              <a:gd name="T92" fmla="*/ 2188 w 2478"/>
              <a:gd name="T93" fmla="*/ 1030 h 4032"/>
              <a:gd name="T94" fmla="*/ 2127 w 2478"/>
              <a:gd name="T95" fmla="*/ 1079 h 4032"/>
              <a:gd name="T96" fmla="*/ 2081 w 2478"/>
              <a:gd name="T97" fmla="*/ 957 h 4032"/>
              <a:gd name="T98" fmla="*/ 1971 w 2478"/>
              <a:gd name="T99" fmla="*/ 626 h 4032"/>
              <a:gd name="T100" fmla="*/ 1691 w 2478"/>
              <a:gd name="T101" fmla="*/ 422 h 4032"/>
              <a:gd name="T102" fmla="*/ 1523 w 2478"/>
              <a:gd name="T103" fmla="*/ 353 h 4032"/>
              <a:gd name="T104" fmla="*/ 1583 w 2478"/>
              <a:gd name="T105" fmla="*/ 286 h 4032"/>
              <a:gd name="T106" fmla="*/ 1995 w 2478"/>
              <a:gd name="T107" fmla="*/ 125 h 4032"/>
              <a:gd name="T108" fmla="*/ 2330 w 2478"/>
              <a:gd name="T109" fmla="*/ 447 h 4032"/>
              <a:gd name="T110" fmla="*/ 2476 w 2478"/>
              <a:gd name="T111" fmla="*/ 894 h 4032"/>
              <a:gd name="T112" fmla="*/ 2434 w 2478"/>
              <a:gd name="T113" fmla="*/ 1107 h 4032"/>
              <a:gd name="T114" fmla="*/ 2363 w 2478"/>
              <a:gd name="T115" fmla="*/ 1065 h 4032"/>
              <a:gd name="T116" fmla="*/ 2318 w 2478"/>
              <a:gd name="T117" fmla="*/ 676 h 4032"/>
              <a:gd name="T118" fmla="*/ 2075 w 2478"/>
              <a:gd name="T119" fmla="*/ 316 h 4032"/>
              <a:gd name="T120" fmla="*/ 1677 w 2478"/>
              <a:gd name="T121" fmla="*/ 122 h 4032"/>
              <a:gd name="T122" fmla="*/ 1551 w 2478"/>
              <a:gd name="T123" fmla="*/ 50 h 40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478" h="4032">
                <a:moveTo>
                  <a:pt x="852" y="3447"/>
                </a:moveTo>
                <a:lnTo>
                  <a:pt x="823" y="3450"/>
                </a:lnTo>
                <a:lnTo>
                  <a:pt x="797" y="3460"/>
                </a:lnTo>
                <a:lnTo>
                  <a:pt x="774" y="3475"/>
                </a:lnTo>
                <a:lnTo>
                  <a:pt x="756" y="3493"/>
                </a:lnTo>
                <a:lnTo>
                  <a:pt x="741" y="3516"/>
                </a:lnTo>
                <a:lnTo>
                  <a:pt x="731" y="3542"/>
                </a:lnTo>
                <a:lnTo>
                  <a:pt x="727" y="3571"/>
                </a:lnTo>
                <a:lnTo>
                  <a:pt x="731" y="3599"/>
                </a:lnTo>
                <a:lnTo>
                  <a:pt x="741" y="3625"/>
                </a:lnTo>
                <a:lnTo>
                  <a:pt x="756" y="3648"/>
                </a:lnTo>
                <a:lnTo>
                  <a:pt x="774" y="3668"/>
                </a:lnTo>
                <a:lnTo>
                  <a:pt x="797" y="3683"/>
                </a:lnTo>
                <a:lnTo>
                  <a:pt x="823" y="3691"/>
                </a:lnTo>
                <a:lnTo>
                  <a:pt x="852" y="3695"/>
                </a:lnTo>
                <a:lnTo>
                  <a:pt x="880" y="3691"/>
                </a:lnTo>
                <a:lnTo>
                  <a:pt x="906" y="3683"/>
                </a:lnTo>
                <a:lnTo>
                  <a:pt x="929" y="3668"/>
                </a:lnTo>
                <a:lnTo>
                  <a:pt x="949" y="3648"/>
                </a:lnTo>
                <a:lnTo>
                  <a:pt x="963" y="3625"/>
                </a:lnTo>
                <a:lnTo>
                  <a:pt x="972" y="3599"/>
                </a:lnTo>
                <a:lnTo>
                  <a:pt x="976" y="3571"/>
                </a:lnTo>
                <a:lnTo>
                  <a:pt x="972" y="3542"/>
                </a:lnTo>
                <a:lnTo>
                  <a:pt x="963" y="3516"/>
                </a:lnTo>
                <a:lnTo>
                  <a:pt x="949" y="3493"/>
                </a:lnTo>
                <a:lnTo>
                  <a:pt x="929" y="3475"/>
                </a:lnTo>
                <a:lnTo>
                  <a:pt x="906" y="3460"/>
                </a:lnTo>
                <a:lnTo>
                  <a:pt x="880" y="3450"/>
                </a:lnTo>
                <a:lnTo>
                  <a:pt x="852" y="3447"/>
                </a:lnTo>
                <a:close/>
                <a:moveTo>
                  <a:pt x="852" y="3336"/>
                </a:moveTo>
                <a:lnTo>
                  <a:pt x="894" y="3340"/>
                </a:lnTo>
                <a:lnTo>
                  <a:pt x="934" y="3351"/>
                </a:lnTo>
                <a:lnTo>
                  <a:pt x="970" y="3369"/>
                </a:lnTo>
                <a:lnTo>
                  <a:pt x="1003" y="3392"/>
                </a:lnTo>
                <a:lnTo>
                  <a:pt x="1031" y="3420"/>
                </a:lnTo>
                <a:lnTo>
                  <a:pt x="1054" y="3453"/>
                </a:lnTo>
                <a:lnTo>
                  <a:pt x="1072" y="3490"/>
                </a:lnTo>
                <a:lnTo>
                  <a:pt x="1083" y="3529"/>
                </a:lnTo>
                <a:lnTo>
                  <a:pt x="1087" y="3571"/>
                </a:lnTo>
                <a:lnTo>
                  <a:pt x="1083" y="3613"/>
                </a:lnTo>
                <a:lnTo>
                  <a:pt x="1072" y="3653"/>
                </a:lnTo>
                <a:lnTo>
                  <a:pt x="1054" y="3689"/>
                </a:lnTo>
                <a:lnTo>
                  <a:pt x="1031" y="3722"/>
                </a:lnTo>
                <a:lnTo>
                  <a:pt x="1003" y="3750"/>
                </a:lnTo>
                <a:lnTo>
                  <a:pt x="970" y="3773"/>
                </a:lnTo>
                <a:lnTo>
                  <a:pt x="934" y="3791"/>
                </a:lnTo>
                <a:lnTo>
                  <a:pt x="894" y="3802"/>
                </a:lnTo>
                <a:lnTo>
                  <a:pt x="852" y="3806"/>
                </a:lnTo>
                <a:lnTo>
                  <a:pt x="809" y="3802"/>
                </a:lnTo>
                <a:lnTo>
                  <a:pt x="770" y="3791"/>
                </a:lnTo>
                <a:lnTo>
                  <a:pt x="734" y="3773"/>
                </a:lnTo>
                <a:lnTo>
                  <a:pt x="701" y="3750"/>
                </a:lnTo>
                <a:lnTo>
                  <a:pt x="672" y="3722"/>
                </a:lnTo>
                <a:lnTo>
                  <a:pt x="649" y="3689"/>
                </a:lnTo>
                <a:lnTo>
                  <a:pt x="632" y="3653"/>
                </a:lnTo>
                <a:lnTo>
                  <a:pt x="621" y="3613"/>
                </a:lnTo>
                <a:lnTo>
                  <a:pt x="617" y="3571"/>
                </a:lnTo>
                <a:lnTo>
                  <a:pt x="621" y="3529"/>
                </a:lnTo>
                <a:lnTo>
                  <a:pt x="632" y="3490"/>
                </a:lnTo>
                <a:lnTo>
                  <a:pt x="649" y="3453"/>
                </a:lnTo>
                <a:lnTo>
                  <a:pt x="672" y="3420"/>
                </a:lnTo>
                <a:lnTo>
                  <a:pt x="701" y="3392"/>
                </a:lnTo>
                <a:lnTo>
                  <a:pt x="734" y="3369"/>
                </a:lnTo>
                <a:lnTo>
                  <a:pt x="770" y="3351"/>
                </a:lnTo>
                <a:lnTo>
                  <a:pt x="809" y="3340"/>
                </a:lnTo>
                <a:lnTo>
                  <a:pt x="852" y="3336"/>
                </a:lnTo>
                <a:close/>
                <a:moveTo>
                  <a:pt x="333" y="1246"/>
                </a:moveTo>
                <a:lnTo>
                  <a:pt x="318" y="1250"/>
                </a:lnTo>
                <a:lnTo>
                  <a:pt x="306" y="1258"/>
                </a:lnTo>
                <a:lnTo>
                  <a:pt x="297" y="1271"/>
                </a:lnTo>
                <a:lnTo>
                  <a:pt x="293" y="1285"/>
                </a:lnTo>
                <a:lnTo>
                  <a:pt x="293" y="3121"/>
                </a:lnTo>
                <a:lnTo>
                  <a:pt x="297" y="3135"/>
                </a:lnTo>
                <a:lnTo>
                  <a:pt x="306" y="3147"/>
                </a:lnTo>
                <a:lnTo>
                  <a:pt x="318" y="3156"/>
                </a:lnTo>
                <a:lnTo>
                  <a:pt x="333" y="3160"/>
                </a:lnTo>
                <a:lnTo>
                  <a:pt x="1367" y="3160"/>
                </a:lnTo>
                <a:lnTo>
                  <a:pt x="1382" y="3156"/>
                </a:lnTo>
                <a:lnTo>
                  <a:pt x="1395" y="3147"/>
                </a:lnTo>
                <a:lnTo>
                  <a:pt x="1402" y="3135"/>
                </a:lnTo>
                <a:lnTo>
                  <a:pt x="1406" y="3121"/>
                </a:lnTo>
                <a:lnTo>
                  <a:pt x="1406" y="1285"/>
                </a:lnTo>
                <a:lnTo>
                  <a:pt x="1402" y="1271"/>
                </a:lnTo>
                <a:lnTo>
                  <a:pt x="1394" y="1258"/>
                </a:lnTo>
                <a:lnTo>
                  <a:pt x="1382" y="1250"/>
                </a:lnTo>
                <a:lnTo>
                  <a:pt x="1367" y="1246"/>
                </a:lnTo>
                <a:lnTo>
                  <a:pt x="333" y="1246"/>
                </a:lnTo>
                <a:close/>
                <a:moveTo>
                  <a:pt x="333" y="1135"/>
                </a:moveTo>
                <a:lnTo>
                  <a:pt x="1367" y="1135"/>
                </a:lnTo>
                <a:lnTo>
                  <a:pt x="1397" y="1139"/>
                </a:lnTo>
                <a:lnTo>
                  <a:pt x="1426" y="1147"/>
                </a:lnTo>
                <a:lnTo>
                  <a:pt x="1451" y="1161"/>
                </a:lnTo>
                <a:lnTo>
                  <a:pt x="1473" y="1179"/>
                </a:lnTo>
                <a:lnTo>
                  <a:pt x="1492" y="1202"/>
                </a:lnTo>
                <a:lnTo>
                  <a:pt x="1505" y="1227"/>
                </a:lnTo>
                <a:lnTo>
                  <a:pt x="1514" y="1255"/>
                </a:lnTo>
                <a:lnTo>
                  <a:pt x="1517" y="1285"/>
                </a:lnTo>
                <a:lnTo>
                  <a:pt x="1517" y="3121"/>
                </a:lnTo>
                <a:lnTo>
                  <a:pt x="1514" y="3151"/>
                </a:lnTo>
                <a:lnTo>
                  <a:pt x="1505" y="3179"/>
                </a:lnTo>
                <a:lnTo>
                  <a:pt x="1492" y="3204"/>
                </a:lnTo>
                <a:lnTo>
                  <a:pt x="1473" y="3227"/>
                </a:lnTo>
                <a:lnTo>
                  <a:pt x="1451" y="3245"/>
                </a:lnTo>
                <a:lnTo>
                  <a:pt x="1426" y="3259"/>
                </a:lnTo>
                <a:lnTo>
                  <a:pt x="1397" y="3267"/>
                </a:lnTo>
                <a:lnTo>
                  <a:pt x="1367" y="3271"/>
                </a:lnTo>
                <a:lnTo>
                  <a:pt x="333" y="3271"/>
                </a:lnTo>
                <a:lnTo>
                  <a:pt x="303" y="3267"/>
                </a:lnTo>
                <a:lnTo>
                  <a:pt x="275" y="3259"/>
                </a:lnTo>
                <a:lnTo>
                  <a:pt x="249" y="3245"/>
                </a:lnTo>
                <a:lnTo>
                  <a:pt x="227" y="3227"/>
                </a:lnTo>
                <a:lnTo>
                  <a:pt x="209" y="3204"/>
                </a:lnTo>
                <a:lnTo>
                  <a:pt x="194" y="3179"/>
                </a:lnTo>
                <a:lnTo>
                  <a:pt x="186" y="3151"/>
                </a:lnTo>
                <a:lnTo>
                  <a:pt x="183" y="3121"/>
                </a:lnTo>
                <a:lnTo>
                  <a:pt x="183" y="1285"/>
                </a:lnTo>
                <a:lnTo>
                  <a:pt x="186" y="1255"/>
                </a:lnTo>
                <a:lnTo>
                  <a:pt x="194" y="1227"/>
                </a:lnTo>
                <a:lnTo>
                  <a:pt x="209" y="1202"/>
                </a:lnTo>
                <a:lnTo>
                  <a:pt x="227" y="1179"/>
                </a:lnTo>
                <a:lnTo>
                  <a:pt x="249" y="1161"/>
                </a:lnTo>
                <a:lnTo>
                  <a:pt x="275" y="1147"/>
                </a:lnTo>
                <a:lnTo>
                  <a:pt x="303" y="1139"/>
                </a:lnTo>
                <a:lnTo>
                  <a:pt x="333" y="1135"/>
                </a:lnTo>
                <a:close/>
                <a:moveTo>
                  <a:pt x="654" y="966"/>
                </a:moveTo>
                <a:lnTo>
                  <a:pt x="1037" y="966"/>
                </a:lnTo>
                <a:lnTo>
                  <a:pt x="1055" y="969"/>
                </a:lnTo>
                <a:lnTo>
                  <a:pt x="1070" y="977"/>
                </a:lnTo>
                <a:lnTo>
                  <a:pt x="1082" y="988"/>
                </a:lnTo>
                <a:lnTo>
                  <a:pt x="1091" y="1004"/>
                </a:lnTo>
                <a:lnTo>
                  <a:pt x="1093" y="1021"/>
                </a:lnTo>
                <a:lnTo>
                  <a:pt x="1091" y="1040"/>
                </a:lnTo>
                <a:lnTo>
                  <a:pt x="1082" y="1054"/>
                </a:lnTo>
                <a:lnTo>
                  <a:pt x="1070" y="1067"/>
                </a:lnTo>
                <a:lnTo>
                  <a:pt x="1055" y="1074"/>
                </a:lnTo>
                <a:lnTo>
                  <a:pt x="1037" y="1078"/>
                </a:lnTo>
                <a:lnTo>
                  <a:pt x="654" y="1078"/>
                </a:lnTo>
                <a:lnTo>
                  <a:pt x="636" y="1074"/>
                </a:lnTo>
                <a:lnTo>
                  <a:pt x="621" y="1067"/>
                </a:lnTo>
                <a:lnTo>
                  <a:pt x="609" y="1054"/>
                </a:lnTo>
                <a:lnTo>
                  <a:pt x="602" y="1040"/>
                </a:lnTo>
                <a:lnTo>
                  <a:pt x="598" y="1021"/>
                </a:lnTo>
                <a:lnTo>
                  <a:pt x="602" y="1004"/>
                </a:lnTo>
                <a:lnTo>
                  <a:pt x="609" y="988"/>
                </a:lnTo>
                <a:lnTo>
                  <a:pt x="621" y="977"/>
                </a:lnTo>
                <a:lnTo>
                  <a:pt x="636" y="969"/>
                </a:lnTo>
                <a:lnTo>
                  <a:pt x="654" y="966"/>
                </a:lnTo>
                <a:close/>
                <a:moveTo>
                  <a:pt x="246" y="880"/>
                </a:moveTo>
                <a:lnTo>
                  <a:pt x="214" y="883"/>
                </a:lnTo>
                <a:lnTo>
                  <a:pt x="186" y="894"/>
                </a:lnTo>
                <a:lnTo>
                  <a:pt x="161" y="910"/>
                </a:lnTo>
                <a:lnTo>
                  <a:pt x="141" y="931"/>
                </a:lnTo>
                <a:lnTo>
                  <a:pt x="125" y="955"/>
                </a:lnTo>
                <a:lnTo>
                  <a:pt x="114" y="985"/>
                </a:lnTo>
                <a:lnTo>
                  <a:pt x="110" y="1015"/>
                </a:lnTo>
                <a:lnTo>
                  <a:pt x="110" y="3786"/>
                </a:lnTo>
                <a:lnTo>
                  <a:pt x="114" y="3817"/>
                </a:lnTo>
                <a:lnTo>
                  <a:pt x="125" y="3845"/>
                </a:lnTo>
                <a:lnTo>
                  <a:pt x="141" y="3871"/>
                </a:lnTo>
                <a:lnTo>
                  <a:pt x="161" y="3891"/>
                </a:lnTo>
                <a:lnTo>
                  <a:pt x="186" y="3907"/>
                </a:lnTo>
                <a:lnTo>
                  <a:pt x="214" y="3917"/>
                </a:lnTo>
                <a:lnTo>
                  <a:pt x="246" y="3921"/>
                </a:lnTo>
                <a:lnTo>
                  <a:pt x="1448" y="3921"/>
                </a:lnTo>
                <a:lnTo>
                  <a:pt x="1479" y="3917"/>
                </a:lnTo>
                <a:lnTo>
                  <a:pt x="1507" y="3907"/>
                </a:lnTo>
                <a:lnTo>
                  <a:pt x="1532" y="3891"/>
                </a:lnTo>
                <a:lnTo>
                  <a:pt x="1553" y="3871"/>
                </a:lnTo>
                <a:lnTo>
                  <a:pt x="1569" y="3845"/>
                </a:lnTo>
                <a:lnTo>
                  <a:pt x="1580" y="3817"/>
                </a:lnTo>
                <a:lnTo>
                  <a:pt x="1583" y="3786"/>
                </a:lnTo>
                <a:lnTo>
                  <a:pt x="1583" y="1015"/>
                </a:lnTo>
                <a:lnTo>
                  <a:pt x="1580" y="985"/>
                </a:lnTo>
                <a:lnTo>
                  <a:pt x="1569" y="955"/>
                </a:lnTo>
                <a:lnTo>
                  <a:pt x="1553" y="931"/>
                </a:lnTo>
                <a:lnTo>
                  <a:pt x="1532" y="910"/>
                </a:lnTo>
                <a:lnTo>
                  <a:pt x="1507" y="894"/>
                </a:lnTo>
                <a:lnTo>
                  <a:pt x="1479" y="883"/>
                </a:lnTo>
                <a:lnTo>
                  <a:pt x="1448" y="880"/>
                </a:lnTo>
                <a:lnTo>
                  <a:pt x="246" y="880"/>
                </a:lnTo>
                <a:close/>
                <a:moveTo>
                  <a:pt x="246" y="770"/>
                </a:moveTo>
                <a:lnTo>
                  <a:pt x="1448" y="770"/>
                </a:lnTo>
                <a:lnTo>
                  <a:pt x="1488" y="772"/>
                </a:lnTo>
                <a:lnTo>
                  <a:pt x="1526" y="782"/>
                </a:lnTo>
                <a:lnTo>
                  <a:pt x="1561" y="797"/>
                </a:lnTo>
                <a:lnTo>
                  <a:pt x="1593" y="816"/>
                </a:lnTo>
                <a:lnTo>
                  <a:pt x="1621" y="842"/>
                </a:lnTo>
                <a:lnTo>
                  <a:pt x="1647" y="870"/>
                </a:lnTo>
                <a:lnTo>
                  <a:pt x="1666" y="902"/>
                </a:lnTo>
                <a:lnTo>
                  <a:pt x="1681" y="937"/>
                </a:lnTo>
                <a:lnTo>
                  <a:pt x="1691" y="975"/>
                </a:lnTo>
                <a:lnTo>
                  <a:pt x="1693" y="1015"/>
                </a:lnTo>
                <a:lnTo>
                  <a:pt x="1693" y="3786"/>
                </a:lnTo>
                <a:lnTo>
                  <a:pt x="1691" y="3826"/>
                </a:lnTo>
                <a:lnTo>
                  <a:pt x="1681" y="3863"/>
                </a:lnTo>
                <a:lnTo>
                  <a:pt x="1666" y="3899"/>
                </a:lnTo>
                <a:lnTo>
                  <a:pt x="1647" y="3932"/>
                </a:lnTo>
                <a:lnTo>
                  <a:pt x="1621" y="3960"/>
                </a:lnTo>
                <a:lnTo>
                  <a:pt x="1593" y="3984"/>
                </a:lnTo>
                <a:lnTo>
                  <a:pt x="1561" y="4005"/>
                </a:lnTo>
                <a:lnTo>
                  <a:pt x="1526" y="4020"/>
                </a:lnTo>
                <a:lnTo>
                  <a:pt x="1488" y="4028"/>
                </a:lnTo>
                <a:lnTo>
                  <a:pt x="1448" y="4032"/>
                </a:lnTo>
                <a:lnTo>
                  <a:pt x="246" y="4032"/>
                </a:lnTo>
                <a:lnTo>
                  <a:pt x="205" y="4028"/>
                </a:lnTo>
                <a:lnTo>
                  <a:pt x="167" y="4020"/>
                </a:lnTo>
                <a:lnTo>
                  <a:pt x="132" y="4005"/>
                </a:lnTo>
                <a:lnTo>
                  <a:pt x="100" y="3984"/>
                </a:lnTo>
                <a:lnTo>
                  <a:pt x="72" y="3960"/>
                </a:lnTo>
                <a:lnTo>
                  <a:pt x="46" y="3932"/>
                </a:lnTo>
                <a:lnTo>
                  <a:pt x="27" y="3899"/>
                </a:lnTo>
                <a:lnTo>
                  <a:pt x="12" y="3863"/>
                </a:lnTo>
                <a:lnTo>
                  <a:pt x="2" y="3826"/>
                </a:lnTo>
                <a:lnTo>
                  <a:pt x="0" y="3786"/>
                </a:lnTo>
                <a:lnTo>
                  <a:pt x="0" y="1015"/>
                </a:lnTo>
                <a:lnTo>
                  <a:pt x="2" y="975"/>
                </a:lnTo>
                <a:lnTo>
                  <a:pt x="12" y="937"/>
                </a:lnTo>
                <a:lnTo>
                  <a:pt x="27" y="902"/>
                </a:lnTo>
                <a:lnTo>
                  <a:pt x="46" y="870"/>
                </a:lnTo>
                <a:lnTo>
                  <a:pt x="72" y="842"/>
                </a:lnTo>
                <a:lnTo>
                  <a:pt x="100" y="816"/>
                </a:lnTo>
                <a:lnTo>
                  <a:pt x="132" y="797"/>
                </a:lnTo>
                <a:lnTo>
                  <a:pt x="167" y="782"/>
                </a:lnTo>
                <a:lnTo>
                  <a:pt x="205" y="772"/>
                </a:lnTo>
                <a:lnTo>
                  <a:pt x="246" y="770"/>
                </a:lnTo>
                <a:close/>
                <a:moveTo>
                  <a:pt x="1553" y="579"/>
                </a:moveTo>
                <a:lnTo>
                  <a:pt x="1600" y="586"/>
                </a:lnTo>
                <a:lnTo>
                  <a:pt x="1647" y="601"/>
                </a:lnTo>
                <a:lnTo>
                  <a:pt x="1690" y="619"/>
                </a:lnTo>
                <a:lnTo>
                  <a:pt x="1731" y="644"/>
                </a:lnTo>
                <a:lnTo>
                  <a:pt x="1768" y="673"/>
                </a:lnTo>
                <a:lnTo>
                  <a:pt x="1801" y="706"/>
                </a:lnTo>
                <a:lnTo>
                  <a:pt x="1830" y="744"/>
                </a:lnTo>
                <a:lnTo>
                  <a:pt x="1855" y="784"/>
                </a:lnTo>
                <a:lnTo>
                  <a:pt x="1873" y="828"/>
                </a:lnTo>
                <a:lnTo>
                  <a:pt x="1888" y="875"/>
                </a:lnTo>
                <a:lnTo>
                  <a:pt x="1888" y="893"/>
                </a:lnTo>
                <a:lnTo>
                  <a:pt x="1884" y="909"/>
                </a:lnTo>
                <a:lnTo>
                  <a:pt x="1875" y="924"/>
                </a:lnTo>
                <a:lnTo>
                  <a:pt x="1862" y="935"/>
                </a:lnTo>
                <a:lnTo>
                  <a:pt x="1845" y="942"/>
                </a:lnTo>
                <a:lnTo>
                  <a:pt x="1839" y="942"/>
                </a:lnTo>
                <a:lnTo>
                  <a:pt x="1833" y="943"/>
                </a:lnTo>
                <a:lnTo>
                  <a:pt x="1814" y="940"/>
                </a:lnTo>
                <a:lnTo>
                  <a:pt x="1798" y="931"/>
                </a:lnTo>
                <a:lnTo>
                  <a:pt x="1786" y="918"/>
                </a:lnTo>
                <a:lnTo>
                  <a:pt x="1779" y="899"/>
                </a:lnTo>
                <a:lnTo>
                  <a:pt x="1765" y="859"/>
                </a:lnTo>
                <a:lnTo>
                  <a:pt x="1747" y="820"/>
                </a:lnTo>
                <a:lnTo>
                  <a:pt x="1723" y="786"/>
                </a:lnTo>
                <a:lnTo>
                  <a:pt x="1695" y="756"/>
                </a:lnTo>
                <a:lnTo>
                  <a:pt x="1660" y="731"/>
                </a:lnTo>
                <a:lnTo>
                  <a:pt x="1624" y="711"/>
                </a:lnTo>
                <a:lnTo>
                  <a:pt x="1583" y="696"/>
                </a:lnTo>
                <a:lnTo>
                  <a:pt x="1542" y="689"/>
                </a:lnTo>
                <a:lnTo>
                  <a:pt x="1525" y="684"/>
                </a:lnTo>
                <a:lnTo>
                  <a:pt x="1510" y="676"/>
                </a:lnTo>
                <a:lnTo>
                  <a:pt x="1499" y="662"/>
                </a:lnTo>
                <a:lnTo>
                  <a:pt x="1493" y="646"/>
                </a:lnTo>
                <a:lnTo>
                  <a:pt x="1492" y="628"/>
                </a:lnTo>
                <a:lnTo>
                  <a:pt x="1496" y="611"/>
                </a:lnTo>
                <a:lnTo>
                  <a:pt x="1506" y="597"/>
                </a:lnTo>
                <a:lnTo>
                  <a:pt x="1520" y="586"/>
                </a:lnTo>
                <a:lnTo>
                  <a:pt x="1536" y="580"/>
                </a:lnTo>
                <a:lnTo>
                  <a:pt x="1553" y="579"/>
                </a:lnTo>
                <a:close/>
                <a:moveTo>
                  <a:pt x="1583" y="286"/>
                </a:moveTo>
                <a:lnTo>
                  <a:pt x="1652" y="296"/>
                </a:lnTo>
                <a:lnTo>
                  <a:pt x="1718" y="313"/>
                </a:lnTo>
                <a:lnTo>
                  <a:pt x="1780" y="336"/>
                </a:lnTo>
                <a:lnTo>
                  <a:pt x="1840" y="365"/>
                </a:lnTo>
                <a:lnTo>
                  <a:pt x="1896" y="401"/>
                </a:lnTo>
                <a:lnTo>
                  <a:pt x="1948" y="440"/>
                </a:lnTo>
                <a:lnTo>
                  <a:pt x="1997" y="484"/>
                </a:lnTo>
                <a:lnTo>
                  <a:pt x="2039" y="533"/>
                </a:lnTo>
                <a:lnTo>
                  <a:pt x="2078" y="585"/>
                </a:lnTo>
                <a:lnTo>
                  <a:pt x="2111" y="641"/>
                </a:lnTo>
                <a:lnTo>
                  <a:pt x="2140" y="700"/>
                </a:lnTo>
                <a:lnTo>
                  <a:pt x="2162" y="762"/>
                </a:lnTo>
                <a:lnTo>
                  <a:pt x="2179" y="826"/>
                </a:lnTo>
                <a:lnTo>
                  <a:pt x="2188" y="893"/>
                </a:lnTo>
                <a:lnTo>
                  <a:pt x="2192" y="960"/>
                </a:lnTo>
                <a:lnTo>
                  <a:pt x="2188" y="1030"/>
                </a:lnTo>
                <a:lnTo>
                  <a:pt x="2184" y="1046"/>
                </a:lnTo>
                <a:lnTo>
                  <a:pt x="2175" y="1059"/>
                </a:lnTo>
                <a:lnTo>
                  <a:pt x="2164" y="1070"/>
                </a:lnTo>
                <a:lnTo>
                  <a:pt x="2149" y="1078"/>
                </a:lnTo>
                <a:lnTo>
                  <a:pt x="2132" y="1079"/>
                </a:lnTo>
                <a:lnTo>
                  <a:pt x="2127" y="1079"/>
                </a:lnTo>
                <a:lnTo>
                  <a:pt x="2110" y="1074"/>
                </a:lnTo>
                <a:lnTo>
                  <a:pt x="2096" y="1065"/>
                </a:lnTo>
                <a:lnTo>
                  <a:pt x="2085" y="1052"/>
                </a:lnTo>
                <a:lnTo>
                  <a:pt x="2078" y="1036"/>
                </a:lnTo>
                <a:lnTo>
                  <a:pt x="2077" y="1018"/>
                </a:lnTo>
                <a:lnTo>
                  <a:pt x="2081" y="957"/>
                </a:lnTo>
                <a:lnTo>
                  <a:pt x="2077" y="896"/>
                </a:lnTo>
                <a:lnTo>
                  <a:pt x="2067" y="837"/>
                </a:lnTo>
                <a:lnTo>
                  <a:pt x="2052" y="781"/>
                </a:lnTo>
                <a:lnTo>
                  <a:pt x="2030" y="726"/>
                </a:lnTo>
                <a:lnTo>
                  <a:pt x="2003" y="674"/>
                </a:lnTo>
                <a:lnTo>
                  <a:pt x="1971" y="626"/>
                </a:lnTo>
                <a:lnTo>
                  <a:pt x="1934" y="580"/>
                </a:lnTo>
                <a:lnTo>
                  <a:pt x="1894" y="539"/>
                </a:lnTo>
                <a:lnTo>
                  <a:pt x="1849" y="502"/>
                </a:lnTo>
                <a:lnTo>
                  <a:pt x="1800" y="470"/>
                </a:lnTo>
                <a:lnTo>
                  <a:pt x="1747" y="444"/>
                </a:lnTo>
                <a:lnTo>
                  <a:pt x="1691" y="422"/>
                </a:lnTo>
                <a:lnTo>
                  <a:pt x="1632" y="406"/>
                </a:lnTo>
                <a:lnTo>
                  <a:pt x="1571" y="396"/>
                </a:lnTo>
                <a:lnTo>
                  <a:pt x="1554" y="391"/>
                </a:lnTo>
                <a:lnTo>
                  <a:pt x="1540" y="381"/>
                </a:lnTo>
                <a:lnTo>
                  <a:pt x="1529" y="369"/>
                </a:lnTo>
                <a:lnTo>
                  <a:pt x="1523" y="353"/>
                </a:lnTo>
                <a:lnTo>
                  <a:pt x="1522" y="335"/>
                </a:lnTo>
                <a:lnTo>
                  <a:pt x="1527" y="318"/>
                </a:lnTo>
                <a:lnTo>
                  <a:pt x="1536" y="303"/>
                </a:lnTo>
                <a:lnTo>
                  <a:pt x="1549" y="293"/>
                </a:lnTo>
                <a:lnTo>
                  <a:pt x="1565" y="287"/>
                </a:lnTo>
                <a:lnTo>
                  <a:pt x="1583" y="286"/>
                </a:lnTo>
                <a:close/>
                <a:moveTo>
                  <a:pt x="1613" y="0"/>
                </a:moveTo>
                <a:lnTo>
                  <a:pt x="1695" y="12"/>
                </a:lnTo>
                <a:lnTo>
                  <a:pt x="1775" y="31"/>
                </a:lnTo>
                <a:lnTo>
                  <a:pt x="1851" y="56"/>
                </a:lnTo>
                <a:lnTo>
                  <a:pt x="1926" y="87"/>
                </a:lnTo>
                <a:lnTo>
                  <a:pt x="1995" y="125"/>
                </a:lnTo>
                <a:lnTo>
                  <a:pt x="2063" y="166"/>
                </a:lnTo>
                <a:lnTo>
                  <a:pt x="2125" y="214"/>
                </a:lnTo>
                <a:lnTo>
                  <a:pt x="2182" y="265"/>
                </a:lnTo>
                <a:lnTo>
                  <a:pt x="2237" y="323"/>
                </a:lnTo>
                <a:lnTo>
                  <a:pt x="2286" y="382"/>
                </a:lnTo>
                <a:lnTo>
                  <a:pt x="2330" y="447"/>
                </a:lnTo>
                <a:lnTo>
                  <a:pt x="2369" y="514"/>
                </a:lnTo>
                <a:lnTo>
                  <a:pt x="2402" y="585"/>
                </a:lnTo>
                <a:lnTo>
                  <a:pt x="2431" y="660"/>
                </a:lnTo>
                <a:lnTo>
                  <a:pt x="2453" y="736"/>
                </a:lnTo>
                <a:lnTo>
                  <a:pt x="2467" y="814"/>
                </a:lnTo>
                <a:lnTo>
                  <a:pt x="2476" y="894"/>
                </a:lnTo>
                <a:lnTo>
                  <a:pt x="2478" y="976"/>
                </a:lnTo>
                <a:lnTo>
                  <a:pt x="2473" y="1059"/>
                </a:lnTo>
                <a:lnTo>
                  <a:pt x="2470" y="1075"/>
                </a:lnTo>
                <a:lnTo>
                  <a:pt x="2461" y="1089"/>
                </a:lnTo>
                <a:lnTo>
                  <a:pt x="2449" y="1100"/>
                </a:lnTo>
                <a:lnTo>
                  <a:pt x="2434" y="1107"/>
                </a:lnTo>
                <a:lnTo>
                  <a:pt x="2418" y="1109"/>
                </a:lnTo>
                <a:lnTo>
                  <a:pt x="2412" y="1108"/>
                </a:lnTo>
                <a:lnTo>
                  <a:pt x="2395" y="1105"/>
                </a:lnTo>
                <a:lnTo>
                  <a:pt x="2380" y="1095"/>
                </a:lnTo>
                <a:lnTo>
                  <a:pt x="2371" y="1081"/>
                </a:lnTo>
                <a:lnTo>
                  <a:pt x="2363" y="1065"/>
                </a:lnTo>
                <a:lnTo>
                  <a:pt x="2363" y="1048"/>
                </a:lnTo>
                <a:lnTo>
                  <a:pt x="2367" y="970"/>
                </a:lnTo>
                <a:lnTo>
                  <a:pt x="2365" y="894"/>
                </a:lnTo>
                <a:lnTo>
                  <a:pt x="2356" y="819"/>
                </a:lnTo>
                <a:lnTo>
                  <a:pt x="2340" y="747"/>
                </a:lnTo>
                <a:lnTo>
                  <a:pt x="2318" y="676"/>
                </a:lnTo>
                <a:lnTo>
                  <a:pt x="2291" y="607"/>
                </a:lnTo>
                <a:lnTo>
                  <a:pt x="2258" y="542"/>
                </a:lnTo>
                <a:lnTo>
                  <a:pt x="2219" y="480"/>
                </a:lnTo>
                <a:lnTo>
                  <a:pt x="2176" y="422"/>
                </a:lnTo>
                <a:lnTo>
                  <a:pt x="2127" y="368"/>
                </a:lnTo>
                <a:lnTo>
                  <a:pt x="2075" y="316"/>
                </a:lnTo>
                <a:lnTo>
                  <a:pt x="2017" y="271"/>
                </a:lnTo>
                <a:lnTo>
                  <a:pt x="1956" y="230"/>
                </a:lnTo>
                <a:lnTo>
                  <a:pt x="1891" y="194"/>
                </a:lnTo>
                <a:lnTo>
                  <a:pt x="1824" y="165"/>
                </a:lnTo>
                <a:lnTo>
                  <a:pt x="1752" y="141"/>
                </a:lnTo>
                <a:lnTo>
                  <a:pt x="1677" y="122"/>
                </a:lnTo>
                <a:lnTo>
                  <a:pt x="1602" y="111"/>
                </a:lnTo>
                <a:lnTo>
                  <a:pt x="1584" y="106"/>
                </a:lnTo>
                <a:lnTo>
                  <a:pt x="1570" y="97"/>
                </a:lnTo>
                <a:lnTo>
                  <a:pt x="1559" y="83"/>
                </a:lnTo>
                <a:lnTo>
                  <a:pt x="1553" y="67"/>
                </a:lnTo>
                <a:lnTo>
                  <a:pt x="1551" y="50"/>
                </a:lnTo>
                <a:lnTo>
                  <a:pt x="1556" y="33"/>
                </a:lnTo>
                <a:lnTo>
                  <a:pt x="1566" y="18"/>
                </a:lnTo>
                <a:lnTo>
                  <a:pt x="1578" y="7"/>
                </a:lnTo>
                <a:lnTo>
                  <a:pt x="1594" y="1"/>
                </a:lnTo>
                <a:lnTo>
                  <a:pt x="1613" y="0"/>
                </a:ln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46A6E6DA-A8B7-4A35-8444-AB629145A6C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24274" y="1872332"/>
            <a:ext cx="307206" cy="538545"/>
          </a:xfrm>
          <a:custGeom>
            <a:avLst/>
            <a:gdLst>
              <a:gd name="T0" fmla="*/ 2554 w 2725"/>
              <a:gd name="T1" fmla="*/ 4433 h 4799"/>
              <a:gd name="T2" fmla="*/ 2554 w 2725"/>
              <a:gd name="T3" fmla="*/ 4433 h 4799"/>
              <a:gd name="T4" fmla="*/ 1369 w 2725"/>
              <a:gd name="T5" fmla="*/ 4799 h 4799"/>
              <a:gd name="T6" fmla="*/ 184 w 2725"/>
              <a:gd name="T7" fmla="*/ 4433 h 4799"/>
              <a:gd name="T8" fmla="*/ 887 w 2725"/>
              <a:gd name="T9" fmla="*/ 4097 h 4799"/>
              <a:gd name="T10" fmla="*/ 961 w 2725"/>
              <a:gd name="T11" fmla="*/ 4154 h 4799"/>
              <a:gd name="T12" fmla="*/ 903 w 2725"/>
              <a:gd name="T13" fmla="*/ 4228 h 4799"/>
              <a:gd name="T14" fmla="*/ 316 w 2725"/>
              <a:gd name="T15" fmla="*/ 4433 h 4799"/>
              <a:gd name="T16" fmla="*/ 1369 w 2725"/>
              <a:gd name="T17" fmla="*/ 4666 h 4799"/>
              <a:gd name="T18" fmla="*/ 2421 w 2725"/>
              <a:gd name="T19" fmla="*/ 4433 h 4799"/>
              <a:gd name="T20" fmla="*/ 1839 w 2725"/>
              <a:gd name="T21" fmla="*/ 4229 h 4799"/>
              <a:gd name="T22" fmla="*/ 1781 w 2725"/>
              <a:gd name="T23" fmla="*/ 4155 h 4799"/>
              <a:gd name="T24" fmla="*/ 1856 w 2725"/>
              <a:gd name="T25" fmla="*/ 4097 h 4799"/>
              <a:gd name="T26" fmla="*/ 2554 w 2725"/>
              <a:gd name="T27" fmla="*/ 4433 h 4799"/>
              <a:gd name="T28" fmla="*/ 2554 w 2725"/>
              <a:gd name="T29" fmla="*/ 4433 h 4799"/>
              <a:gd name="T30" fmla="*/ 1362 w 2725"/>
              <a:gd name="T31" fmla="*/ 1661 h 4799"/>
              <a:gd name="T32" fmla="*/ 1362 w 2725"/>
              <a:gd name="T33" fmla="*/ 1661 h 4799"/>
              <a:gd name="T34" fmla="*/ 973 w 2725"/>
              <a:gd name="T35" fmla="*/ 1271 h 4799"/>
              <a:gd name="T36" fmla="*/ 1362 w 2725"/>
              <a:gd name="T37" fmla="*/ 881 h 4799"/>
              <a:gd name="T38" fmla="*/ 1752 w 2725"/>
              <a:gd name="T39" fmla="*/ 1271 h 4799"/>
              <a:gd name="T40" fmla="*/ 1362 w 2725"/>
              <a:gd name="T41" fmla="*/ 1661 h 4799"/>
              <a:gd name="T42" fmla="*/ 1362 w 2725"/>
              <a:gd name="T43" fmla="*/ 1661 h 4799"/>
              <a:gd name="T44" fmla="*/ 1362 w 2725"/>
              <a:gd name="T45" fmla="*/ 749 h 4799"/>
              <a:gd name="T46" fmla="*/ 1362 w 2725"/>
              <a:gd name="T47" fmla="*/ 749 h 4799"/>
              <a:gd name="T48" fmla="*/ 840 w 2725"/>
              <a:gd name="T49" fmla="*/ 1271 h 4799"/>
              <a:gd name="T50" fmla="*/ 1362 w 2725"/>
              <a:gd name="T51" fmla="*/ 1793 h 4799"/>
              <a:gd name="T52" fmla="*/ 1884 w 2725"/>
              <a:gd name="T53" fmla="*/ 1271 h 4799"/>
              <a:gd name="T54" fmla="*/ 1362 w 2725"/>
              <a:gd name="T55" fmla="*/ 749 h 4799"/>
              <a:gd name="T56" fmla="*/ 1362 w 2725"/>
              <a:gd name="T57" fmla="*/ 749 h 4799"/>
              <a:gd name="T58" fmla="*/ 2497 w 2725"/>
              <a:gd name="T59" fmla="*/ 1838 h 4799"/>
              <a:gd name="T60" fmla="*/ 2497 w 2725"/>
              <a:gd name="T61" fmla="*/ 1838 h 4799"/>
              <a:gd name="T62" fmla="*/ 1362 w 2725"/>
              <a:gd name="T63" fmla="*/ 4265 h 4799"/>
              <a:gd name="T64" fmla="*/ 209 w 2725"/>
              <a:gd name="T65" fmla="*/ 1790 h 4799"/>
              <a:gd name="T66" fmla="*/ 132 w 2725"/>
              <a:gd name="T67" fmla="*/ 1361 h 4799"/>
              <a:gd name="T68" fmla="*/ 1362 w 2725"/>
              <a:gd name="T69" fmla="*/ 131 h 4799"/>
              <a:gd name="T70" fmla="*/ 2593 w 2725"/>
              <a:gd name="T71" fmla="*/ 1361 h 4799"/>
              <a:gd name="T72" fmla="*/ 2497 w 2725"/>
              <a:gd name="T73" fmla="*/ 1838 h 4799"/>
              <a:gd name="T74" fmla="*/ 2497 w 2725"/>
              <a:gd name="T75" fmla="*/ 1838 h 4799"/>
              <a:gd name="T76" fmla="*/ 1362 w 2725"/>
              <a:gd name="T77" fmla="*/ 0 h 4799"/>
              <a:gd name="T78" fmla="*/ 1362 w 2725"/>
              <a:gd name="T79" fmla="*/ 0 h 4799"/>
              <a:gd name="T80" fmla="*/ 0 w 2725"/>
              <a:gd name="T81" fmla="*/ 1361 h 4799"/>
              <a:gd name="T82" fmla="*/ 86 w 2725"/>
              <a:gd name="T83" fmla="*/ 1841 h 4799"/>
              <a:gd name="T84" fmla="*/ 1298 w 2725"/>
              <a:gd name="T85" fmla="*/ 4443 h 4799"/>
              <a:gd name="T86" fmla="*/ 1358 w 2725"/>
              <a:gd name="T87" fmla="*/ 4481 h 4799"/>
              <a:gd name="T88" fmla="*/ 1386 w 2725"/>
              <a:gd name="T89" fmla="*/ 4475 h 4799"/>
              <a:gd name="T90" fmla="*/ 1411 w 2725"/>
              <a:gd name="T91" fmla="*/ 4456 h 4799"/>
              <a:gd name="T92" fmla="*/ 1430 w 2725"/>
              <a:gd name="T93" fmla="*/ 4431 h 4799"/>
              <a:gd name="T94" fmla="*/ 2618 w 2725"/>
              <a:gd name="T95" fmla="*/ 1892 h 4799"/>
              <a:gd name="T96" fmla="*/ 2725 w 2725"/>
              <a:gd name="T97" fmla="*/ 1361 h 4799"/>
              <a:gd name="T98" fmla="*/ 1362 w 2725"/>
              <a:gd name="T99" fmla="*/ 0 h 47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25" h="4799">
                <a:moveTo>
                  <a:pt x="2554" y="4433"/>
                </a:moveTo>
                <a:lnTo>
                  <a:pt x="2554" y="4433"/>
                </a:lnTo>
                <a:cubicBezTo>
                  <a:pt x="2554" y="4684"/>
                  <a:pt x="1939" y="4799"/>
                  <a:pt x="1369" y="4799"/>
                </a:cubicBezTo>
                <a:cubicBezTo>
                  <a:pt x="798" y="4799"/>
                  <a:pt x="184" y="4684"/>
                  <a:pt x="184" y="4433"/>
                </a:cubicBezTo>
                <a:cubicBezTo>
                  <a:pt x="184" y="4217"/>
                  <a:pt x="624" y="4129"/>
                  <a:pt x="887" y="4097"/>
                </a:cubicBezTo>
                <a:cubicBezTo>
                  <a:pt x="923" y="4092"/>
                  <a:pt x="956" y="4118"/>
                  <a:pt x="961" y="4154"/>
                </a:cubicBezTo>
                <a:cubicBezTo>
                  <a:pt x="965" y="4190"/>
                  <a:pt x="940" y="4224"/>
                  <a:pt x="903" y="4228"/>
                </a:cubicBezTo>
                <a:cubicBezTo>
                  <a:pt x="464" y="4283"/>
                  <a:pt x="316" y="4392"/>
                  <a:pt x="316" y="4433"/>
                </a:cubicBezTo>
                <a:cubicBezTo>
                  <a:pt x="316" y="4512"/>
                  <a:pt x="688" y="4666"/>
                  <a:pt x="1369" y="4666"/>
                </a:cubicBezTo>
                <a:cubicBezTo>
                  <a:pt x="2050" y="4666"/>
                  <a:pt x="2421" y="4512"/>
                  <a:pt x="2421" y="4433"/>
                </a:cubicBezTo>
                <a:cubicBezTo>
                  <a:pt x="2421" y="4392"/>
                  <a:pt x="2275" y="4284"/>
                  <a:pt x="1839" y="4229"/>
                </a:cubicBezTo>
                <a:cubicBezTo>
                  <a:pt x="1803" y="4224"/>
                  <a:pt x="1777" y="4191"/>
                  <a:pt x="1781" y="4155"/>
                </a:cubicBezTo>
                <a:cubicBezTo>
                  <a:pt x="1786" y="4118"/>
                  <a:pt x="1819" y="4093"/>
                  <a:pt x="1856" y="4097"/>
                </a:cubicBezTo>
                <a:cubicBezTo>
                  <a:pt x="2116" y="4130"/>
                  <a:pt x="2554" y="4218"/>
                  <a:pt x="2554" y="4433"/>
                </a:cubicBezTo>
                <a:lnTo>
                  <a:pt x="2554" y="4433"/>
                </a:lnTo>
                <a:close/>
                <a:moveTo>
                  <a:pt x="1362" y="1661"/>
                </a:moveTo>
                <a:lnTo>
                  <a:pt x="1362" y="1661"/>
                </a:lnTo>
                <a:cubicBezTo>
                  <a:pt x="1147" y="1661"/>
                  <a:pt x="973" y="1486"/>
                  <a:pt x="973" y="1271"/>
                </a:cubicBezTo>
                <a:cubicBezTo>
                  <a:pt x="973" y="1056"/>
                  <a:pt x="1147" y="881"/>
                  <a:pt x="1362" y="881"/>
                </a:cubicBezTo>
                <a:cubicBezTo>
                  <a:pt x="1577" y="881"/>
                  <a:pt x="1752" y="1056"/>
                  <a:pt x="1752" y="1271"/>
                </a:cubicBezTo>
                <a:cubicBezTo>
                  <a:pt x="1752" y="1486"/>
                  <a:pt x="1577" y="1661"/>
                  <a:pt x="1362" y="1661"/>
                </a:cubicBezTo>
                <a:lnTo>
                  <a:pt x="1362" y="1661"/>
                </a:lnTo>
                <a:close/>
                <a:moveTo>
                  <a:pt x="1362" y="749"/>
                </a:moveTo>
                <a:lnTo>
                  <a:pt x="1362" y="749"/>
                </a:lnTo>
                <a:cubicBezTo>
                  <a:pt x="1074" y="749"/>
                  <a:pt x="840" y="983"/>
                  <a:pt x="840" y="1271"/>
                </a:cubicBezTo>
                <a:cubicBezTo>
                  <a:pt x="840" y="1559"/>
                  <a:pt x="1074" y="1793"/>
                  <a:pt x="1362" y="1793"/>
                </a:cubicBezTo>
                <a:cubicBezTo>
                  <a:pt x="1650" y="1793"/>
                  <a:pt x="1884" y="1559"/>
                  <a:pt x="1884" y="1271"/>
                </a:cubicBezTo>
                <a:cubicBezTo>
                  <a:pt x="1884" y="983"/>
                  <a:pt x="1650" y="749"/>
                  <a:pt x="1362" y="749"/>
                </a:cubicBezTo>
                <a:lnTo>
                  <a:pt x="1362" y="749"/>
                </a:lnTo>
                <a:close/>
                <a:moveTo>
                  <a:pt x="2497" y="1838"/>
                </a:moveTo>
                <a:lnTo>
                  <a:pt x="2497" y="1838"/>
                </a:lnTo>
                <a:lnTo>
                  <a:pt x="1362" y="4265"/>
                </a:lnTo>
                <a:lnTo>
                  <a:pt x="209" y="1790"/>
                </a:lnTo>
                <a:cubicBezTo>
                  <a:pt x="158" y="1653"/>
                  <a:pt x="132" y="1509"/>
                  <a:pt x="132" y="1361"/>
                </a:cubicBezTo>
                <a:cubicBezTo>
                  <a:pt x="132" y="683"/>
                  <a:pt x="684" y="131"/>
                  <a:pt x="1362" y="131"/>
                </a:cubicBezTo>
                <a:cubicBezTo>
                  <a:pt x="2041" y="131"/>
                  <a:pt x="2593" y="683"/>
                  <a:pt x="2593" y="1361"/>
                </a:cubicBezTo>
                <a:cubicBezTo>
                  <a:pt x="2593" y="1527"/>
                  <a:pt x="2560" y="1688"/>
                  <a:pt x="2497" y="1838"/>
                </a:cubicBezTo>
                <a:lnTo>
                  <a:pt x="2497" y="1838"/>
                </a:lnTo>
                <a:close/>
                <a:moveTo>
                  <a:pt x="1362" y="0"/>
                </a:moveTo>
                <a:lnTo>
                  <a:pt x="1362" y="0"/>
                </a:lnTo>
                <a:cubicBezTo>
                  <a:pt x="611" y="0"/>
                  <a:pt x="0" y="610"/>
                  <a:pt x="0" y="1361"/>
                </a:cubicBezTo>
                <a:cubicBezTo>
                  <a:pt x="0" y="1524"/>
                  <a:pt x="28" y="1684"/>
                  <a:pt x="86" y="1841"/>
                </a:cubicBezTo>
                <a:lnTo>
                  <a:pt x="1298" y="4443"/>
                </a:lnTo>
                <a:cubicBezTo>
                  <a:pt x="1309" y="4467"/>
                  <a:pt x="1333" y="4481"/>
                  <a:pt x="1358" y="4481"/>
                </a:cubicBezTo>
                <a:cubicBezTo>
                  <a:pt x="1368" y="4481"/>
                  <a:pt x="1377" y="4479"/>
                  <a:pt x="1386" y="4475"/>
                </a:cubicBezTo>
                <a:cubicBezTo>
                  <a:pt x="1396" y="4470"/>
                  <a:pt x="1404" y="4464"/>
                  <a:pt x="1411" y="4456"/>
                </a:cubicBezTo>
                <a:cubicBezTo>
                  <a:pt x="1419" y="4449"/>
                  <a:pt x="1426" y="4441"/>
                  <a:pt x="1430" y="4431"/>
                </a:cubicBezTo>
                <a:lnTo>
                  <a:pt x="2618" y="1892"/>
                </a:lnTo>
                <a:cubicBezTo>
                  <a:pt x="2689" y="1724"/>
                  <a:pt x="2725" y="1545"/>
                  <a:pt x="2725" y="1361"/>
                </a:cubicBezTo>
                <a:cubicBezTo>
                  <a:pt x="2725" y="610"/>
                  <a:pt x="2114" y="0"/>
                  <a:pt x="1362" y="0"/>
                </a:cubicBez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0" name="Freeform 17">
            <a:extLst>
              <a:ext uri="{FF2B5EF4-FFF2-40B4-BE49-F238E27FC236}">
                <a16:creationId xmlns:a16="http://schemas.microsoft.com/office/drawing/2014/main" id="{375DB829-9721-4E0A-8667-0848D49962C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82455" y="2727947"/>
            <a:ext cx="385817" cy="299733"/>
          </a:xfrm>
          <a:custGeom>
            <a:avLst/>
            <a:gdLst>
              <a:gd name="T0" fmla="*/ 2388 w 4799"/>
              <a:gd name="T1" fmla="*/ 2574 h 3719"/>
              <a:gd name="T2" fmla="*/ 2238 w 4799"/>
              <a:gd name="T3" fmla="*/ 2742 h 3719"/>
              <a:gd name="T4" fmla="*/ 2713 w 4799"/>
              <a:gd name="T5" fmla="*/ 2392 h 3719"/>
              <a:gd name="T6" fmla="*/ 2577 w 4799"/>
              <a:gd name="T7" fmla="*/ 2609 h 3719"/>
              <a:gd name="T8" fmla="*/ 2497 w 4799"/>
              <a:gd name="T9" fmla="*/ 2421 h 3719"/>
              <a:gd name="T10" fmla="*/ 1867 w 4799"/>
              <a:gd name="T11" fmla="*/ 3030 h 3719"/>
              <a:gd name="T12" fmla="*/ 1918 w 4799"/>
              <a:gd name="T13" fmla="*/ 2892 h 3719"/>
              <a:gd name="T14" fmla="*/ 2933 w 4799"/>
              <a:gd name="T15" fmla="*/ 2683 h 3719"/>
              <a:gd name="T16" fmla="*/ 2871 w 4799"/>
              <a:gd name="T17" fmla="*/ 2451 h 3719"/>
              <a:gd name="T18" fmla="*/ 2787 w 4799"/>
              <a:gd name="T19" fmla="*/ 2552 h 3719"/>
              <a:gd name="T20" fmla="*/ 2949 w 4799"/>
              <a:gd name="T21" fmla="*/ 2538 h 3719"/>
              <a:gd name="T22" fmla="*/ 2128 w 4799"/>
              <a:gd name="T23" fmla="*/ 2686 h 3719"/>
              <a:gd name="T24" fmla="*/ 1955 w 4799"/>
              <a:gd name="T25" fmla="*/ 2670 h 3719"/>
              <a:gd name="T26" fmla="*/ 2099 w 4799"/>
              <a:gd name="T27" fmla="*/ 2392 h 3719"/>
              <a:gd name="T28" fmla="*/ 1678 w 4799"/>
              <a:gd name="T29" fmla="*/ 3080 h 3719"/>
              <a:gd name="T30" fmla="*/ 1703 w 4799"/>
              <a:gd name="T31" fmla="*/ 2990 h 3719"/>
              <a:gd name="T32" fmla="*/ 1612 w 4799"/>
              <a:gd name="T33" fmla="*/ 2975 h 3719"/>
              <a:gd name="T34" fmla="*/ 1743 w 4799"/>
              <a:gd name="T35" fmla="*/ 2975 h 3719"/>
              <a:gd name="T36" fmla="*/ 4246 w 4799"/>
              <a:gd name="T37" fmla="*/ 2451 h 3719"/>
              <a:gd name="T38" fmla="*/ 4406 w 4799"/>
              <a:gd name="T39" fmla="*/ 2691 h 3719"/>
              <a:gd name="T40" fmla="*/ 141 w 4799"/>
              <a:gd name="T41" fmla="*/ 3387 h 3719"/>
              <a:gd name="T42" fmla="*/ 4664 w 4799"/>
              <a:gd name="T43" fmla="*/ 3387 h 3719"/>
              <a:gd name="T44" fmla="*/ 318 w 4799"/>
              <a:gd name="T45" fmla="*/ 3719 h 3719"/>
              <a:gd name="T46" fmla="*/ 4145 w 4799"/>
              <a:gd name="T47" fmla="*/ 1608 h 3719"/>
              <a:gd name="T48" fmla="*/ 4204 w 4799"/>
              <a:gd name="T49" fmla="*/ 1549 h 3719"/>
              <a:gd name="T50" fmla="*/ 2737 w 4799"/>
              <a:gd name="T51" fmla="*/ 1741 h 3719"/>
              <a:gd name="T52" fmla="*/ 3416 w 4799"/>
              <a:gd name="T53" fmla="*/ 2502 h 3719"/>
              <a:gd name="T54" fmla="*/ 3519 w 4799"/>
              <a:gd name="T55" fmla="*/ 2561 h 3719"/>
              <a:gd name="T56" fmla="*/ 3547 w 4799"/>
              <a:gd name="T57" fmla="*/ 2392 h 3719"/>
              <a:gd name="T58" fmla="*/ 3732 w 4799"/>
              <a:gd name="T59" fmla="*/ 2683 h 3719"/>
              <a:gd name="T60" fmla="*/ 3812 w 4799"/>
              <a:gd name="T61" fmla="*/ 2604 h 3719"/>
              <a:gd name="T62" fmla="*/ 3953 w 4799"/>
              <a:gd name="T63" fmla="*/ 2683 h 3719"/>
              <a:gd name="T64" fmla="*/ 4064 w 4799"/>
              <a:gd name="T65" fmla="*/ 2742 h 3719"/>
              <a:gd name="T66" fmla="*/ 739 w 4799"/>
              <a:gd name="T67" fmla="*/ 2594 h 3719"/>
              <a:gd name="T68" fmla="*/ 941 w 4799"/>
              <a:gd name="T69" fmla="*/ 2406 h 3719"/>
              <a:gd name="T70" fmla="*/ 956 w 4799"/>
              <a:gd name="T71" fmla="*/ 2713 h 3719"/>
              <a:gd name="T72" fmla="*/ 952 w 4799"/>
              <a:gd name="T73" fmla="*/ 3030 h 3719"/>
              <a:gd name="T74" fmla="*/ 891 w 4799"/>
              <a:gd name="T75" fmla="*/ 2986 h 3719"/>
              <a:gd name="T76" fmla="*/ 1184 w 4799"/>
              <a:gd name="T77" fmla="*/ 3124 h 3719"/>
              <a:gd name="T78" fmla="*/ 1086 w 4799"/>
              <a:gd name="T79" fmla="*/ 2892 h 3719"/>
              <a:gd name="T80" fmla="*/ 567 w 4799"/>
              <a:gd name="T81" fmla="*/ 2683 h 3719"/>
              <a:gd name="T82" fmla="*/ 647 w 4799"/>
              <a:gd name="T83" fmla="*/ 2604 h 3719"/>
              <a:gd name="T84" fmla="*/ 567 w 4799"/>
              <a:gd name="T85" fmla="*/ 2683 h 3719"/>
              <a:gd name="T86" fmla="*/ 702 w 4799"/>
              <a:gd name="T87" fmla="*/ 3009 h 3719"/>
              <a:gd name="T88" fmla="*/ 759 w 4799"/>
              <a:gd name="T89" fmla="*/ 3024 h 3719"/>
              <a:gd name="T90" fmla="*/ 693 w 4799"/>
              <a:gd name="T91" fmla="*/ 3096 h 3719"/>
              <a:gd name="T92" fmla="*/ 603 w 4799"/>
              <a:gd name="T93" fmla="*/ 2914 h 3719"/>
              <a:gd name="T94" fmla="*/ 484 w 4799"/>
              <a:gd name="T95" fmla="*/ 3032 h 3719"/>
              <a:gd name="T96" fmla="*/ 582 w 4799"/>
              <a:gd name="T97" fmla="*/ 2892 h 3719"/>
              <a:gd name="T98" fmla="*/ 1402 w 4799"/>
              <a:gd name="T99" fmla="*/ 2421 h 3719"/>
              <a:gd name="T100" fmla="*/ 1521 w 4799"/>
              <a:gd name="T101" fmla="*/ 2632 h 3719"/>
              <a:gd name="T102" fmla="*/ 1249 w 4799"/>
              <a:gd name="T103" fmla="*/ 2525 h 3719"/>
              <a:gd name="T104" fmla="*/ 1192 w 4799"/>
              <a:gd name="T105" fmla="*/ 2683 h 3719"/>
              <a:gd name="T106" fmla="*/ 1192 w 4799"/>
              <a:gd name="T107" fmla="*/ 2451 h 3719"/>
              <a:gd name="T108" fmla="*/ 1515 w 4799"/>
              <a:gd name="T109" fmla="*/ 3024 h 3719"/>
              <a:gd name="T110" fmla="*/ 1515 w 4799"/>
              <a:gd name="T111" fmla="*/ 3024 h 3719"/>
              <a:gd name="T112" fmla="*/ 1441 w 4799"/>
              <a:gd name="T113" fmla="*/ 3080 h 3719"/>
              <a:gd name="T114" fmla="*/ 1553 w 4799"/>
              <a:gd name="T115" fmla="*/ 2973 h 3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99" h="3719">
                <a:moveTo>
                  <a:pt x="2260" y="2633"/>
                </a:moveTo>
                <a:lnTo>
                  <a:pt x="2260" y="2633"/>
                </a:lnTo>
                <a:lnTo>
                  <a:pt x="2364" y="2633"/>
                </a:lnTo>
                <a:lnTo>
                  <a:pt x="2364" y="2683"/>
                </a:lnTo>
                <a:lnTo>
                  <a:pt x="2260" y="2683"/>
                </a:lnTo>
                <a:lnTo>
                  <a:pt x="2260" y="2633"/>
                </a:lnTo>
                <a:close/>
                <a:moveTo>
                  <a:pt x="2388" y="2574"/>
                </a:moveTo>
                <a:lnTo>
                  <a:pt x="2388" y="2574"/>
                </a:lnTo>
                <a:lnTo>
                  <a:pt x="2260" y="2574"/>
                </a:lnTo>
                <a:lnTo>
                  <a:pt x="2260" y="2450"/>
                </a:lnTo>
                <a:cubicBezTo>
                  <a:pt x="2273" y="2446"/>
                  <a:pt x="2281" y="2435"/>
                  <a:pt x="2281" y="2421"/>
                </a:cubicBezTo>
                <a:cubicBezTo>
                  <a:pt x="2281" y="2405"/>
                  <a:pt x="2268" y="2392"/>
                  <a:pt x="2254" y="2392"/>
                </a:cubicBezTo>
                <a:lnTo>
                  <a:pt x="2229" y="2392"/>
                </a:lnTo>
                <a:cubicBezTo>
                  <a:pt x="2213" y="2392"/>
                  <a:pt x="2204" y="2403"/>
                  <a:pt x="2204" y="2421"/>
                </a:cubicBezTo>
                <a:lnTo>
                  <a:pt x="2204" y="2707"/>
                </a:lnTo>
                <a:cubicBezTo>
                  <a:pt x="2204" y="2732"/>
                  <a:pt x="2214" y="2742"/>
                  <a:pt x="2238" y="2742"/>
                </a:cubicBezTo>
                <a:lnTo>
                  <a:pt x="2386" y="2742"/>
                </a:lnTo>
                <a:cubicBezTo>
                  <a:pt x="2410" y="2742"/>
                  <a:pt x="2420" y="2731"/>
                  <a:pt x="2420" y="2707"/>
                </a:cubicBezTo>
                <a:lnTo>
                  <a:pt x="2420" y="2611"/>
                </a:lnTo>
                <a:cubicBezTo>
                  <a:pt x="2420" y="2592"/>
                  <a:pt x="2417" y="2574"/>
                  <a:pt x="2388" y="2574"/>
                </a:cubicBezTo>
                <a:lnTo>
                  <a:pt x="2388" y="2574"/>
                </a:lnTo>
                <a:close/>
                <a:moveTo>
                  <a:pt x="2525" y="2392"/>
                </a:moveTo>
                <a:lnTo>
                  <a:pt x="2525" y="2392"/>
                </a:lnTo>
                <a:lnTo>
                  <a:pt x="2713" y="2392"/>
                </a:lnTo>
                <a:lnTo>
                  <a:pt x="2713" y="2524"/>
                </a:lnTo>
                <a:cubicBezTo>
                  <a:pt x="2713" y="2541"/>
                  <a:pt x="2713" y="2546"/>
                  <a:pt x="2700" y="2557"/>
                </a:cubicBezTo>
                <a:lnTo>
                  <a:pt x="2643" y="2610"/>
                </a:lnTo>
                <a:cubicBezTo>
                  <a:pt x="2634" y="2618"/>
                  <a:pt x="2634" y="2618"/>
                  <a:pt x="2634" y="2629"/>
                </a:cubicBezTo>
                <a:lnTo>
                  <a:pt x="2634" y="2713"/>
                </a:lnTo>
                <a:cubicBezTo>
                  <a:pt x="2634" y="2732"/>
                  <a:pt x="2624" y="2742"/>
                  <a:pt x="2606" y="2742"/>
                </a:cubicBezTo>
                <a:cubicBezTo>
                  <a:pt x="2587" y="2742"/>
                  <a:pt x="2577" y="2732"/>
                  <a:pt x="2577" y="2713"/>
                </a:cubicBezTo>
                <a:lnTo>
                  <a:pt x="2577" y="2609"/>
                </a:lnTo>
                <a:cubicBezTo>
                  <a:pt x="2577" y="2593"/>
                  <a:pt x="2579" y="2589"/>
                  <a:pt x="2590" y="2578"/>
                </a:cubicBezTo>
                <a:lnTo>
                  <a:pt x="2647" y="2527"/>
                </a:lnTo>
                <a:cubicBezTo>
                  <a:pt x="2657" y="2518"/>
                  <a:pt x="2657" y="2518"/>
                  <a:pt x="2657" y="2505"/>
                </a:cubicBezTo>
                <a:lnTo>
                  <a:pt x="2657" y="2451"/>
                </a:lnTo>
                <a:lnTo>
                  <a:pt x="2552" y="2451"/>
                </a:lnTo>
                <a:cubicBezTo>
                  <a:pt x="2549" y="2462"/>
                  <a:pt x="2539" y="2472"/>
                  <a:pt x="2525" y="2472"/>
                </a:cubicBezTo>
                <a:cubicBezTo>
                  <a:pt x="2507" y="2472"/>
                  <a:pt x="2497" y="2457"/>
                  <a:pt x="2497" y="2443"/>
                </a:cubicBezTo>
                <a:lnTo>
                  <a:pt x="2497" y="2421"/>
                </a:lnTo>
                <a:cubicBezTo>
                  <a:pt x="2497" y="2407"/>
                  <a:pt x="2507" y="2392"/>
                  <a:pt x="2525" y="2392"/>
                </a:cubicBezTo>
                <a:lnTo>
                  <a:pt x="2525" y="2392"/>
                </a:lnTo>
                <a:close/>
                <a:moveTo>
                  <a:pt x="1836" y="2936"/>
                </a:moveTo>
                <a:lnTo>
                  <a:pt x="1836" y="2936"/>
                </a:lnTo>
                <a:lnTo>
                  <a:pt x="1836" y="2986"/>
                </a:lnTo>
                <a:lnTo>
                  <a:pt x="1867" y="2986"/>
                </a:lnTo>
                <a:cubicBezTo>
                  <a:pt x="1877" y="2986"/>
                  <a:pt x="1888" y="2993"/>
                  <a:pt x="1888" y="3008"/>
                </a:cubicBezTo>
                <a:cubicBezTo>
                  <a:pt x="1888" y="3023"/>
                  <a:pt x="1877" y="3030"/>
                  <a:pt x="1867" y="3030"/>
                </a:cubicBezTo>
                <a:lnTo>
                  <a:pt x="1836" y="3030"/>
                </a:lnTo>
                <a:lnTo>
                  <a:pt x="1836" y="3080"/>
                </a:lnTo>
                <a:lnTo>
                  <a:pt x="1918" y="3080"/>
                </a:lnTo>
                <a:cubicBezTo>
                  <a:pt x="1929" y="3080"/>
                  <a:pt x="1940" y="3087"/>
                  <a:pt x="1940" y="3102"/>
                </a:cubicBezTo>
                <a:cubicBezTo>
                  <a:pt x="1940" y="3115"/>
                  <a:pt x="1931" y="3124"/>
                  <a:pt x="1918" y="3124"/>
                </a:cubicBezTo>
                <a:lnTo>
                  <a:pt x="1794" y="3124"/>
                </a:lnTo>
                <a:lnTo>
                  <a:pt x="1794" y="2892"/>
                </a:lnTo>
                <a:lnTo>
                  <a:pt x="1918" y="2892"/>
                </a:lnTo>
                <a:cubicBezTo>
                  <a:pt x="1929" y="2892"/>
                  <a:pt x="1940" y="2899"/>
                  <a:pt x="1940" y="2914"/>
                </a:cubicBezTo>
                <a:cubicBezTo>
                  <a:pt x="1940" y="2927"/>
                  <a:pt x="1931" y="2936"/>
                  <a:pt x="1918" y="2936"/>
                </a:cubicBezTo>
                <a:lnTo>
                  <a:pt x="1836" y="2936"/>
                </a:lnTo>
                <a:lnTo>
                  <a:pt x="1836" y="2936"/>
                </a:lnTo>
                <a:close/>
                <a:moveTo>
                  <a:pt x="2830" y="2597"/>
                </a:moveTo>
                <a:lnTo>
                  <a:pt x="2830" y="2597"/>
                </a:lnTo>
                <a:lnTo>
                  <a:pt x="2933" y="2597"/>
                </a:lnTo>
                <a:lnTo>
                  <a:pt x="2933" y="2683"/>
                </a:lnTo>
                <a:lnTo>
                  <a:pt x="2830" y="2683"/>
                </a:lnTo>
                <a:lnTo>
                  <a:pt x="2830" y="2597"/>
                </a:lnTo>
                <a:close/>
                <a:moveTo>
                  <a:pt x="2871" y="2451"/>
                </a:moveTo>
                <a:lnTo>
                  <a:pt x="2871" y="2451"/>
                </a:lnTo>
                <a:lnTo>
                  <a:pt x="2893" y="2451"/>
                </a:lnTo>
                <a:lnTo>
                  <a:pt x="2893" y="2537"/>
                </a:lnTo>
                <a:lnTo>
                  <a:pt x="2871" y="2537"/>
                </a:lnTo>
                <a:lnTo>
                  <a:pt x="2871" y="2451"/>
                </a:lnTo>
                <a:close/>
                <a:moveTo>
                  <a:pt x="2949" y="2538"/>
                </a:moveTo>
                <a:lnTo>
                  <a:pt x="2949" y="2538"/>
                </a:lnTo>
                <a:lnTo>
                  <a:pt x="2949" y="2421"/>
                </a:lnTo>
                <a:cubicBezTo>
                  <a:pt x="2949" y="2404"/>
                  <a:pt x="2938" y="2392"/>
                  <a:pt x="2921" y="2392"/>
                </a:cubicBezTo>
                <a:lnTo>
                  <a:pt x="2842" y="2392"/>
                </a:lnTo>
                <a:cubicBezTo>
                  <a:pt x="2825" y="2392"/>
                  <a:pt x="2814" y="2404"/>
                  <a:pt x="2814" y="2421"/>
                </a:cubicBezTo>
                <a:lnTo>
                  <a:pt x="2814" y="2538"/>
                </a:lnTo>
                <a:cubicBezTo>
                  <a:pt x="2803" y="2540"/>
                  <a:pt x="2794" y="2544"/>
                  <a:pt x="2787" y="2552"/>
                </a:cubicBezTo>
                <a:cubicBezTo>
                  <a:pt x="2778" y="2561"/>
                  <a:pt x="2773" y="2573"/>
                  <a:pt x="2773" y="2589"/>
                </a:cubicBezTo>
                <a:lnTo>
                  <a:pt x="2773" y="2691"/>
                </a:lnTo>
                <a:cubicBezTo>
                  <a:pt x="2773" y="2722"/>
                  <a:pt x="2792" y="2742"/>
                  <a:pt x="2822" y="2742"/>
                </a:cubicBezTo>
                <a:lnTo>
                  <a:pt x="2941" y="2742"/>
                </a:lnTo>
                <a:cubicBezTo>
                  <a:pt x="2971" y="2742"/>
                  <a:pt x="2990" y="2722"/>
                  <a:pt x="2990" y="2691"/>
                </a:cubicBezTo>
                <a:lnTo>
                  <a:pt x="2990" y="2589"/>
                </a:lnTo>
                <a:cubicBezTo>
                  <a:pt x="2990" y="2573"/>
                  <a:pt x="2985" y="2561"/>
                  <a:pt x="2977" y="2552"/>
                </a:cubicBezTo>
                <a:cubicBezTo>
                  <a:pt x="2969" y="2544"/>
                  <a:pt x="2960" y="2540"/>
                  <a:pt x="2949" y="2538"/>
                </a:cubicBezTo>
                <a:lnTo>
                  <a:pt x="2949" y="2538"/>
                </a:lnTo>
                <a:close/>
                <a:moveTo>
                  <a:pt x="2008" y="2451"/>
                </a:moveTo>
                <a:lnTo>
                  <a:pt x="2008" y="2451"/>
                </a:lnTo>
                <a:lnTo>
                  <a:pt x="2008" y="2537"/>
                </a:lnTo>
                <a:lnTo>
                  <a:pt x="2074" y="2537"/>
                </a:lnTo>
                <a:cubicBezTo>
                  <a:pt x="2087" y="2537"/>
                  <a:pt x="2100" y="2539"/>
                  <a:pt x="2113" y="2552"/>
                </a:cubicBezTo>
                <a:cubicBezTo>
                  <a:pt x="2126" y="2565"/>
                  <a:pt x="2128" y="2579"/>
                  <a:pt x="2128" y="2594"/>
                </a:cubicBezTo>
                <a:lnTo>
                  <a:pt x="2128" y="2686"/>
                </a:lnTo>
                <a:cubicBezTo>
                  <a:pt x="2128" y="2699"/>
                  <a:pt x="2127" y="2711"/>
                  <a:pt x="2116" y="2725"/>
                </a:cubicBezTo>
                <a:cubicBezTo>
                  <a:pt x="2103" y="2741"/>
                  <a:pt x="2089" y="2742"/>
                  <a:pt x="2074" y="2742"/>
                </a:cubicBezTo>
                <a:lnTo>
                  <a:pt x="1984" y="2742"/>
                </a:lnTo>
                <a:cubicBezTo>
                  <a:pt x="1972" y="2742"/>
                  <a:pt x="1965" y="2739"/>
                  <a:pt x="1954" y="2734"/>
                </a:cubicBezTo>
                <a:lnTo>
                  <a:pt x="1935" y="2725"/>
                </a:lnTo>
                <a:cubicBezTo>
                  <a:pt x="1925" y="2720"/>
                  <a:pt x="1911" y="2714"/>
                  <a:pt x="1911" y="2695"/>
                </a:cubicBezTo>
                <a:cubicBezTo>
                  <a:pt x="1911" y="2679"/>
                  <a:pt x="1923" y="2666"/>
                  <a:pt x="1938" y="2666"/>
                </a:cubicBezTo>
                <a:cubicBezTo>
                  <a:pt x="1945" y="2666"/>
                  <a:pt x="1950" y="2667"/>
                  <a:pt x="1955" y="2670"/>
                </a:cubicBezTo>
                <a:lnTo>
                  <a:pt x="1967" y="2675"/>
                </a:lnTo>
                <a:cubicBezTo>
                  <a:pt x="1968" y="2676"/>
                  <a:pt x="1970" y="2677"/>
                  <a:pt x="1972" y="2678"/>
                </a:cubicBezTo>
                <a:cubicBezTo>
                  <a:pt x="1976" y="2680"/>
                  <a:pt x="1982" y="2683"/>
                  <a:pt x="1985" y="2683"/>
                </a:cubicBezTo>
                <a:lnTo>
                  <a:pt x="2071" y="2683"/>
                </a:lnTo>
                <a:lnTo>
                  <a:pt x="2071" y="2597"/>
                </a:lnTo>
                <a:lnTo>
                  <a:pt x="1951" y="2597"/>
                </a:lnTo>
                <a:lnTo>
                  <a:pt x="1951" y="2392"/>
                </a:lnTo>
                <a:lnTo>
                  <a:pt x="2099" y="2392"/>
                </a:lnTo>
                <a:cubicBezTo>
                  <a:pt x="2116" y="2392"/>
                  <a:pt x="2128" y="2403"/>
                  <a:pt x="2128" y="2421"/>
                </a:cubicBezTo>
                <a:cubicBezTo>
                  <a:pt x="2128" y="2442"/>
                  <a:pt x="2113" y="2451"/>
                  <a:pt x="2099" y="2451"/>
                </a:cubicBezTo>
                <a:lnTo>
                  <a:pt x="2008" y="2451"/>
                </a:lnTo>
                <a:lnTo>
                  <a:pt x="2008" y="2451"/>
                </a:lnTo>
                <a:close/>
                <a:moveTo>
                  <a:pt x="1704" y="3024"/>
                </a:moveTo>
                <a:lnTo>
                  <a:pt x="1704" y="3024"/>
                </a:lnTo>
                <a:lnTo>
                  <a:pt x="1679" y="3077"/>
                </a:lnTo>
                <a:cubicBezTo>
                  <a:pt x="1678" y="3078"/>
                  <a:pt x="1678" y="3080"/>
                  <a:pt x="1678" y="3080"/>
                </a:cubicBezTo>
                <a:cubicBezTo>
                  <a:pt x="1677" y="3080"/>
                  <a:pt x="1677" y="3078"/>
                  <a:pt x="1676" y="3076"/>
                </a:cubicBezTo>
                <a:lnTo>
                  <a:pt x="1651" y="3024"/>
                </a:lnTo>
                <a:cubicBezTo>
                  <a:pt x="1648" y="3018"/>
                  <a:pt x="1647" y="3015"/>
                  <a:pt x="1647" y="3009"/>
                </a:cubicBezTo>
                <a:cubicBezTo>
                  <a:pt x="1647" y="3001"/>
                  <a:pt x="1649" y="2997"/>
                  <a:pt x="1652" y="2990"/>
                </a:cubicBezTo>
                <a:lnTo>
                  <a:pt x="1677" y="2938"/>
                </a:lnTo>
                <a:cubicBezTo>
                  <a:pt x="1677" y="2937"/>
                  <a:pt x="1678" y="2936"/>
                  <a:pt x="1677" y="2936"/>
                </a:cubicBezTo>
                <a:cubicBezTo>
                  <a:pt x="1678" y="2936"/>
                  <a:pt x="1678" y="2937"/>
                  <a:pt x="1679" y="2938"/>
                </a:cubicBezTo>
                <a:lnTo>
                  <a:pt x="1703" y="2990"/>
                </a:lnTo>
                <a:cubicBezTo>
                  <a:pt x="1706" y="2997"/>
                  <a:pt x="1708" y="3001"/>
                  <a:pt x="1708" y="3009"/>
                </a:cubicBezTo>
                <a:cubicBezTo>
                  <a:pt x="1708" y="3015"/>
                  <a:pt x="1707" y="3018"/>
                  <a:pt x="1704" y="3024"/>
                </a:cubicBezTo>
                <a:lnTo>
                  <a:pt x="1704" y="3024"/>
                </a:lnTo>
                <a:close/>
                <a:moveTo>
                  <a:pt x="1717" y="2919"/>
                </a:moveTo>
                <a:lnTo>
                  <a:pt x="1717" y="2919"/>
                </a:lnTo>
                <a:cubicBezTo>
                  <a:pt x="1708" y="2902"/>
                  <a:pt x="1694" y="2892"/>
                  <a:pt x="1678" y="2892"/>
                </a:cubicBezTo>
                <a:cubicBezTo>
                  <a:pt x="1661" y="2892"/>
                  <a:pt x="1647" y="2902"/>
                  <a:pt x="1638" y="2919"/>
                </a:cubicBezTo>
                <a:lnTo>
                  <a:pt x="1612" y="2975"/>
                </a:lnTo>
                <a:cubicBezTo>
                  <a:pt x="1607" y="2987"/>
                  <a:pt x="1605" y="2996"/>
                  <a:pt x="1605" y="3009"/>
                </a:cubicBezTo>
                <a:cubicBezTo>
                  <a:pt x="1605" y="3024"/>
                  <a:pt x="1609" y="3033"/>
                  <a:pt x="1614" y="3045"/>
                </a:cubicBezTo>
                <a:lnTo>
                  <a:pt x="1638" y="3096"/>
                </a:lnTo>
                <a:cubicBezTo>
                  <a:pt x="1647" y="3114"/>
                  <a:pt x="1661" y="3124"/>
                  <a:pt x="1678" y="3124"/>
                </a:cubicBezTo>
                <a:cubicBezTo>
                  <a:pt x="1694" y="3124"/>
                  <a:pt x="1708" y="3114"/>
                  <a:pt x="1717" y="3096"/>
                </a:cubicBezTo>
                <a:lnTo>
                  <a:pt x="1741" y="3045"/>
                </a:lnTo>
                <a:cubicBezTo>
                  <a:pt x="1747" y="3033"/>
                  <a:pt x="1751" y="3024"/>
                  <a:pt x="1751" y="3009"/>
                </a:cubicBezTo>
                <a:cubicBezTo>
                  <a:pt x="1751" y="2996"/>
                  <a:pt x="1748" y="2987"/>
                  <a:pt x="1743" y="2975"/>
                </a:cubicBezTo>
                <a:lnTo>
                  <a:pt x="1717" y="2919"/>
                </a:lnTo>
                <a:lnTo>
                  <a:pt x="1717" y="2919"/>
                </a:lnTo>
                <a:close/>
                <a:moveTo>
                  <a:pt x="4246" y="2451"/>
                </a:moveTo>
                <a:lnTo>
                  <a:pt x="4246" y="2451"/>
                </a:lnTo>
                <a:lnTo>
                  <a:pt x="4349" y="2451"/>
                </a:lnTo>
                <a:lnTo>
                  <a:pt x="4349" y="2683"/>
                </a:lnTo>
                <a:lnTo>
                  <a:pt x="4246" y="2683"/>
                </a:lnTo>
                <a:lnTo>
                  <a:pt x="4246" y="2451"/>
                </a:lnTo>
                <a:close/>
                <a:moveTo>
                  <a:pt x="4357" y="2392"/>
                </a:moveTo>
                <a:lnTo>
                  <a:pt x="4357" y="2392"/>
                </a:lnTo>
                <a:lnTo>
                  <a:pt x="4238" y="2392"/>
                </a:lnTo>
                <a:cubicBezTo>
                  <a:pt x="4211" y="2392"/>
                  <a:pt x="4189" y="2414"/>
                  <a:pt x="4189" y="2443"/>
                </a:cubicBezTo>
                <a:lnTo>
                  <a:pt x="4189" y="2691"/>
                </a:lnTo>
                <a:cubicBezTo>
                  <a:pt x="4189" y="2720"/>
                  <a:pt x="4210" y="2742"/>
                  <a:pt x="4238" y="2742"/>
                </a:cubicBezTo>
                <a:lnTo>
                  <a:pt x="4357" y="2742"/>
                </a:lnTo>
                <a:cubicBezTo>
                  <a:pt x="4384" y="2742"/>
                  <a:pt x="4406" y="2720"/>
                  <a:pt x="4406" y="2691"/>
                </a:cubicBezTo>
                <a:lnTo>
                  <a:pt x="4406" y="2443"/>
                </a:lnTo>
                <a:cubicBezTo>
                  <a:pt x="4406" y="2414"/>
                  <a:pt x="4384" y="2392"/>
                  <a:pt x="4357" y="2392"/>
                </a:cubicBezTo>
                <a:lnTo>
                  <a:pt x="4357" y="2392"/>
                </a:lnTo>
                <a:close/>
                <a:moveTo>
                  <a:pt x="4664" y="3387"/>
                </a:moveTo>
                <a:lnTo>
                  <a:pt x="4664" y="3387"/>
                </a:lnTo>
                <a:cubicBezTo>
                  <a:pt x="4664" y="3489"/>
                  <a:pt x="4581" y="3571"/>
                  <a:pt x="4479" y="3571"/>
                </a:cubicBezTo>
                <a:lnTo>
                  <a:pt x="326" y="3571"/>
                </a:lnTo>
                <a:cubicBezTo>
                  <a:pt x="224" y="3571"/>
                  <a:pt x="141" y="3489"/>
                  <a:pt x="141" y="3387"/>
                </a:cubicBezTo>
                <a:lnTo>
                  <a:pt x="141" y="317"/>
                </a:lnTo>
                <a:cubicBezTo>
                  <a:pt x="141" y="242"/>
                  <a:pt x="186" y="178"/>
                  <a:pt x="250" y="149"/>
                </a:cubicBezTo>
                <a:cubicBezTo>
                  <a:pt x="271" y="141"/>
                  <a:pt x="294" y="136"/>
                  <a:pt x="318" y="136"/>
                </a:cubicBezTo>
                <a:lnTo>
                  <a:pt x="4481" y="136"/>
                </a:lnTo>
                <a:cubicBezTo>
                  <a:pt x="4544" y="136"/>
                  <a:pt x="4600" y="168"/>
                  <a:pt x="4633" y="216"/>
                </a:cubicBezTo>
                <a:cubicBezTo>
                  <a:pt x="4652" y="245"/>
                  <a:pt x="4664" y="280"/>
                  <a:pt x="4664" y="317"/>
                </a:cubicBezTo>
                <a:lnTo>
                  <a:pt x="4664" y="3387"/>
                </a:lnTo>
                <a:lnTo>
                  <a:pt x="4664" y="3387"/>
                </a:lnTo>
                <a:close/>
                <a:moveTo>
                  <a:pt x="4744" y="142"/>
                </a:moveTo>
                <a:lnTo>
                  <a:pt x="4744" y="142"/>
                </a:lnTo>
                <a:cubicBezTo>
                  <a:pt x="4687" y="56"/>
                  <a:pt x="4590" y="0"/>
                  <a:pt x="4479" y="0"/>
                </a:cubicBezTo>
                <a:lnTo>
                  <a:pt x="326" y="0"/>
                </a:lnTo>
                <a:cubicBezTo>
                  <a:pt x="280" y="0"/>
                  <a:pt x="238" y="9"/>
                  <a:pt x="198" y="26"/>
                </a:cubicBezTo>
                <a:cubicBezTo>
                  <a:pt x="82" y="73"/>
                  <a:pt x="0" y="187"/>
                  <a:pt x="0" y="321"/>
                </a:cubicBezTo>
                <a:lnTo>
                  <a:pt x="0" y="3400"/>
                </a:lnTo>
                <a:cubicBezTo>
                  <a:pt x="0" y="3576"/>
                  <a:pt x="142" y="3719"/>
                  <a:pt x="318" y="3719"/>
                </a:cubicBezTo>
                <a:lnTo>
                  <a:pt x="4481" y="3719"/>
                </a:lnTo>
                <a:cubicBezTo>
                  <a:pt x="4657" y="3719"/>
                  <a:pt x="4799" y="3576"/>
                  <a:pt x="4799" y="3400"/>
                </a:cubicBezTo>
                <a:lnTo>
                  <a:pt x="4799" y="321"/>
                </a:lnTo>
                <a:cubicBezTo>
                  <a:pt x="4799" y="254"/>
                  <a:pt x="4779" y="193"/>
                  <a:pt x="4744" y="142"/>
                </a:cubicBezTo>
                <a:lnTo>
                  <a:pt x="4744" y="142"/>
                </a:lnTo>
                <a:close/>
                <a:moveTo>
                  <a:pt x="4204" y="1549"/>
                </a:moveTo>
                <a:lnTo>
                  <a:pt x="4204" y="1549"/>
                </a:lnTo>
                <a:cubicBezTo>
                  <a:pt x="4204" y="1581"/>
                  <a:pt x="4177" y="1608"/>
                  <a:pt x="4145" y="1608"/>
                </a:cubicBezTo>
                <a:lnTo>
                  <a:pt x="2737" y="1608"/>
                </a:lnTo>
                <a:cubicBezTo>
                  <a:pt x="2704" y="1608"/>
                  <a:pt x="2678" y="1581"/>
                  <a:pt x="2678" y="1549"/>
                </a:cubicBezTo>
                <a:lnTo>
                  <a:pt x="2678" y="706"/>
                </a:lnTo>
                <a:cubicBezTo>
                  <a:pt x="2678" y="674"/>
                  <a:pt x="2704" y="647"/>
                  <a:pt x="2737" y="647"/>
                </a:cubicBezTo>
                <a:lnTo>
                  <a:pt x="4145" y="647"/>
                </a:lnTo>
                <a:cubicBezTo>
                  <a:pt x="4177" y="647"/>
                  <a:pt x="4204" y="674"/>
                  <a:pt x="4204" y="706"/>
                </a:cubicBezTo>
                <a:lnTo>
                  <a:pt x="4204" y="1549"/>
                </a:lnTo>
                <a:lnTo>
                  <a:pt x="4204" y="1549"/>
                </a:lnTo>
                <a:close/>
                <a:moveTo>
                  <a:pt x="4337" y="1549"/>
                </a:moveTo>
                <a:lnTo>
                  <a:pt x="4337" y="1549"/>
                </a:lnTo>
                <a:lnTo>
                  <a:pt x="4337" y="706"/>
                </a:lnTo>
                <a:cubicBezTo>
                  <a:pt x="4337" y="600"/>
                  <a:pt x="4251" y="514"/>
                  <a:pt x="4145" y="514"/>
                </a:cubicBezTo>
                <a:lnTo>
                  <a:pt x="2737" y="514"/>
                </a:lnTo>
                <a:cubicBezTo>
                  <a:pt x="2631" y="514"/>
                  <a:pt x="2544" y="600"/>
                  <a:pt x="2544" y="706"/>
                </a:cubicBezTo>
                <a:lnTo>
                  <a:pt x="2544" y="1549"/>
                </a:lnTo>
                <a:cubicBezTo>
                  <a:pt x="2544" y="1655"/>
                  <a:pt x="2631" y="1741"/>
                  <a:pt x="2737" y="1741"/>
                </a:cubicBezTo>
                <a:lnTo>
                  <a:pt x="4145" y="1741"/>
                </a:lnTo>
                <a:cubicBezTo>
                  <a:pt x="4251" y="1741"/>
                  <a:pt x="4337" y="1655"/>
                  <a:pt x="4337" y="1549"/>
                </a:cubicBezTo>
                <a:lnTo>
                  <a:pt x="4337" y="1549"/>
                </a:lnTo>
                <a:close/>
                <a:moveTo>
                  <a:pt x="3416" y="2451"/>
                </a:moveTo>
                <a:lnTo>
                  <a:pt x="3416" y="2451"/>
                </a:lnTo>
                <a:lnTo>
                  <a:pt x="3519" y="2451"/>
                </a:lnTo>
                <a:lnTo>
                  <a:pt x="3519" y="2502"/>
                </a:lnTo>
                <a:lnTo>
                  <a:pt x="3416" y="2502"/>
                </a:lnTo>
                <a:lnTo>
                  <a:pt x="3416" y="2451"/>
                </a:lnTo>
                <a:close/>
                <a:moveTo>
                  <a:pt x="3547" y="2392"/>
                </a:moveTo>
                <a:lnTo>
                  <a:pt x="3547" y="2392"/>
                </a:lnTo>
                <a:lnTo>
                  <a:pt x="3387" y="2392"/>
                </a:lnTo>
                <a:cubicBezTo>
                  <a:pt x="3372" y="2392"/>
                  <a:pt x="3359" y="2405"/>
                  <a:pt x="3359" y="2421"/>
                </a:cubicBezTo>
                <a:lnTo>
                  <a:pt x="3359" y="2531"/>
                </a:lnTo>
                <a:cubicBezTo>
                  <a:pt x="3359" y="2547"/>
                  <a:pt x="3372" y="2561"/>
                  <a:pt x="3387" y="2561"/>
                </a:cubicBezTo>
                <a:lnTo>
                  <a:pt x="3519" y="2561"/>
                </a:lnTo>
                <a:lnTo>
                  <a:pt x="3519" y="2684"/>
                </a:lnTo>
                <a:cubicBezTo>
                  <a:pt x="3507" y="2688"/>
                  <a:pt x="3499" y="2699"/>
                  <a:pt x="3499" y="2713"/>
                </a:cubicBezTo>
                <a:cubicBezTo>
                  <a:pt x="3499" y="2729"/>
                  <a:pt x="3511" y="2742"/>
                  <a:pt x="3527" y="2742"/>
                </a:cubicBezTo>
                <a:lnTo>
                  <a:pt x="3547" y="2742"/>
                </a:lnTo>
                <a:cubicBezTo>
                  <a:pt x="3563" y="2742"/>
                  <a:pt x="3576" y="2729"/>
                  <a:pt x="3576" y="2713"/>
                </a:cubicBezTo>
                <a:lnTo>
                  <a:pt x="3576" y="2421"/>
                </a:lnTo>
                <a:cubicBezTo>
                  <a:pt x="3576" y="2405"/>
                  <a:pt x="3563" y="2392"/>
                  <a:pt x="3547" y="2392"/>
                </a:cubicBezTo>
                <a:lnTo>
                  <a:pt x="3547" y="2392"/>
                </a:lnTo>
                <a:close/>
                <a:moveTo>
                  <a:pt x="3869" y="2604"/>
                </a:moveTo>
                <a:lnTo>
                  <a:pt x="3869" y="2604"/>
                </a:lnTo>
                <a:lnTo>
                  <a:pt x="3869" y="2713"/>
                </a:lnTo>
                <a:cubicBezTo>
                  <a:pt x="3869" y="2731"/>
                  <a:pt x="3858" y="2742"/>
                  <a:pt x="3840" y="2742"/>
                </a:cubicBezTo>
                <a:lnTo>
                  <a:pt x="3680" y="2742"/>
                </a:lnTo>
                <a:cubicBezTo>
                  <a:pt x="3663" y="2742"/>
                  <a:pt x="3652" y="2731"/>
                  <a:pt x="3652" y="2713"/>
                </a:cubicBezTo>
                <a:cubicBezTo>
                  <a:pt x="3652" y="2695"/>
                  <a:pt x="3663" y="2683"/>
                  <a:pt x="3680" y="2683"/>
                </a:cubicBezTo>
                <a:lnTo>
                  <a:pt x="3732" y="2683"/>
                </a:lnTo>
                <a:lnTo>
                  <a:pt x="3732" y="2451"/>
                </a:lnTo>
                <a:lnTo>
                  <a:pt x="3680" y="2451"/>
                </a:lnTo>
                <a:cubicBezTo>
                  <a:pt x="3663" y="2451"/>
                  <a:pt x="3652" y="2439"/>
                  <a:pt x="3652" y="2421"/>
                </a:cubicBezTo>
                <a:cubicBezTo>
                  <a:pt x="3652" y="2403"/>
                  <a:pt x="3663" y="2392"/>
                  <a:pt x="3680" y="2392"/>
                </a:cubicBezTo>
                <a:lnTo>
                  <a:pt x="3789" y="2392"/>
                </a:lnTo>
                <a:lnTo>
                  <a:pt x="3789" y="2683"/>
                </a:lnTo>
                <a:lnTo>
                  <a:pt x="3812" y="2683"/>
                </a:lnTo>
                <a:lnTo>
                  <a:pt x="3812" y="2604"/>
                </a:lnTo>
                <a:cubicBezTo>
                  <a:pt x="3812" y="2586"/>
                  <a:pt x="3823" y="2575"/>
                  <a:pt x="3840" y="2575"/>
                </a:cubicBezTo>
                <a:cubicBezTo>
                  <a:pt x="3859" y="2575"/>
                  <a:pt x="3869" y="2586"/>
                  <a:pt x="3869" y="2604"/>
                </a:cubicBezTo>
                <a:lnTo>
                  <a:pt x="3869" y="2604"/>
                </a:lnTo>
                <a:close/>
                <a:moveTo>
                  <a:pt x="3953" y="2451"/>
                </a:moveTo>
                <a:lnTo>
                  <a:pt x="3953" y="2451"/>
                </a:lnTo>
                <a:lnTo>
                  <a:pt x="4056" y="2451"/>
                </a:lnTo>
                <a:lnTo>
                  <a:pt x="4056" y="2683"/>
                </a:lnTo>
                <a:lnTo>
                  <a:pt x="3953" y="2683"/>
                </a:lnTo>
                <a:lnTo>
                  <a:pt x="3953" y="2451"/>
                </a:lnTo>
                <a:close/>
                <a:moveTo>
                  <a:pt x="4064" y="2392"/>
                </a:moveTo>
                <a:lnTo>
                  <a:pt x="4064" y="2392"/>
                </a:lnTo>
                <a:lnTo>
                  <a:pt x="3945" y="2392"/>
                </a:lnTo>
                <a:cubicBezTo>
                  <a:pt x="3918" y="2392"/>
                  <a:pt x="3896" y="2414"/>
                  <a:pt x="3896" y="2443"/>
                </a:cubicBezTo>
                <a:lnTo>
                  <a:pt x="3896" y="2691"/>
                </a:lnTo>
                <a:cubicBezTo>
                  <a:pt x="3896" y="2720"/>
                  <a:pt x="3917" y="2742"/>
                  <a:pt x="3945" y="2742"/>
                </a:cubicBezTo>
                <a:lnTo>
                  <a:pt x="4064" y="2742"/>
                </a:lnTo>
                <a:cubicBezTo>
                  <a:pt x="4092" y="2742"/>
                  <a:pt x="4113" y="2720"/>
                  <a:pt x="4113" y="2691"/>
                </a:cubicBezTo>
                <a:lnTo>
                  <a:pt x="4113" y="2443"/>
                </a:lnTo>
                <a:cubicBezTo>
                  <a:pt x="4113" y="2414"/>
                  <a:pt x="4091" y="2392"/>
                  <a:pt x="4064" y="2392"/>
                </a:cubicBezTo>
                <a:lnTo>
                  <a:pt x="4064" y="2392"/>
                </a:lnTo>
                <a:close/>
                <a:moveTo>
                  <a:pt x="927" y="2742"/>
                </a:moveTo>
                <a:lnTo>
                  <a:pt x="927" y="2742"/>
                </a:lnTo>
                <a:lnTo>
                  <a:pt x="739" y="2742"/>
                </a:lnTo>
                <a:lnTo>
                  <a:pt x="739" y="2594"/>
                </a:lnTo>
                <a:cubicBezTo>
                  <a:pt x="739" y="2558"/>
                  <a:pt x="758" y="2537"/>
                  <a:pt x="793" y="2537"/>
                </a:cubicBezTo>
                <a:lnTo>
                  <a:pt x="899" y="2537"/>
                </a:lnTo>
                <a:lnTo>
                  <a:pt x="899" y="2451"/>
                </a:lnTo>
                <a:lnTo>
                  <a:pt x="767" y="2451"/>
                </a:lnTo>
                <a:cubicBezTo>
                  <a:pt x="753" y="2451"/>
                  <a:pt x="739" y="2442"/>
                  <a:pt x="739" y="2421"/>
                </a:cubicBezTo>
                <a:cubicBezTo>
                  <a:pt x="739" y="2403"/>
                  <a:pt x="750" y="2392"/>
                  <a:pt x="767" y="2392"/>
                </a:cubicBezTo>
                <a:lnTo>
                  <a:pt x="902" y="2392"/>
                </a:lnTo>
                <a:cubicBezTo>
                  <a:pt x="917" y="2392"/>
                  <a:pt x="929" y="2394"/>
                  <a:pt x="941" y="2406"/>
                </a:cubicBezTo>
                <a:cubicBezTo>
                  <a:pt x="955" y="2420"/>
                  <a:pt x="956" y="2435"/>
                  <a:pt x="956" y="2450"/>
                </a:cubicBezTo>
                <a:lnTo>
                  <a:pt x="956" y="2538"/>
                </a:lnTo>
                <a:cubicBezTo>
                  <a:pt x="956" y="2554"/>
                  <a:pt x="955" y="2568"/>
                  <a:pt x="941" y="2582"/>
                </a:cubicBezTo>
                <a:cubicBezTo>
                  <a:pt x="929" y="2594"/>
                  <a:pt x="917" y="2597"/>
                  <a:pt x="902" y="2597"/>
                </a:cubicBezTo>
                <a:lnTo>
                  <a:pt x="796" y="2597"/>
                </a:lnTo>
                <a:lnTo>
                  <a:pt x="796" y="2683"/>
                </a:lnTo>
                <a:lnTo>
                  <a:pt x="927" y="2683"/>
                </a:lnTo>
                <a:cubicBezTo>
                  <a:pt x="945" y="2683"/>
                  <a:pt x="956" y="2695"/>
                  <a:pt x="956" y="2713"/>
                </a:cubicBezTo>
                <a:cubicBezTo>
                  <a:pt x="956" y="2731"/>
                  <a:pt x="945" y="2742"/>
                  <a:pt x="927" y="2742"/>
                </a:cubicBezTo>
                <a:lnTo>
                  <a:pt x="927" y="2742"/>
                </a:lnTo>
                <a:close/>
                <a:moveTo>
                  <a:pt x="994" y="2914"/>
                </a:moveTo>
                <a:lnTo>
                  <a:pt x="994" y="2914"/>
                </a:lnTo>
                <a:lnTo>
                  <a:pt x="994" y="3102"/>
                </a:lnTo>
                <a:cubicBezTo>
                  <a:pt x="994" y="3116"/>
                  <a:pt x="987" y="3124"/>
                  <a:pt x="973" y="3124"/>
                </a:cubicBezTo>
                <a:cubicBezTo>
                  <a:pt x="960" y="3124"/>
                  <a:pt x="952" y="3116"/>
                  <a:pt x="952" y="3102"/>
                </a:cubicBezTo>
                <a:lnTo>
                  <a:pt x="952" y="3030"/>
                </a:lnTo>
                <a:lnTo>
                  <a:pt x="891" y="3030"/>
                </a:lnTo>
                <a:lnTo>
                  <a:pt x="891" y="3102"/>
                </a:lnTo>
                <a:cubicBezTo>
                  <a:pt x="891" y="3116"/>
                  <a:pt x="883" y="3124"/>
                  <a:pt x="870" y="3124"/>
                </a:cubicBezTo>
                <a:cubicBezTo>
                  <a:pt x="856" y="3124"/>
                  <a:pt x="848" y="3116"/>
                  <a:pt x="848" y="3102"/>
                </a:cubicBezTo>
                <a:lnTo>
                  <a:pt x="848" y="2914"/>
                </a:lnTo>
                <a:cubicBezTo>
                  <a:pt x="848" y="2900"/>
                  <a:pt x="856" y="2892"/>
                  <a:pt x="870" y="2892"/>
                </a:cubicBezTo>
                <a:cubicBezTo>
                  <a:pt x="883" y="2892"/>
                  <a:pt x="891" y="2900"/>
                  <a:pt x="891" y="2914"/>
                </a:cubicBezTo>
                <a:lnTo>
                  <a:pt x="891" y="2986"/>
                </a:lnTo>
                <a:lnTo>
                  <a:pt x="952" y="2986"/>
                </a:lnTo>
                <a:lnTo>
                  <a:pt x="952" y="2914"/>
                </a:lnTo>
                <a:cubicBezTo>
                  <a:pt x="952" y="2900"/>
                  <a:pt x="960" y="2892"/>
                  <a:pt x="973" y="2892"/>
                </a:cubicBezTo>
                <a:cubicBezTo>
                  <a:pt x="987" y="2892"/>
                  <a:pt x="994" y="2900"/>
                  <a:pt x="994" y="2914"/>
                </a:cubicBezTo>
                <a:lnTo>
                  <a:pt x="994" y="2914"/>
                </a:lnTo>
                <a:close/>
                <a:moveTo>
                  <a:pt x="1184" y="2914"/>
                </a:moveTo>
                <a:lnTo>
                  <a:pt x="1184" y="2914"/>
                </a:lnTo>
                <a:lnTo>
                  <a:pt x="1184" y="3124"/>
                </a:lnTo>
                <a:lnTo>
                  <a:pt x="1136" y="3124"/>
                </a:lnTo>
                <a:lnTo>
                  <a:pt x="1134" y="3119"/>
                </a:lnTo>
                <a:lnTo>
                  <a:pt x="1080" y="2989"/>
                </a:lnTo>
                <a:lnTo>
                  <a:pt x="1080" y="3102"/>
                </a:lnTo>
                <a:cubicBezTo>
                  <a:pt x="1080" y="3116"/>
                  <a:pt x="1072" y="3124"/>
                  <a:pt x="1059" y="3124"/>
                </a:cubicBezTo>
                <a:cubicBezTo>
                  <a:pt x="1045" y="3124"/>
                  <a:pt x="1037" y="3116"/>
                  <a:pt x="1037" y="3102"/>
                </a:cubicBezTo>
                <a:lnTo>
                  <a:pt x="1037" y="2892"/>
                </a:lnTo>
                <a:lnTo>
                  <a:pt x="1086" y="2892"/>
                </a:lnTo>
                <a:lnTo>
                  <a:pt x="1088" y="2897"/>
                </a:lnTo>
                <a:lnTo>
                  <a:pt x="1141" y="3028"/>
                </a:lnTo>
                <a:lnTo>
                  <a:pt x="1141" y="2914"/>
                </a:lnTo>
                <a:cubicBezTo>
                  <a:pt x="1141" y="2900"/>
                  <a:pt x="1149" y="2892"/>
                  <a:pt x="1162" y="2892"/>
                </a:cubicBezTo>
                <a:cubicBezTo>
                  <a:pt x="1176" y="2892"/>
                  <a:pt x="1184" y="2900"/>
                  <a:pt x="1184" y="2914"/>
                </a:cubicBezTo>
                <a:lnTo>
                  <a:pt x="1184" y="2914"/>
                </a:lnTo>
                <a:close/>
                <a:moveTo>
                  <a:pt x="567" y="2683"/>
                </a:moveTo>
                <a:lnTo>
                  <a:pt x="567" y="2683"/>
                </a:lnTo>
                <a:lnTo>
                  <a:pt x="567" y="2451"/>
                </a:lnTo>
                <a:lnTo>
                  <a:pt x="515" y="2451"/>
                </a:lnTo>
                <a:cubicBezTo>
                  <a:pt x="501" y="2451"/>
                  <a:pt x="487" y="2442"/>
                  <a:pt x="487" y="2421"/>
                </a:cubicBezTo>
                <a:cubicBezTo>
                  <a:pt x="487" y="2403"/>
                  <a:pt x="498" y="2392"/>
                  <a:pt x="515" y="2392"/>
                </a:cubicBezTo>
                <a:lnTo>
                  <a:pt x="624" y="2392"/>
                </a:lnTo>
                <a:lnTo>
                  <a:pt x="624" y="2683"/>
                </a:lnTo>
                <a:lnTo>
                  <a:pt x="647" y="2683"/>
                </a:lnTo>
                <a:lnTo>
                  <a:pt x="647" y="2604"/>
                </a:lnTo>
                <a:cubicBezTo>
                  <a:pt x="647" y="2586"/>
                  <a:pt x="657" y="2575"/>
                  <a:pt x="675" y="2575"/>
                </a:cubicBezTo>
                <a:cubicBezTo>
                  <a:pt x="693" y="2575"/>
                  <a:pt x="704" y="2586"/>
                  <a:pt x="704" y="2604"/>
                </a:cubicBezTo>
                <a:lnTo>
                  <a:pt x="704" y="2713"/>
                </a:lnTo>
                <a:cubicBezTo>
                  <a:pt x="704" y="2731"/>
                  <a:pt x="692" y="2742"/>
                  <a:pt x="675" y="2742"/>
                </a:cubicBezTo>
                <a:lnTo>
                  <a:pt x="515" y="2742"/>
                </a:lnTo>
                <a:cubicBezTo>
                  <a:pt x="498" y="2742"/>
                  <a:pt x="487" y="2731"/>
                  <a:pt x="487" y="2713"/>
                </a:cubicBezTo>
                <a:cubicBezTo>
                  <a:pt x="487" y="2695"/>
                  <a:pt x="498" y="2683"/>
                  <a:pt x="515" y="2683"/>
                </a:cubicBezTo>
                <a:lnTo>
                  <a:pt x="567" y="2683"/>
                </a:lnTo>
                <a:lnTo>
                  <a:pt x="567" y="2683"/>
                </a:lnTo>
                <a:close/>
                <a:moveTo>
                  <a:pt x="759" y="3024"/>
                </a:moveTo>
                <a:lnTo>
                  <a:pt x="759" y="3024"/>
                </a:lnTo>
                <a:lnTo>
                  <a:pt x="734" y="3077"/>
                </a:lnTo>
                <a:cubicBezTo>
                  <a:pt x="733" y="3078"/>
                  <a:pt x="732" y="3080"/>
                  <a:pt x="733" y="3080"/>
                </a:cubicBezTo>
                <a:cubicBezTo>
                  <a:pt x="732" y="3080"/>
                  <a:pt x="732" y="3078"/>
                  <a:pt x="731" y="3076"/>
                </a:cubicBezTo>
                <a:lnTo>
                  <a:pt x="706" y="3024"/>
                </a:lnTo>
                <a:cubicBezTo>
                  <a:pt x="703" y="3018"/>
                  <a:pt x="702" y="3015"/>
                  <a:pt x="702" y="3009"/>
                </a:cubicBezTo>
                <a:cubicBezTo>
                  <a:pt x="702" y="3001"/>
                  <a:pt x="703" y="2997"/>
                  <a:pt x="707" y="2990"/>
                </a:cubicBezTo>
                <a:lnTo>
                  <a:pt x="731" y="2938"/>
                </a:lnTo>
                <a:cubicBezTo>
                  <a:pt x="732" y="2937"/>
                  <a:pt x="732" y="2936"/>
                  <a:pt x="732" y="2936"/>
                </a:cubicBezTo>
                <a:cubicBezTo>
                  <a:pt x="732" y="2936"/>
                  <a:pt x="733" y="2937"/>
                  <a:pt x="734" y="2938"/>
                </a:cubicBezTo>
                <a:lnTo>
                  <a:pt x="758" y="2990"/>
                </a:lnTo>
                <a:cubicBezTo>
                  <a:pt x="761" y="2997"/>
                  <a:pt x="763" y="3001"/>
                  <a:pt x="763" y="3009"/>
                </a:cubicBezTo>
                <a:cubicBezTo>
                  <a:pt x="763" y="3014"/>
                  <a:pt x="762" y="3018"/>
                  <a:pt x="759" y="3024"/>
                </a:cubicBezTo>
                <a:lnTo>
                  <a:pt x="759" y="3024"/>
                </a:lnTo>
                <a:close/>
                <a:moveTo>
                  <a:pt x="771" y="2919"/>
                </a:moveTo>
                <a:lnTo>
                  <a:pt x="771" y="2919"/>
                </a:lnTo>
                <a:cubicBezTo>
                  <a:pt x="763" y="2902"/>
                  <a:pt x="749" y="2892"/>
                  <a:pt x="732" y="2892"/>
                </a:cubicBezTo>
                <a:cubicBezTo>
                  <a:pt x="716" y="2892"/>
                  <a:pt x="702" y="2902"/>
                  <a:pt x="693" y="2919"/>
                </a:cubicBezTo>
                <a:lnTo>
                  <a:pt x="667" y="2975"/>
                </a:lnTo>
                <a:cubicBezTo>
                  <a:pt x="662" y="2987"/>
                  <a:pt x="659" y="2996"/>
                  <a:pt x="659" y="3009"/>
                </a:cubicBezTo>
                <a:cubicBezTo>
                  <a:pt x="659" y="3024"/>
                  <a:pt x="663" y="3033"/>
                  <a:pt x="669" y="3045"/>
                </a:cubicBezTo>
                <a:lnTo>
                  <a:pt x="693" y="3096"/>
                </a:lnTo>
                <a:cubicBezTo>
                  <a:pt x="702" y="3114"/>
                  <a:pt x="716" y="3124"/>
                  <a:pt x="732" y="3124"/>
                </a:cubicBezTo>
                <a:cubicBezTo>
                  <a:pt x="749" y="3124"/>
                  <a:pt x="763" y="3114"/>
                  <a:pt x="772" y="3096"/>
                </a:cubicBezTo>
                <a:lnTo>
                  <a:pt x="796" y="3045"/>
                </a:lnTo>
                <a:cubicBezTo>
                  <a:pt x="802" y="3033"/>
                  <a:pt x="805" y="3024"/>
                  <a:pt x="805" y="3009"/>
                </a:cubicBezTo>
                <a:cubicBezTo>
                  <a:pt x="805" y="2996"/>
                  <a:pt x="803" y="2987"/>
                  <a:pt x="798" y="2975"/>
                </a:cubicBezTo>
                <a:lnTo>
                  <a:pt x="771" y="2919"/>
                </a:lnTo>
                <a:lnTo>
                  <a:pt x="771" y="2919"/>
                </a:lnTo>
                <a:close/>
                <a:moveTo>
                  <a:pt x="603" y="2914"/>
                </a:moveTo>
                <a:lnTo>
                  <a:pt x="603" y="2914"/>
                </a:lnTo>
                <a:lnTo>
                  <a:pt x="603" y="3069"/>
                </a:lnTo>
                <a:cubicBezTo>
                  <a:pt x="603" y="3080"/>
                  <a:pt x="603" y="3088"/>
                  <a:pt x="597" y="3099"/>
                </a:cubicBezTo>
                <a:cubicBezTo>
                  <a:pt x="585" y="3121"/>
                  <a:pt x="565" y="3124"/>
                  <a:pt x="552" y="3124"/>
                </a:cubicBezTo>
                <a:lnTo>
                  <a:pt x="537" y="3124"/>
                </a:lnTo>
                <a:cubicBezTo>
                  <a:pt x="522" y="3124"/>
                  <a:pt x="505" y="3122"/>
                  <a:pt x="493" y="3104"/>
                </a:cubicBezTo>
                <a:cubicBezTo>
                  <a:pt x="485" y="3093"/>
                  <a:pt x="484" y="3084"/>
                  <a:pt x="484" y="3072"/>
                </a:cubicBezTo>
                <a:lnTo>
                  <a:pt x="484" y="3032"/>
                </a:lnTo>
                <a:cubicBezTo>
                  <a:pt x="484" y="3018"/>
                  <a:pt x="491" y="3010"/>
                  <a:pt x="505" y="3010"/>
                </a:cubicBezTo>
                <a:cubicBezTo>
                  <a:pt x="518" y="3010"/>
                  <a:pt x="526" y="3018"/>
                  <a:pt x="526" y="3032"/>
                </a:cubicBezTo>
                <a:lnTo>
                  <a:pt x="526" y="3068"/>
                </a:lnTo>
                <a:cubicBezTo>
                  <a:pt x="526" y="3080"/>
                  <a:pt x="526" y="3080"/>
                  <a:pt x="537" y="3080"/>
                </a:cubicBezTo>
                <a:lnTo>
                  <a:pt x="551" y="3080"/>
                </a:lnTo>
                <a:cubicBezTo>
                  <a:pt x="561" y="3080"/>
                  <a:pt x="561" y="3079"/>
                  <a:pt x="561" y="3073"/>
                </a:cubicBezTo>
                <a:lnTo>
                  <a:pt x="561" y="2914"/>
                </a:lnTo>
                <a:cubicBezTo>
                  <a:pt x="561" y="2900"/>
                  <a:pt x="568" y="2892"/>
                  <a:pt x="582" y="2892"/>
                </a:cubicBezTo>
                <a:cubicBezTo>
                  <a:pt x="595" y="2892"/>
                  <a:pt x="603" y="2900"/>
                  <a:pt x="603" y="2914"/>
                </a:cubicBezTo>
                <a:lnTo>
                  <a:pt x="603" y="2914"/>
                </a:lnTo>
                <a:close/>
                <a:moveTo>
                  <a:pt x="1465" y="2633"/>
                </a:moveTo>
                <a:lnTo>
                  <a:pt x="1465" y="2633"/>
                </a:lnTo>
                <a:lnTo>
                  <a:pt x="1345" y="2633"/>
                </a:lnTo>
                <a:lnTo>
                  <a:pt x="1345" y="2421"/>
                </a:lnTo>
                <a:cubicBezTo>
                  <a:pt x="1345" y="2403"/>
                  <a:pt x="1356" y="2392"/>
                  <a:pt x="1373" y="2392"/>
                </a:cubicBezTo>
                <a:cubicBezTo>
                  <a:pt x="1391" y="2392"/>
                  <a:pt x="1402" y="2403"/>
                  <a:pt x="1402" y="2421"/>
                </a:cubicBezTo>
                <a:lnTo>
                  <a:pt x="1402" y="2574"/>
                </a:lnTo>
                <a:lnTo>
                  <a:pt x="1465" y="2574"/>
                </a:lnTo>
                <a:lnTo>
                  <a:pt x="1465" y="2458"/>
                </a:lnTo>
                <a:cubicBezTo>
                  <a:pt x="1465" y="2440"/>
                  <a:pt x="1476" y="2428"/>
                  <a:pt x="1493" y="2428"/>
                </a:cubicBezTo>
                <a:cubicBezTo>
                  <a:pt x="1510" y="2428"/>
                  <a:pt x="1521" y="2440"/>
                  <a:pt x="1521" y="2458"/>
                </a:cubicBezTo>
                <a:lnTo>
                  <a:pt x="1521" y="2575"/>
                </a:lnTo>
                <a:cubicBezTo>
                  <a:pt x="1534" y="2578"/>
                  <a:pt x="1542" y="2589"/>
                  <a:pt x="1542" y="2604"/>
                </a:cubicBezTo>
                <a:cubicBezTo>
                  <a:pt x="1542" y="2619"/>
                  <a:pt x="1534" y="2629"/>
                  <a:pt x="1521" y="2632"/>
                </a:cubicBezTo>
                <a:lnTo>
                  <a:pt x="1521" y="2713"/>
                </a:lnTo>
                <a:cubicBezTo>
                  <a:pt x="1521" y="2732"/>
                  <a:pt x="1511" y="2742"/>
                  <a:pt x="1493" y="2742"/>
                </a:cubicBezTo>
                <a:cubicBezTo>
                  <a:pt x="1475" y="2742"/>
                  <a:pt x="1465" y="2732"/>
                  <a:pt x="1465" y="2713"/>
                </a:cubicBezTo>
                <a:lnTo>
                  <a:pt x="1465" y="2633"/>
                </a:lnTo>
                <a:lnTo>
                  <a:pt x="1465" y="2633"/>
                </a:lnTo>
                <a:close/>
                <a:moveTo>
                  <a:pt x="1249" y="2443"/>
                </a:moveTo>
                <a:lnTo>
                  <a:pt x="1249" y="2443"/>
                </a:lnTo>
                <a:lnTo>
                  <a:pt x="1249" y="2525"/>
                </a:lnTo>
                <a:cubicBezTo>
                  <a:pt x="1249" y="2539"/>
                  <a:pt x="1247" y="2553"/>
                  <a:pt x="1236" y="2567"/>
                </a:cubicBezTo>
                <a:cubicBezTo>
                  <a:pt x="1247" y="2581"/>
                  <a:pt x="1249" y="2595"/>
                  <a:pt x="1249" y="2609"/>
                </a:cubicBezTo>
                <a:lnTo>
                  <a:pt x="1249" y="2691"/>
                </a:lnTo>
                <a:cubicBezTo>
                  <a:pt x="1249" y="2720"/>
                  <a:pt x="1228" y="2742"/>
                  <a:pt x="1200" y="2742"/>
                </a:cubicBezTo>
                <a:lnTo>
                  <a:pt x="1060" y="2742"/>
                </a:lnTo>
                <a:cubicBezTo>
                  <a:pt x="1043" y="2742"/>
                  <a:pt x="1032" y="2731"/>
                  <a:pt x="1032" y="2713"/>
                </a:cubicBezTo>
                <a:cubicBezTo>
                  <a:pt x="1032" y="2695"/>
                  <a:pt x="1043" y="2683"/>
                  <a:pt x="1060" y="2683"/>
                </a:cubicBezTo>
                <a:lnTo>
                  <a:pt x="1192" y="2683"/>
                </a:lnTo>
                <a:lnTo>
                  <a:pt x="1192" y="2620"/>
                </a:lnTo>
                <a:cubicBezTo>
                  <a:pt x="1192" y="2597"/>
                  <a:pt x="1183" y="2597"/>
                  <a:pt x="1180" y="2597"/>
                </a:cubicBezTo>
                <a:lnTo>
                  <a:pt x="1100" y="2597"/>
                </a:lnTo>
                <a:cubicBezTo>
                  <a:pt x="1083" y="2597"/>
                  <a:pt x="1072" y="2585"/>
                  <a:pt x="1072" y="2567"/>
                </a:cubicBezTo>
                <a:cubicBezTo>
                  <a:pt x="1072" y="2549"/>
                  <a:pt x="1083" y="2537"/>
                  <a:pt x="1100" y="2537"/>
                </a:cubicBezTo>
                <a:lnTo>
                  <a:pt x="1180" y="2537"/>
                </a:lnTo>
                <a:cubicBezTo>
                  <a:pt x="1183" y="2537"/>
                  <a:pt x="1192" y="2537"/>
                  <a:pt x="1192" y="2514"/>
                </a:cubicBezTo>
                <a:lnTo>
                  <a:pt x="1192" y="2451"/>
                </a:lnTo>
                <a:lnTo>
                  <a:pt x="1060" y="2451"/>
                </a:lnTo>
                <a:cubicBezTo>
                  <a:pt x="1046" y="2451"/>
                  <a:pt x="1032" y="2442"/>
                  <a:pt x="1032" y="2421"/>
                </a:cubicBezTo>
                <a:cubicBezTo>
                  <a:pt x="1032" y="2403"/>
                  <a:pt x="1043" y="2392"/>
                  <a:pt x="1060" y="2392"/>
                </a:cubicBezTo>
                <a:lnTo>
                  <a:pt x="1200" y="2392"/>
                </a:lnTo>
                <a:cubicBezTo>
                  <a:pt x="1228" y="2392"/>
                  <a:pt x="1249" y="2414"/>
                  <a:pt x="1249" y="2443"/>
                </a:cubicBezTo>
                <a:lnTo>
                  <a:pt x="1249" y="2443"/>
                </a:lnTo>
                <a:close/>
                <a:moveTo>
                  <a:pt x="1515" y="3024"/>
                </a:moveTo>
                <a:lnTo>
                  <a:pt x="1515" y="3024"/>
                </a:lnTo>
                <a:lnTo>
                  <a:pt x="1492" y="3073"/>
                </a:lnTo>
                <a:cubicBezTo>
                  <a:pt x="1489" y="3079"/>
                  <a:pt x="1489" y="3080"/>
                  <a:pt x="1484" y="3080"/>
                </a:cubicBezTo>
                <a:lnTo>
                  <a:pt x="1484" y="2936"/>
                </a:lnTo>
                <a:cubicBezTo>
                  <a:pt x="1488" y="2936"/>
                  <a:pt x="1489" y="2937"/>
                  <a:pt x="1491" y="2943"/>
                </a:cubicBezTo>
                <a:lnTo>
                  <a:pt x="1514" y="2992"/>
                </a:lnTo>
                <a:cubicBezTo>
                  <a:pt x="1517" y="2999"/>
                  <a:pt x="1519" y="3002"/>
                  <a:pt x="1519" y="3009"/>
                </a:cubicBezTo>
                <a:cubicBezTo>
                  <a:pt x="1519" y="3014"/>
                  <a:pt x="1518" y="3018"/>
                  <a:pt x="1515" y="3024"/>
                </a:cubicBezTo>
                <a:lnTo>
                  <a:pt x="1515" y="3024"/>
                </a:lnTo>
                <a:close/>
                <a:moveTo>
                  <a:pt x="1530" y="2924"/>
                </a:moveTo>
                <a:lnTo>
                  <a:pt x="1530" y="2924"/>
                </a:lnTo>
                <a:cubicBezTo>
                  <a:pt x="1519" y="2901"/>
                  <a:pt x="1505" y="2892"/>
                  <a:pt x="1483" y="2892"/>
                </a:cubicBezTo>
                <a:lnTo>
                  <a:pt x="1439" y="2892"/>
                </a:lnTo>
                <a:cubicBezTo>
                  <a:pt x="1425" y="2892"/>
                  <a:pt x="1416" y="2901"/>
                  <a:pt x="1416" y="2914"/>
                </a:cubicBezTo>
                <a:cubicBezTo>
                  <a:pt x="1416" y="2927"/>
                  <a:pt x="1425" y="2936"/>
                  <a:pt x="1440" y="2936"/>
                </a:cubicBezTo>
                <a:lnTo>
                  <a:pt x="1441" y="2936"/>
                </a:lnTo>
                <a:lnTo>
                  <a:pt x="1441" y="3080"/>
                </a:lnTo>
                <a:lnTo>
                  <a:pt x="1437" y="3080"/>
                </a:lnTo>
                <a:cubicBezTo>
                  <a:pt x="1426" y="3080"/>
                  <a:pt x="1416" y="3087"/>
                  <a:pt x="1416" y="3102"/>
                </a:cubicBezTo>
                <a:cubicBezTo>
                  <a:pt x="1416" y="3115"/>
                  <a:pt x="1424" y="3124"/>
                  <a:pt x="1437" y="3124"/>
                </a:cubicBezTo>
                <a:lnTo>
                  <a:pt x="1480" y="3124"/>
                </a:lnTo>
                <a:cubicBezTo>
                  <a:pt x="1505" y="3124"/>
                  <a:pt x="1519" y="3115"/>
                  <a:pt x="1529" y="3093"/>
                </a:cubicBezTo>
                <a:lnTo>
                  <a:pt x="1553" y="3043"/>
                </a:lnTo>
                <a:cubicBezTo>
                  <a:pt x="1559" y="3030"/>
                  <a:pt x="1561" y="3020"/>
                  <a:pt x="1561" y="3009"/>
                </a:cubicBezTo>
                <a:cubicBezTo>
                  <a:pt x="1561" y="2995"/>
                  <a:pt x="1558" y="2986"/>
                  <a:pt x="1553" y="2973"/>
                </a:cubicBezTo>
                <a:lnTo>
                  <a:pt x="1530" y="2924"/>
                </a:ln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1" name="Freeform 5">
            <a:extLst>
              <a:ext uri="{FF2B5EF4-FFF2-40B4-BE49-F238E27FC236}">
                <a16:creationId xmlns:a16="http://schemas.microsoft.com/office/drawing/2014/main" id="{17B95544-6972-48D1-8CBB-405FEC6476B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21077" y="2843603"/>
            <a:ext cx="430322" cy="356976"/>
          </a:xfrm>
          <a:custGeom>
            <a:avLst/>
            <a:gdLst>
              <a:gd name="T0" fmla="*/ 3133 w 4830"/>
              <a:gd name="T1" fmla="*/ 3642 h 4009"/>
              <a:gd name="T2" fmla="*/ 3076 w 4830"/>
              <a:gd name="T3" fmla="*/ 3642 h 4009"/>
              <a:gd name="T4" fmla="*/ 2963 w 4830"/>
              <a:gd name="T5" fmla="*/ 3642 h 4009"/>
              <a:gd name="T6" fmla="*/ 2803 w 4830"/>
              <a:gd name="T7" fmla="*/ 3642 h 4009"/>
              <a:gd name="T8" fmla="*/ 2702 w 4830"/>
              <a:gd name="T9" fmla="*/ 3642 h 4009"/>
              <a:gd name="T10" fmla="*/ 2621 w 4830"/>
              <a:gd name="T11" fmla="*/ 3642 h 4009"/>
              <a:gd name="T12" fmla="*/ 2457 w 4830"/>
              <a:gd name="T13" fmla="*/ 3642 h 4009"/>
              <a:gd name="T14" fmla="*/ 2423 w 4830"/>
              <a:gd name="T15" fmla="*/ 3642 h 4009"/>
              <a:gd name="T16" fmla="*/ 2310 w 4830"/>
              <a:gd name="T17" fmla="*/ 3642 h 4009"/>
              <a:gd name="T18" fmla="*/ 2127 w 4830"/>
              <a:gd name="T19" fmla="*/ 3642 h 4009"/>
              <a:gd name="T20" fmla="*/ 2054 w 4830"/>
              <a:gd name="T21" fmla="*/ 3642 h 4009"/>
              <a:gd name="T22" fmla="*/ 1939 w 4830"/>
              <a:gd name="T23" fmla="*/ 3642 h 4009"/>
              <a:gd name="T24" fmla="*/ 1810 w 4830"/>
              <a:gd name="T25" fmla="*/ 3642 h 4009"/>
              <a:gd name="T26" fmla="*/ 1741 w 4830"/>
              <a:gd name="T27" fmla="*/ 3642 h 4009"/>
              <a:gd name="T28" fmla="*/ 1628 w 4830"/>
              <a:gd name="T29" fmla="*/ 3642 h 4009"/>
              <a:gd name="T30" fmla="*/ 1479 w 4830"/>
              <a:gd name="T31" fmla="*/ 3642 h 4009"/>
              <a:gd name="T32" fmla="*/ 1355 w 4830"/>
              <a:gd name="T33" fmla="*/ 3642 h 4009"/>
              <a:gd name="T34" fmla="*/ 1309 w 4830"/>
              <a:gd name="T35" fmla="*/ 3642 h 4009"/>
              <a:gd name="T36" fmla="*/ 1208 w 4830"/>
              <a:gd name="T37" fmla="*/ 3642 h 4009"/>
              <a:gd name="T38" fmla="*/ 1013 w 4830"/>
              <a:gd name="T39" fmla="*/ 3642 h 4009"/>
              <a:gd name="T40" fmla="*/ 946 w 4830"/>
              <a:gd name="T41" fmla="*/ 3642 h 4009"/>
              <a:gd name="T42" fmla="*/ 832 w 4830"/>
              <a:gd name="T43" fmla="*/ 3642 h 4009"/>
              <a:gd name="T44" fmla="*/ 708 w 4830"/>
              <a:gd name="T45" fmla="*/ 3642 h 4009"/>
              <a:gd name="T46" fmla="*/ 627 w 4830"/>
              <a:gd name="T47" fmla="*/ 3642 h 4009"/>
              <a:gd name="T48" fmla="*/ 503 w 4830"/>
              <a:gd name="T49" fmla="*/ 3642 h 4009"/>
              <a:gd name="T50" fmla="*/ 389 w 4830"/>
              <a:gd name="T51" fmla="*/ 3642 h 4009"/>
              <a:gd name="T52" fmla="*/ 3372 w 4830"/>
              <a:gd name="T53" fmla="*/ 1319 h 4009"/>
              <a:gd name="T54" fmla="*/ 98 w 4830"/>
              <a:gd name="T55" fmla="*/ 3776 h 4009"/>
              <a:gd name="T56" fmla="*/ 3506 w 4830"/>
              <a:gd name="T57" fmla="*/ 3776 h 4009"/>
              <a:gd name="T58" fmla="*/ 3604 w 4830"/>
              <a:gd name="T59" fmla="*/ 1454 h 4009"/>
              <a:gd name="T60" fmla="*/ 3372 w 4830"/>
              <a:gd name="T61" fmla="*/ 4009 h 4009"/>
              <a:gd name="T62" fmla="*/ 0 w 4830"/>
              <a:gd name="T63" fmla="*/ 1454 h 4009"/>
              <a:gd name="T64" fmla="*/ 3604 w 4830"/>
              <a:gd name="T65" fmla="*/ 1454 h 4009"/>
              <a:gd name="T66" fmla="*/ 4491 w 4830"/>
              <a:gd name="T67" fmla="*/ 506 h 4009"/>
              <a:gd name="T68" fmla="*/ 3549 w 4830"/>
              <a:gd name="T69" fmla="*/ 137 h 4009"/>
              <a:gd name="T70" fmla="*/ 4719 w 4830"/>
              <a:gd name="T71" fmla="*/ 1576 h 4009"/>
              <a:gd name="T72" fmla="*/ 4491 w 4830"/>
              <a:gd name="T73" fmla="*/ 506 h 4009"/>
              <a:gd name="T74" fmla="*/ 3521 w 4830"/>
              <a:gd name="T75" fmla="*/ 415 h 4009"/>
              <a:gd name="T76" fmla="*/ 4066 w 4830"/>
              <a:gd name="T77" fmla="*/ 851 h 4009"/>
              <a:gd name="T78" fmla="*/ 4314 w 4830"/>
              <a:gd name="T79" fmla="*/ 1534 h 4009"/>
              <a:gd name="T80" fmla="*/ 3521 w 4830"/>
              <a:gd name="T81" fmla="*/ 415 h 4009"/>
              <a:gd name="T82" fmla="*/ 3947 w 4830"/>
              <a:gd name="T83" fmla="*/ 1255 h 4009"/>
              <a:gd name="T84" fmla="*/ 3817 w 4830"/>
              <a:gd name="T85" fmla="*/ 1285 h 4009"/>
              <a:gd name="T86" fmla="*/ 3477 w 4830"/>
              <a:gd name="T87" fmla="*/ 838 h 40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830" h="4009">
                <a:moveTo>
                  <a:pt x="3076" y="3642"/>
                </a:moveTo>
                <a:lnTo>
                  <a:pt x="3076" y="3642"/>
                </a:lnTo>
                <a:lnTo>
                  <a:pt x="3133" y="3642"/>
                </a:lnTo>
                <a:lnTo>
                  <a:pt x="3133" y="1572"/>
                </a:lnTo>
                <a:lnTo>
                  <a:pt x="3076" y="1572"/>
                </a:lnTo>
                <a:lnTo>
                  <a:pt x="3076" y="3642"/>
                </a:lnTo>
                <a:close/>
                <a:moveTo>
                  <a:pt x="2803" y="3642"/>
                </a:moveTo>
                <a:lnTo>
                  <a:pt x="2803" y="3642"/>
                </a:lnTo>
                <a:lnTo>
                  <a:pt x="2963" y="3642"/>
                </a:lnTo>
                <a:lnTo>
                  <a:pt x="2963" y="1572"/>
                </a:lnTo>
                <a:lnTo>
                  <a:pt x="2803" y="1572"/>
                </a:lnTo>
                <a:lnTo>
                  <a:pt x="2803" y="3642"/>
                </a:lnTo>
                <a:close/>
                <a:moveTo>
                  <a:pt x="2621" y="3642"/>
                </a:moveTo>
                <a:lnTo>
                  <a:pt x="2621" y="3642"/>
                </a:lnTo>
                <a:lnTo>
                  <a:pt x="2702" y="3642"/>
                </a:lnTo>
                <a:lnTo>
                  <a:pt x="2702" y="1572"/>
                </a:lnTo>
                <a:lnTo>
                  <a:pt x="2621" y="1572"/>
                </a:lnTo>
                <a:lnTo>
                  <a:pt x="2621" y="3642"/>
                </a:lnTo>
                <a:close/>
                <a:moveTo>
                  <a:pt x="2423" y="3642"/>
                </a:moveTo>
                <a:lnTo>
                  <a:pt x="2423" y="3642"/>
                </a:lnTo>
                <a:lnTo>
                  <a:pt x="2457" y="3642"/>
                </a:lnTo>
                <a:lnTo>
                  <a:pt x="2457" y="1572"/>
                </a:lnTo>
                <a:lnTo>
                  <a:pt x="2423" y="1572"/>
                </a:lnTo>
                <a:lnTo>
                  <a:pt x="2423" y="3642"/>
                </a:lnTo>
                <a:close/>
                <a:moveTo>
                  <a:pt x="2127" y="3642"/>
                </a:moveTo>
                <a:lnTo>
                  <a:pt x="2127" y="3642"/>
                </a:lnTo>
                <a:lnTo>
                  <a:pt x="2310" y="3642"/>
                </a:lnTo>
                <a:lnTo>
                  <a:pt x="2310" y="1572"/>
                </a:lnTo>
                <a:lnTo>
                  <a:pt x="2127" y="1572"/>
                </a:lnTo>
                <a:lnTo>
                  <a:pt x="2127" y="3642"/>
                </a:lnTo>
                <a:close/>
                <a:moveTo>
                  <a:pt x="1939" y="3642"/>
                </a:moveTo>
                <a:lnTo>
                  <a:pt x="1939" y="3642"/>
                </a:lnTo>
                <a:lnTo>
                  <a:pt x="2054" y="3642"/>
                </a:lnTo>
                <a:lnTo>
                  <a:pt x="2054" y="1572"/>
                </a:lnTo>
                <a:lnTo>
                  <a:pt x="1939" y="1572"/>
                </a:lnTo>
                <a:lnTo>
                  <a:pt x="1939" y="3642"/>
                </a:lnTo>
                <a:close/>
                <a:moveTo>
                  <a:pt x="1741" y="3642"/>
                </a:moveTo>
                <a:lnTo>
                  <a:pt x="1741" y="3642"/>
                </a:lnTo>
                <a:lnTo>
                  <a:pt x="1810" y="3642"/>
                </a:lnTo>
                <a:lnTo>
                  <a:pt x="1810" y="1572"/>
                </a:lnTo>
                <a:lnTo>
                  <a:pt x="1741" y="1572"/>
                </a:lnTo>
                <a:lnTo>
                  <a:pt x="1741" y="3642"/>
                </a:lnTo>
                <a:close/>
                <a:moveTo>
                  <a:pt x="1479" y="3642"/>
                </a:moveTo>
                <a:lnTo>
                  <a:pt x="1479" y="3642"/>
                </a:lnTo>
                <a:lnTo>
                  <a:pt x="1628" y="3642"/>
                </a:lnTo>
                <a:lnTo>
                  <a:pt x="1628" y="1572"/>
                </a:lnTo>
                <a:lnTo>
                  <a:pt x="1479" y="1572"/>
                </a:lnTo>
                <a:lnTo>
                  <a:pt x="1479" y="3642"/>
                </a:lnTo>
                <a:close/>
                <a:moveTo>
                  <a:pt x="1309" y="3642"/>
                </a:moveTo>
                <a:lnTo>
                  <a:pt x="1309" y="3642"/>
                </a:lnTo>
                <a:lnTo>
                  <a:pt x="1355" y="3642"/>
                </a:lnTo>
                <a:lnTo>
                  <a:pt x="1355" y="1572"/>
                </a:lnTo>
                <a:lnTo>
                  <a:pt x="1309" y="1572"/>
                </a:lnTo>
                <a:lnTo>
                  <a:pt x="1309" y="3642"/>
                </a:lnTo>
                <a:close/>
                <a:moveTo>
                  <a:pt x="1013" y="3642"/>
                </a:moveTo>
                <a:lnTo>
                  <a:pt x="1013" y="3642"/>
                </a:lnTo>
                <a:lnTo>
                  <a:pt x="1208" y="3642"/>
                </a:lnTo>
                <a:lnTo>
                  <a:pt x="1208" y="1572"/>
                </a:lnTo>
                <a:lnTo>
                  <a:pt x="1013" y="1572"/>
                </a:lnTo>
                <a:lnTo>
                  <a:pt x="1013" y="3642"/>
                </a:lnTo>
                <a:close/>
                <a:moveTo>
                  <a:pt x="832" y="3642"/>
                </a:moveTo>
                <a:lnTo>
                  <a:pt x="832" y="3642"/>
                </a:lnTo>
                <a:lnTo>
                  <a:pt x="946" y="3642"/>
                </a:lnTo>
                <a:lnTo>
                  <a:pt x="946" y="1572"/>
                </a:lnTo>
                <a:lnTo>
                  <a:pt x="832" y="1572"/>
                </a:lnTo>
                <a:lnTo>
                  <a:pt x="832" y="3642"/>
                </a:lnTo>
                <a:close/>
                <a:moveTo>
                  <a:pt x="627" y="3642"/>
                </a:moveTo>
                <a:lnTo>
                  <a:pt x="627" y="3642"/>
                </a:lnTo>
                <a:lnTo>
                  <a:pt x="708" y="3642"/>
                </a:lnTo>
                <a:lnTo>
                  <a:pt x="708" y="1572"/>
                </a:lnTo>
                <a:lnTo>
                  <a:pt x="627" y="1572"/>
                </a:lnTo>
                <a:lnTo>
                  <a:pt x="627" y="3642"/>
                </a:lnTo>
                <a:close/>
                <a:moveTo>
                  <a:pt x="389" y="3642"/>
                </a:moveTo>
                <a:lnTo>
                  <a:pt x="389" y="3642"/>
                </a:lnTo>
                <a:lnTo>
                  <a:pt x="503" y="3642"/>
                </a:lnTo>
                <a:lnTo>
                  <a:pt x="503" y="1572"/>
                </a:lnTo>
                <a:lnTo>
                  <a:pt x="389" y="1572"/>
                </a:lnTo>
                <a:lnTo>
                  <a:pt x="389" y="3642"/>
                </a:lnTo>
                <a:close/>
                <a:moveTo>
                  <a:pt x="3506" y="1454"/>
                </a:moveTo>
                <a:lnTo>
                  <a:pt x="3506" y="1454"/>
                </a:lnTo>
                <a:cubicBezTo>
                  <a:pt x="3506" y="1380"/>
                  <a:pt x="3446" y="1319"/>
                  <a:pt x="3372" y="1319"/>
                </a:cubicBezTo>
                <a:lnTo>
                  <a:pt x="232" y="1319"/>
                </a:lnTo>
                <a:cubicBezTo>
                  <a:pt x="158" y="1319"/>
                  <a:pt x="98" y="1380"/>
                  <a:pt x="98" y="1454"/>
                </a:cubicBezTo>
                <a:lnTo>
                  <a:pt x="98" y="3776"/>
                </a:lnTo>
                <a:cubicBezTo>
                  <a:pt x="98" y="3850"/>
                  <a:pt x="158" y="3910"/>
                  <a:pt x="232" y="3910"/>
                </a:cubicBezTo>
                <a:lnTo>
                  <a:pt x="3372" y="3910"/>
                </a:lnTo>
                <a:cubicBezTo>
                  <a:pt x="3446" y="3910"/>
                  <a:pt x="3506" y="3850"/>
                  <a:pt x="3506" y="3776"/>
                </a:cubicBezTo>
                <a:lnTo>
                  <a:pt x="3506" y="1454"/>
                </a:lnTo>
                <a:lnTo>
                  <a:pt x="3506" y="1454"/>
                </a:lnTo>
                <a:close/>
                <a:moveTo>
                  <a:pt x="3604" y="1454"/>
                </a:moveTo>
                <a:lnTo>
                  <a:pt x="3604" y="1454"/>
                </a:lnTo>
                <a:lnTo>
                  <a:pt x="3604" y="3776"/>
                </a:lnTo>
                <a:cubicBezTo>
                  <a:pt x="3604" y="3904"/>
                  <a:pt x="3500" y="4009"/>
                  <a:pt x="3372" y="4009"/>
                </a:cubicBezTo>
                <a:lnTo>
                  <a:pt x="232" y="4009"/>
                </a:lnTo>
                <a:cubicBezTo>
                  <a:pt x="104" y="4009"/>
                  <a:pt x="0" y="3904"/>
                  <a:pt x="0" y="3776"/>
                </a:cubicBezTo>
                <a:lnTo>
                  <a:pt x="0" y="1454"/>
                </a:lnTo>
                <a:cubicBezTo>
                  <a:pt x="0" y="1325"/>
                  <a:pt x="104" y="1221"/>
                  <a:pt x="232" y="1221"/>
                </a:cubicBezTo>
                <a:lnTo>
                  <a:pt x="3372" y="1221"/>
                </a:lnTo>
                <a:cubicBezTo>
                  <a:pt x="3500" y="1221"/>
                  <a:pt x="3604" y="1325"/>
                  <a:pt x="3604" y="1454"/>
                </a:cubicBezTo>
                <a:lnTo>
                  <a:pt x="3604" y="1454"/>
                </a:lnTo>
                <a:close/>
                <a:moveTo>
                  <a:pt x="4491" y="506"/>
                </a:moveTo>
                <a:lnTo>
                  <a:pt x="4491" y="506"/>
                </a:lnTo>
                <a:cubicBezTo>
                  <a:pt x="4259" y="220"/>
                  <a:pt x="3929" y="42"/>
                  <a:pt x="3563" y="4"/>
                </a:cubicBezTo>
                <a:cubicBezTo>
                  <a:pt x="3527" y="0"/>
                  <a:pt x="3494" y="27"/>
                  <a:pt x="3490" y="64"/>
                </a:cubicBezTo>
                <a:cubicBezTo>
                  <a:pt x="3486" y="100"/>
                  <a:pt x="3513" y="133"/>
                  <a:pt x="3549" y="137"/>
                </a:cubicBezTo>
                <a:cubicBezTo>
                  <a:pt x="3880" y="171"/>
                  <a:pt x="4178" y="332"/>
                  <a:pt x="4387" y="590"/>
                </a:cubicBezTo>
                <a:cubicBezTo>
                  <a:pt x="4597" y="848"/>
                  <a:pt x="4693" y="1172"/>
                  <a:pt x="4659" y="1503"/>
                </a:cubicBezTo>
                <a:cubicBezTo>
                  <a:pt x="4655" y="1540"/>
                  <a:pt x="4682" y="1573"/>
                  <a:pt x="4719" y="1576"/>
                </a:cubicBezTo>
                <a:cubicBezTo>
                  <a:pt x="4721" y="1577"/>
                  <a:pt x="4723" y="1577"/>
                  <a:pt x="4726" y="1577"/>
                </a:cubicBezTo>
                <a:cubicBezTo>
                  <a:pt x="4759" y="1577"/>
                  <a:pt x="4788" y="1551"/>
                  <a:pt x="4792" y="1517"/>
                </a:cubicBezTo>
                <a:cubicBezTo>
                  <a:pt x="4830" y="1151"/>
                  <a:pt x="4723" y="792"/>
                  <a:pt x="4491" y="506"/>
                </a:cubicBezTo>
                <a:lnTo>
                  <a:pt x="4491" y="506"/>
                </a:lnTo>
                <a:close/>
                <a:moveTo>
                  <a:pt x="3521" y="415"/>
                </a:moveTo>
                <a:lnTo>
                  <a:pt x="3521" y="415"/>
                </a:lnTo>
                <a:cubicBezTo>
                  <a:pt x="3483" y="413"/>
                  <a:pt x="3451" y="438"/>
                  <a:pt x="3447" y="475"/>
                </a:cubicBezTo>
                <a:cubicBezTo>
                  <a:pt x="3444" y="512"/>
                  <a:pt x="3470" y="545"/>
                  <a:pt x="3507" y="548"/>
                </a:cubicBezTo>
                <a:cubicBezTo>
                  <a:pt x="3728" y="571"/>
                  <a:pt x="3926" y="679"/>
                  <a:pt x="4066" y="851"/>
                </a:cubicBezTo>
                <a:cubicBezTo>
                  <a:pt x="4206" y="1023"/>
                  <a:pt x="4271" y="1240"/>
                  <a:pt x="4248" y="1460"/>
                </a:cubicBezTo>
                <a:cubicBezTo>
                  <a:pt x="4244" y="1497"/>
                  <a:pt x="4271" y="1530"/>
                  <a:pt x="4307" y="1534"/>
                </a:cubicBezTo>
                <a:cubicBezTo>
                  <a:pt x="4310" y="1534"/>
                  <a:pt x="4312" y="1534"/>
                  <a:pt x="4314" y="1534"/>
                </a:cubicBezTo>
                <a:cubicBezTo>
                  <a:pt x="4348" y="1534"/>
                  <a:pt x="4377" y="1509"/>
                  <a:pt x="4381" y="1474"/>
                </a:cubicBezTo>
                <a:cubicBezTo>
                  <a:pt x="4407" y="1218"/>
                  <a:pt x="4332" y="967"/>
                  <a:pt x="4170" y="767"/>
                </a:cubicBezTo>
                <a:cubicBezTo>
                  <a:pt x="4008" y="567"/>
                  <a:pt x="3777" y="442"/>
                  <a:pt x="3521" y="415"/>
                </a:cubicBezTo>
                <a:lnTo>
                  <a:pt x="3521" y="415"/>
                </a:lnTo>
                <a:close/>
                <a:moveTo>
                  <a:pt x="3947" y="1255"/>
                </a:moveTo>
                <a:lnTo>
                  <a:pt x="3947" y="1255"/>
                </a:lnTo>
                <a:cubicBezTo>
                  <a:pt x="3956" y="1291"/>
                  <a:pt x="3933" y="1327"/>
                  <a:pt x="3897" y="1335"/>
                </a:cubicBezTo>
                <a:cubicBezTo>
                  <a:pt x="3892" y="1336"/>
                  <a:pt x="3887" y="1337"/>
                  <a:pt x="3882" y="1337"/>
                </a:cubicBezTo>
                <a:cubicBezTo>
                  <a:pt x="3852" y="1337"/>
                  <a:pt x="3824" y="1316"/>
                  <a:pt x="3817" y="1285"/>
                </a:cubicBezTo>
                <a:cubicBezTo>
                  <a:pt x="3779" y="1115"/>
                  <a:pt x="3636" y="989"/>
                  <a:pt x="3463" y="971"/>
                </a:cubicBezTo>
                <a:cubicBezTo>
                  <a:pt x="3426" y="968"/>
                  <a:pt x="3400" y="935"/>
                  <a:pt x="3404" y="898"/>
                </a:cubicBezTo>
                <a:cubicBezTo>
                  <a:pt x="3407" y="861"/>
                  <a:pt x="3440" y="834"/>
                  <a:pt x="3477" y="838"/>
                </a:cubicBezTo>
                <a:cubicBezTo>
                  <a:pt x="3707" y="862"/>
                  <a:pt x="3896" y="1030"/>
                  <a:pt x="3947" y="1255"/>
                </a:cubicBez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6" name="Freeform 5">
            <a:extLst>
              <a:ext uri="{FF2B5EF4-FFF2-40B4-BE49-F238E27FC236}">
                <a16:creationId xmlns:a16="http://schemas.microsoft.com/office/drawing/2014/main" id="{456EF0EF-FA7B-42D2-ABCD-FCFA1E9A674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45499" y="2513031"/>
            <a:ext cx="471550" cy="391458"/>
          </a:xfrm>
          <a:custGeom>
            <a:avLst/>
            <a:gdLst>
              <a:gd name="T0" fmla="*/ 4472 w 4810"/>
              <a:gd name="T1" fmla="*/ 793 h 3993"/>
              <a:gd name="T2" fmla="*/ 1961 w 4810"/>
              <a:gd name="T3" fmla="*/ 3823 h 3993"/>
              <a:gd name="T4" fmla="*/ 1501 w 4810"/>
              <a:gd name="T5" fmla="*/ 3151 h 3993"/>
              <a:gd name="T6" fmla="*/ 1471 w 4810"/>
              <a:gd name="T7" fmla="*/ 3028 h 3993"/>
              <a:gd name="T8" fmla="*/ 1116 w 4810"/>
              <a:gd name="T9" fmla="*/ 2943 h 3993"/>
              <a:gd name="T10" fmla="*/ 665 w 4810"/>
              <a:gd name="T11" fmla="*/ 2494 h 3993"/>
              <a:gd name="T12" fmla="*/ 858 w 4810"/>
              <a:gd name="T13" fmla="*/ 2500 h 3993"/>
              <a:gd name="T14" fmla="*/ 1012 w 4810"/>
              <a:gd name="T15" fmla="*/ 2455 h 3993"/>
              <a:gd name="T16" fmla="*/ 847 w 4810"/>
              <a:gd name="T17" fmla="*/ 2285 h 3993"/>
              <a:gd name="T18" fmla="*/ 310 w 4810"/>
              <a:gd name="T19" fmla="*/ 1617 h 3993"/>
              <a:gd name="T20" fmla="*/ 361 w 4810"/>
              <a:gd name="T21" fmla="*/ 1572 h 3993"/>
              <a:gd name="T22" fmla="*/ 656 w 4810"/>
              <a:gd name="T23" fmla="*/ 1613 h 3993"/>
              <a:gd name="T24" fmla="*/ 678 w 4810"/>
              <a:gd name="T25" fmla="*/ 1494 h 3993"/>
              <a:gd name="T26" fmla="*/ 368 w 4810"/>
              <a:gd name="T27" fmla="*/ 412 h 3993"/>
              <a:gd name="T28" fmla="*/ 390 w 4810"/>
              <a:gd name="T29" fmla="*/ 406 h 3993"/>
              <a:gd name="T30" fmla="*/ 2275 w 4810"/>
              <a:gd name="T31" fmla="*/ 1342 h 3993"/>
              <a:gd name="T32" fmla="*/ 2416 w 4810"/>
              <a:gd name="T33" fmla="*/ 1184 h 3993"/>
              <a:gd name="T34" fmla="*/ 3391 w 4810"/>
              <a:gd name="T35" fmla="*/ 170 h 3993"/>
              <a:gd name="T36" fmla="*/ 4164 w 4810"/>
              <a:gd name="T37" fmla="*/ 434 h 3993"/>
              <a:gd name="T38" fmla="*/ 4218 w 4810"/>
              <a:gd name="T39" fmla="*/ 617 h 3993"/>
              <a:gd name="T40" fmla="*/ 4256 w 4810"/>
              <a:gd name="T41" fmla="*/ 739 h 3993"/>
              <a:gd name="T42" fmla="*/ 4472 w 4810"/>
              <a:gd name="T43" fmla="*/ 793 h 3993"/>
              <a:gd name="T44" fmla="*/ 4790 w 4810"/>
              <a:gd name="T45" fmla="*/ 523 h 3993"/>
              <a:gd name="T46" fmla="*/ 4719 w 4810"/>
              <a:gd name="T47" fmla="*/ 500 h 3993"/>
              <a:gd name="T48" fmla="*/ 4465 w 4810"/>
              <a:gd name="T49" fmla="*/ 578 h 3993"/>
              <a:gd name="T50" fmla="*/ 4668 w 4810"/>
              <a:gd name="T51" fmla="*/ 129 h 3993"/>
              <a:gd name="T52" fmla="*/ 4499 w 4810"/>
              <a:gd name="T53" fmla="*/ 159 h 3993"/>
              <a:gd name="T54" fmla="*/ 3985 w 4810"/>
              <a:gd name="T55" fmla="*/ 275 h 3993"/>
              <a:gd name="T56" fmla="*/ 2569 w 4810"/>
              <a:gd name="T57" fmla="*/ 326 h 3993"/>
              <a:gd name="T58" fmla="*/ 2280 w 4810"/>
              <a:gd name="T59" fmla="*/ 1205 h 3993"/>
              <a:gd name="T60" fmla="*/ 491 w 4810"/>
              <a:gd name="T61" fmla="*/ 313 h 3993"/>
              <a:gd name="T62" fmla="*/ 240 w 4810"/>
              <a:gd name="T63" fmla="*/ 364 h 3993"/>
              <a:gd name="T64" fmla="*/ 429 w 4810"/>
              <a:gd name="T65" fmla="*/ 1450 h 3993"/>
              <a:gd name="T66" fmla="*/ 202 w 4810"/>
              <a:gd name="T67" fmla="*/ 1447 h 3993"/>
              <a:gd name="T68" fmla="*/ 689 w 4810"/>
              <a:gd name="T69" fmla="*/ 2359 h 3993"/>
              <a:gd name="T70" fmla="*/ 549 w 4810"/>
              <a:gd name="T71" fmla="*/ 2571 h 3993"/>
              <a:gd name="T72" fmla="*/ 1280 w 4810"/>
              <a:gd name="T73" fmla="*/ 3136 h 3993"/>
              <a:gd name="T74" fmla="*/ 9 w 4810"/>
              <a:gd name="T75" fmla="*/ 3482 h 3993"/>
              <a:gd name="T76" fmla="*/ 1519 w 4810"/>
              <a:gd name="T77" fmla="*/ 3993 h 3993"/>
              <a:gd name="T78" fmla="*/ 4334 w 4810"/>
              <a:gd name="T79" fmla="*/ 1399 h 3993"/>
              <a:gd name="T80" fmla="*/ 4798 w 4810"/>
              <a:gd name="T81" fmla="*/ 597 h 3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810" h="3993">
                <a:moveTo>
                  <a:pt x="4472" y="793"/>
                </a:moveTo>
                <a:lnTo>
                  <a:pt x="4472" y="793"/>
                </a:lnTo>
                <a:cubicBezTo>
                  <a:pt x="4228" y="949"/>
                  <a:pt x="4211" y="1183"/>
                  <a:pt x="4197" y="1389"/>
                </a:cubicBezTo>
                <a:cubicBezTo>
                  <a:pt x="4124" y="2453"/>
                  <a:pt x="3333" y="3631"/>
                  <a:pt x="1961" y="3823"/>
                </a:cubicBezTo>
                <a:cubicBezTo>
                  <a:pt x="1365" y="3907"/>
                  <a:pt x="833" y="3826"/>
                  <a:pt x="341" y="3576"/>
                </a:cubicBezTo>
                <a:cubicBezTo>
                  <a:pt x="759" y="3557"/>
                  <a:pt x="1140" y="3417"/>
                  <a:pt x="1501" y="3151"/>
                </a:cubicBezTo>
                <a:cubicBezTo>
                  <a:pt x="1524" y="3134"/>
                  <a:pt x="1534" y="3106"/>
                  <a:pt x="1527" y="3079"/>
                </a:cubicBezTo>
                <a:cubicBezTo>
                  <a:pt x="1520" y="3052"/>
                  <a:pt x="1498" y="3032"/>
                  <a:pt x="1471" y="3028"/>
                </a:cubicBezTo>
                <a:lnTo>
                  <a:pt x="1461" y="3026"/>
                </a:lnTo>
                <a:cubicBezTo>
                  <a:pt x="1324" y="3006"/>
                  <a:pt x="1215" y="2989"/>
                  <a:pt x="1116" y="2943"/>
                </a:cubicBezTo>
                <a:cubicBezTo>
                  <a:pt x="917" y="2850"/>
                  <a:pt x="771" y="2708"/>
                  <a:pt x="672" y="2510"/>
                </a:cubicBezTo>
                <a:cubicBezTo>
                  <a:pt x="669" y="2504"/>
                  <a:pt x="667" y="2499"/>
                  <a:pt x="665" y="2494"/>
                </a:cubicBezTo>
                <a:cubicBezTo>
                  <a:pt x="667" y="2494"/>
                  <a:pt x="669" y="2495"/>
                  <a:pt x="671" y="2495"/>
                </a:cubicBezTo>
                <a:cubicBezTo>
                  <a:pt x="733" y="2504"/>
                  <a:pt x="794" y="2502"/>
                  <a:pt x="858" y="2500"/>
                </a:cubicBezTo>
                <a:cubicBezTo>
                  <a:pt x="887" y="2499"/>
                  <a:pt x="917" y="2498"/>
                  <a:pt x="948" y="2498"/>
                </a:cubicBezTo>
                <a:cubicBezTo>
                  <a:pt x="976" y="2498"/>
                  <a:pt x="1002" y="2481"/>
                  <a:pt x="1012" y="2455"/>
                </a:cubicBezTo>
                <a:cubicBezTo>
                  <a:pt x="1023" y="2429"/>
                  <a:pt x="1016" y="2399"/>
                  <a:pt x="996" y="2380"/>
                </a:cubicBezTo>
                <a:cubicBezTo>
                  <a:pt x="943" y="2329"/>
                  <a:pt x="892" y="2305"/>
                  <a:pt x="847" y="2285"/>
                </a:cubicBezTo>
                <a:cubicBezTo>
                  <a:pt x="837" y="2280"/>
                  <a:pt x="828" y="2276"/>
                  <a:pt x="818" y="2271"/>
                </a:cubicBezTo>
                <a:cubicBezTo>
                  <a:pt x="532" y="2131"/>
                  <a:pt x="365" y="1917"/>
                  <a:pt x="310" y="1617"/>
                </a:cubicBezTo>
                <a:cubicBezTo>
                  <a:pt x="305" y="1588"/>
                  <a:pt x="302" y="1569"/>
                  <a:pt x="302" y="1558"/>
                </a:cubicBezTo>
                <a:cubicBezTo>
                  <a:pt x="314" y="1559"/>
                  <a:pt x="332" y="1564"/>
                  <a:pt x="361" y="1572"/>
                </a:cubicBezTo>
                <a:cubicBezTo>
                  <a:pt x="378" y="1577"/>
                  <a:pt x="396" y="1584"/>
                  <a:pt x="413" y="1590"/>
                </a:cubicBezTo>
                <a:cubicBezTo>
                  <a:pt x="477" y="1615"/>
                  <a:pt x="557" y="1645"/>
                  <a:pt x="656" y="1613"/>
                </a:cubicBezTo>
                <a:cubicBezTo>
                  <a:pt x="680" y="1605"/>
                  <a:pt x="698" y="1585"/>
                  <a:pt x="703" y="1560"/>
                </a:cubicBezTo>
                <a:cubicBezTo>
                  <a:pt x="707" y="1535"/>
                  <a:pt x="698" y="1510"/>
                  <a:pt x="678" y="1494"/>
                </a:cubicBezTo>
                <a:cubicBezTo>
                  <a:pt x="396" y="1273"/>
                  <a:pt x="276" y="996"/>
                  <a:pt x="308" y="646"/>
                </a:cubicBezTo>
                <a:cubicBezTo>
                  <a:pt x="316" y="561"/>
                  <a:pt x="343" y="480"/>
                  <a:pt x="368" y="412"/>
                </a:cubicBezTo>
                <a:cubicBezTo>
                  <a:pt x="372" y="404"/>
                  <a:pt x="375" y="398"/>
                  <a:pt x="377" y="394"/>
                </a:cubicBezTo>
                <a:cubicBezTo>
                  <a:pt x="380" y="396"/>
                  <a:pt x="385" y="400"/>
                  <a:pt x="390" y="406"/>
                </a:cubicBezTo>
                <a:cubicBezTo>
                  <a:pt x="641" y="682"/>
                  <a:pt x="926" y="899"/>
                  <a:pt x="1235" y="1052"/>
                </a:cubicBezTo>
                <a:cubicBezTo>
                  <a:pt x="1589" y="1228"/>
                  <a:pt x="1929" y="1323"/>
                  <a:pt x="2275" y="1342"/>
                </a:cubicBezTo>
                <a:cubicBezTo>
                  <a:pt x="2298" y="1344"/>
                  <a:pt x="2353" y="1347"/>
                  <a:pt x="2390" y="1308"/>
                </a:cubicBezTo>
                <a:cubicBezTo>
                  <a:pt x="2422" y="1274"/>
                  <a:pt x="2422" y="1228"/>
                  <a:pt x="2416" y="1184"/>
                </a:cubicBezTo>
                <a:cubicBezTo>
                  <a:pt x="2381" y="897"/>
                  <a:pt x="2472" y="619"/>
                  <a:pt x="2667" y="422"/>
                </a:cubicBezTo>
                <a:cubicBezTo>
                  <a:pt x="2855" y="232"/>
                  <a:pt x="3119" y="140"/>
                  <a:pt x="3391" y="170"/>
                </a:cubicBezTo>
                <a:cubicBezTo>
                  <a:pt x="3561" y="189"/>
                  <a:pt x="3753" y="227"/>
                  <a:pt x="3884" y="369"/>
                </a:cubicBezTo>
                <a:cubicBezTo>
                  <a:pt x="3977" y="468"/>
                  <a:pt x="4077" y="458"/>
                  <a:pt x="4164" y="434"/>
                </a:cubicBezTo>
                <a:cubicBezTo>
                  <a:pt x="4274" y="404"/>
                  <a:pt x="4377" y="362"/>
                  <a:pt x="4490" y="313"/>
                </a:cubicBezTo>
                <a:cubicBezTo>
                  <a:pt x="4429" y="423"/>
                  <a:pt x="4343" y="518"/>
                  <a:pt x="4218" y="617"/>
                </a:cubicBezTo>
                <a:cubicBezTo>
                  <a:pt x="4196" y="634"/>
                  <a:pt x="4187" y="664"/>
                  <a:pt x="4195" y="691"/>
                </a:cubicBezTo>
                <a:cubicBezTo>
                  <a:pt x="4204" y="718"/>
                  <a:pt x="4228" y="737"/>
                  <a:pt x="4256" y="739"/>
                </a:cubicBezTo>
                <a:cubicBezTo>
                  <a:pt x="4379" y="748"/>
                  <a:pt x="4480" y="720"/>
                  <a:pt x="4583" y="686"/>
                </a:cubicBezTo>
                <a:cubicBezTo>
                  <a:pt x="4547" y="733"/>
                  <a:pt x="4511" y="768"/>
                  <a:pt x="4472" y="793"/>
                </a:cubicBezTo>
                <a:lnTo>
                  <a:pt x="4472" y="793"/>
                </a:lnTo>
                <a:close/>
                <a:moveTo>
                  <a:pt x="4790" y="523"/>
                </a:moveTo>
                <a:lnTo>
                  <a:pt x="4790" y="523"/>
                </a:lnTo>
                <a:cubicBezTo>
                  <a:pt x="4773" y="502"/>
                  <a:pt x="4745" y="492"/>
                  <a:pt x="4719" y="500"/>
                </a:cubicBezTo>
                <a:cubicBezTo>
                  <a:pt x="4669" y="513"/>
                  <a:pt x="4622" y="528"/>
                  <a:pt x="4577" y="543"/>
                </a:cubicBezTo>
                <a:cubicBezTo>
                  <a:pt x="4538" y="556"/>
                  <a:pt x="4501" y="568"/>
                  <a:pt x="4465" y="578"/>
                </a:cubicBezTo>
                <a:cubicBezTo>
                  <a:pt x="4570" y="466"/>
                  <a:pt x="4638" y="349"/>
                  <a:pt x="4687" y="202"/>
                </a:cubicBezTo>
                <a:cubicBezTo>
                  <a:pt x="4695" y="176"/>
                  <a:pt x="4688" y="148"/>
                  <a:pt x="4668" y="129"/>
                </a:cubicBezTo>
                <a:cubicBezTo>
                  <a:pt x="4648" y="111"/>
                  <a:pt x="4619" y="106"/>
                  <a:pt x="4594" y="117"/>
                </a:cubicBezTo>
                <a:lnTo>
                  <a:pt x="4499" y="159"/>
                </a:lnTo>
                <a:cubicBezTo>
                  <a:pt x="4364" y="218"/>
                  <a:pt x="4248" y="269"/>
                  <a:pt x="4127" y="302"/>
                </a:cubicBezTo>
                <a:cubicBezTo>
                  <a:pt x="4054" y="322"/>
                  <a:pt x="4023" y="316"/>
                  <a:pt x="3985" y="275"/>
                </a:cubicBezTo>
                <a:cubicBezTo>
                  <a:pt x="3822" y="100"/>
                  <a:pt x="3590" y="54"/>
                  <a:pt x="3406" y="34"/>
                </a:cubicBezTo>
                <a:cubicBezTo>
                  <a:pt x="3092" y="0"/>
                  <a:pt x="2787" y="106"/>
                  <a:pt x="2569" y="326"/>
                </a:cubicBezTo>
                <a:cubicBezTo>
                  <a:pt x="2345" y="553"/>
                  <a:pt x="2239" y="872"/>
                  <a:pt x="2280" y="1201"/>
                </a:cubicBezTo>
                <a:cubicBezTo>
                  <a:pt x="2280" y="1203"/>
                  <a:pt x="2280" y="1204"/>
                  <a:pt x="2280" y="1205"/>
                </a:cubicBezTo>
                <a:cubicBezTo>
                  <a:pt x="1955" y="1186"/>
                  <a:pt x="1633" y="1096"/>
                  <a:pt x="1296" y="929"/>
                </a:cubicBezTo>
                <a:cubicBezTo>
                  <a:pt x="1002" y="784"/>
                  <a:pt x="731" y="576"/>
                  <a:pt x="491" y="313"/>
                </a:cubicBezTo>
                <a:cubicBezTo>
                  <a:pt x="436" y="252"/>
                  <a:pt x="384" y="247"/>
                  <a:pt x="350" y="254"/>
                </a:cubicBezTo>
                <a:cubicBezTo>
                  <a:pt x="316" y="260"/>
                  <a:pt x="270" y="285"/>
                  <a:pt x="240" y="364"/>
                </a:cubicBezTo>
                <a:cubicBezTo>
                  <a:pt x="211" y="441"/>
                  <a:pt x="180" y="533"/>
                  <a:pt x="171" y="633"/>
                </a:cubicBezTo>
                <a:cubicBezTo>
                  <a:pt x="142" y="952"/>
                  <a:pt x="228" y="1225"/>
                  <a:pt x="429" y="1450"/>
                </a:cubicBezTo>
                <a:cubicBezTo>
                  <a:pt x="419" y="1446"/>
                  <a:pt x="410" y="1443"/>
                  <a:pt x="400" y="1440"/>
                </a:cubicBezTo>
                <a:cubicBezTo>
                  <a:pt x="324" y="1418"/>
                  <a:pt x="252" y="1402"/>
                  <a:pt x="202" y="1447"/>
                </a:cubicBezTo>
                <a:cubicBezTo>
                  <a:pt x="152" y="1493"/>
                  <a:pt x="161" y="1568"/>
                  <a:pt x="175" y="1642"/>
                </a:cubicBezTo>
                <a:cubicBezTo>
                  <a:pt x="233" y="1958"/>
                  <a:pt x="406" y="2199"/>
                  <a:pt x="689" y="2359"/>
                </a:cubicBezTo>
                <a:cubicBezTo>
                  <a:pt x="657" y="2354"/>
                  <a:pt x="574" y="2343"/>
                  <a:pt x="533" y="2401"/>
                </a:cubicBezTo>
                <a:cubicBezTo>
                  <a:pt x="492" y="2457"/>
                  <a:pt x="528" y="2529"/>
                  <a:pt x="549" y="2571"/>
                </a:cubicBezTo>
                <a:cubicBezTo>
                  <a:pt x="661" y="2795"/>
                  <a:pt x="832" y="2962"/>
                  <a:pt x="1058" y="3067"/>
                </a:cubicBezTo>
                <a:cubicBezTo>
                  <a:pt x="1129" y="3101"/>
                  <a:pt x="1202" y="3120"/>
                  <a:pt x="1280" y="3136"/>
                </a:cubicBezTo>
                <a:cubicBezTo>
                  <a:pt x="911" y="3369"/>
                  <a:pt x="516" y="3467"/>
                  <a:pt x="79" y="3435"/>
                </a:cubicBezTo>
                <a:cubicBezTo>
                  <a:pt x="50" y="3433"/>
                  <a:pt x="19" y="3452"/>
                  <a:pt x="9" y="3482"/>
                </a:cubicBezTo>
                <a:cubicBezTo>
                  <a:pt x="0" y="3512"/>
                  <a:pt x="11" y="3545"/>
                  <a:pt x="37" y="3562"/>
                </a:cubicBezTo>
                <a:cubicBezTo>
                  <a:pt x="494" y="3850"/>
                  <a:pt x="982" y="3993"/>
                  <a:pt x="1519" y="3993"/>
                </a:cubicBezTo>
                <a:cubicBezTo>
                  <a:pt x="1669" y="3993"/>
                  <a:pt x="1822" y="3981"/>
                  <a:pt x="1980" y="3959"/>
                </a:cubicBezTo>
                <a:cubicBezTo>
                  <a:pt x="3424" y="3757"/>
                  <a:pt x="4258" y="2518"/>
                  <a:pt x="4334" y="1399"/>
                </a:cubicBezTo>
                <a:cubicBezTo>
                  <a:pt x="4350" y="1168"/>
                  <a:pt x="4372" y="1019"/>
                  <a:pt x="4546" y="909"/>
                </a:cubicBezTo>
                <a:cubicBezTo>
                  <a:pt x="4640" y="848"/>
                  <a:pt x="4720" y="749"/>
                  <a:pt x="4798" y="597"/>
                </a:cubicBezTo>
                <a:cubicBezTo>
                  <a:pt x="4810" y="573"/>
                  <a:pt x="4807" y="544"/>
                  <a:pt x="4790" y="523"/>
                </a:cubicBez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7" name="Freeform 13">
            <a:extLst>
              <a:ext uri="{FF2B5EF4-FFF2-40B4-BE49-F238E27FC236}">
                <a16:creationId xmlns:a16="http://schemas.microsoft.com/office/drawing/2014/main" id="{A5701415-15E8-4229-842B-281BA2ED0E4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43325" y="2226495"/>
            <a:ext cx="393209" cy="286536"/>
          </a:xfrm>
          <a:custGeom>
            <a:avLst/>
            <a:gdLst>
              <a:gd name="T0" fmla="*/ 4670 w 4799"/>
              <a:gd name="T1" fmla="*/ 3183 h 3492"/>
              <a:gd name="T2" fmla="*/ 4670 w 4799"/>
              <a:gd name="T3" fmla="*/ 3183 h 3492"/>
              <a:gd name="T4" fmla="*/ 4491 w 4799"/>
              <a:gd name="T5" fmla="*/ 3362 h 3492"/>
              <a:gd name="T6" fmla="*/ 308 w 4799"/>
              <a:gd name="T7" fmla="*/ 3362 h 3492"/>
              <a:gd name="T8" fmla="*/ 129 w 4799"/>
              <a:gd name="T9" fmla="*/ 3183 h 3492"/>
              <a:gd name="T10" fmla="*/ 129 w 4799"/>
              <a:gd name="T11" fmla="*/ 308 h 3492"/>
              <a:gd name="T12" fmla="*/ 142 w 4799"/>
              <a:gd name="T13" fmla="*/ 241 h 3492"/>
              <a:gd name="T14" fmla="*/ 2362 w 4799"/>
              <a:gd name="T15" fmla="*/ 1922 h 3492"/>
              <a:gd name="T16" fmla="*/ 2401 w 4799"/>
              <a:gd name="T17" fmla="*/ 1935 h 3492"/>
              <a:gd name="T18" fmla="*/ 2440 w 4799"/>
              <a:gd name="T19" fmla="*/ 1922 h 3492"/>
              <a:gd name="T20" fmla="*/ 4654 w 4799"/>
              <a:gd name="T21" fmla="*/ 235 h 3492"/>
              <a:gd name="T22" fmla="*/ 4670 w 4799"/>
              <a:gd name="T23" fmla="*/ 308 h 3492"/>
              <a:gd name="T24" fmla="*/ 4670 w 4799"/>
              <a:gd name="T25" fmla="*/ 3183 h 3492"/>
              <a:gd name="T26" fmla="*/ 4670 w 4799"/>
              <a:gd name="T27" fmla="*/ 3183 h 3492"/>
              <a:gd name="T28" fmla="*/ 4491 w 4799"/>
              <a:gd name="T29" fmla="*/ 129 h 3492"/>
              <a:gd name="T30" fmla="*/ 4491 w 4799"/>
              <a:gd name="T31" fmla="*/ 129 h 3492"/>
              <a:gd name="T32" fmla="*/ 4561 w 4799"/>
              <a:gd name="T33" fmla="*/ 143 h 3492"/>
              <a:gd name="T34" fmla="*/ 2401 w 4799"/>
              <a:gd name="T35" fmla="*/ 1789 h 3492"/>
              <a:gd name="T36" fmla="*/ 232 w 4799"/>
              <a:gd name="T37" fmla="*/ 146 h 3492"/>
              <a:gd name="T38" fmla="*/ 308 w 4799"/>
              <a:gd name="T39" fmla="*/ 129 h 3492"/>
              <a:gd name="T40" fmla="*/ 4491 w 4799"/>
              <a:gd name="T41" fmla="*/ 129 h 3492"/>
              <a:gd name="T42" fmla="*/ 4491 w 4799"/>
              <a:gd name="T43" fmla="*/ 129 h 3492"/>
              <a:gd name="T44" fmla="*/ 4491 w 4799"/>
              <a:gd name="T45" fmla="*/ 0 h 3492"/>
              <a:gd name="T46" fmla="*/ 4491 w 4799"/>
              <a:gd name="T47" fmla="*/ 0 h 3492"/>
              <a:gd name="T48" fmla="*/ 308 w 4799"/>
              <a:gd name="T49" fmla="*/ 0 h 3492"/>
              <a:gd name="T50" fmla="*/ 0 w 4799"/>
              <a:gd name="T51" fmla="*/ 308 h 3492"/>
              <a:gd name="T52" fmla="*/ 0 w 4799"/>
              <a:gd name="T53" fmla="*/ 3183 h 3492"/>
              <a:gd name="T54" fmla="*/ 308 w 4799"/>
              <a:gd name="T55" fmla="*/ 3492 h 3492"/>
              <a:gd name="T56" fmla="*/ 4491 w 4799"/>
              <a:gd name="T57" fmla="*/ 3492 h 3492"/>
              <a:gd name="T58" fmla="*/ 4799 w 4799"/>
              <a:gd name="T59" fmla="*/ 3183 h 3492"/>
              <a:gd name="T60" fmla="*/ 4799 w 4799"/>
              <a:gd name="T61" fmla="*/ 308 h 3492"/>
              <a:gd name="T62" fmla="*/ 4491 w 4799"/>
              <a:gd name="T63" fmla="*/ 0 h 3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799" h="3492">
                <a:moveTo>
                  <a:pt x="4670" y="3183"/>
                </a:moveTo>
                <a:lnTo>
                  <a:pt x="4670" y="3183"/>
                </a:lnTo>
                <a:cubicBezTo>
                  <a:pt x="4670" y="3281"/>
                  <a:pt x="4589" y="3362"/>
                  <a:pt x="4491" y="3362"/>
                </a:cubicBezTo>
                <a:lnTo>
                  <a:pt x="308" y="3362"/>
                </a:lnTo>
                <a:cubicBezTo>
                  <a:pt x="210" y="3362"/>
                  <a:pt x="129" y="3281"/>
                  <a:pt x="129" y="3183"/>
                </a:cubicBezTo>
                <a:lnTo>
                  <a:pt x="129" y="308"/>
                </a:lnTo>
                <a:cubicBezTo>
                  <a:pt x="129" y="284"/>
                  <a:pt x="134" y="262"/>
                  <a:pt x="142" y="241"/>
                </a:cubicBezTo>
                <a:lnTo>
                  <a:pt x="2362" y="1922"/>
                </a:lnTo>
                <a:cubicBezTo>
                  <a:pt x="2373" y="1931"/>
                  <a:pt x="2387" y="1935"/>
                  <a:pt x="2401" y="1935"/>
                </a:cubicBezTo>
                <a:cubicBezTo>
                  <a:pt x="2415" y="1935"/>
                  <a:pt x="2428" y="1931"/>
                  <a:pt x="2440" y="1922"/>
                </a:cubicBezTo>
                <a:lnTo>
                  <a:pt x="4654" y="235"/>
                </a:lnTo>
                <a:cubicBezTo>
                  <a:pt x="4664" y="258"/>
                  <a:pt x="4670" y="282"/>
                  <a:pt x="4670" y="308"/>
                </a:cubicBezTo>
                <a:lnTo>
                  <a:pt x="4670" y="3183"/>
                </a:lnTo>
                <a:lnTo>
                  <a:pt x="4670" y="3183"/>
                </a:lnTo>
                <a:close/>
                <a:moveTo>
                  <a:pt x="4491" y="129"/>
                </a:moveTo>
                <a:lnTo>
                  <a:pt x="4491" y="129"/>
                </a:lnTo>
                <a:cubicBezTo>
                  <a:pt x="4516" y="129"/>
                  <a:pt x="4540" y="134"/>
                  <a:pt x="4561" y="143"/>
                </a:cubicBezTo>
                <a:lnTo>
                  <a:pt x="2401" y="1789"/>
                </a:lnTo>
                <a:lnTo>
                  <a:pt x="232" y="146"/>
                </a:lnTo>
                <a:cubicBezTo>
                  <a:pt x="255" y="135"/>
                  <a:pt x="281" y="129"/>
                  <a:pt x="308" y="129"/>
                </a:cubicBezTo>
                <a:lnTo>
                  <a:pt x="4491" y="129"/>
                </a:lnTo>
                <a:lnTo>
                  <a:pt x="4491" y="129"/>
                </a:lnTo>
                <a:close/>
                <a:moveTo>
                  <a:pt x="4491" y="0"/>
                </a:moveTo>
                <a:lnTo>
                  <a:pt x="4491" y="0"/>
                </a:lnTo>
                <a:lnTo>
                  <a:pt x="308" y="0"/>
                </a:lnTo>
                <a:cubicBezTo>
                  <a:pt x="138" y="0"/>
                  <a:pt x="0" y="137"/>
                  <a:pt x="0" y="308"/>
                </a:cubicBezTo>
                <a:lnTo>
                  <a:pt x="0" y="3183"/>
                </a:lnTo>
                <a:cubicBezTo>
                  <a:pt x="0" y="3353"/>
                  <a:pt x="138" y="3492"/>
                  <a:pt x="308" y="3492"/>
                </a:cubicBezTo>
                <a:lnTo>
                  <a:pt x="4491" y="3492"/>
                </a:lnTo>
                <a:cubicBezTo>
                  <a:pt x="4661" y="3492"/>
                  <a:pt x="4799" y="3353"/>
                  <a:pt x="4799" y="3183"/>
                </a:cubicBezTo>
                <a:lnTo>
                  <a:pt x="4799" y="308"/>
                </a:lnTo>
                <a:cubicBezTo>
                  <a:pt x="4799" y="137"/>
                  <a:pt x="4661" y="0"/>
                  <a:pt x="4491" y="0"/>
                </a:cubicBez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2CC645-E62F-4385-BAF8-376D8083EE5A}"/>
              </a:ext>
            </a:extLst>
          </p:cNvPr>
          <p:cNvSpPr txBox="1"/>
          <p:nvPr/>
        </p:nvSpPr>
        <p:spPr>
          <a:xfrm>
            <a:off x="3620828" y="2420237"/>
            <a:ext cx="262539" cy="5078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+</a:t>
            </a:r>
          </a:p>
        </p:txBody>
      </p:sp>
      <p:grpSp>
        <p:nvGrpSpPr>
          <p:cNvPr id="61" name="Group 4">
            <a:extLst>
              <a:ext uri="{FF2B5EF4-FFF2-40B4-BE49-F238E27FC236}">
                <a16:creationId xmlns:a16="http://schemas.microsoft.com/office/drawing/2014/main" id="{B00F867B-861B-4DA2-BB75-9F3A96138E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39549" y="3383329"/>
            <a:ext cx="779157" cy="844796"/>
            <a:chOff x="3497" y="1236"/>
            <a:chExt cx="2101" cy="2278"/>
          </a:xfrm>
        </p:grpSpPr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FC302A57-C6B0-421A-94A9-AAC9856AE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" y="1879"/>
              <a:ext cx="175" cy="248"/>
            </a:xfrm>
            <a:custGeom>
              <a:avLst/>
              <a:gdLst>
                <a:gd name="T0" fmla="*/ 14 w 19"/>
                <a:gd name="T1" fmla="*/ 27 h 27"/>
                <a:gd name="T2" fmla="*/ 0 w 19"/>
                <a:gd name="T3" fmla="*/ 14 h 27"/>
                <a:gd name="T4" fmla="*/ 14 w 19"/>
                <a:gd name="T5" fmla="*/ 0 h 27"/>
                <a:gd name="T6" fmla="*/ 19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14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6" y="0"/>
                    <a:pt x="18" y="0"/>
                    <a:pt x="19" y="1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FB4818AD-A1D9-40EB-BD3E-88B6EED69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" y="1879"/>
              <a:ext cx="175" cy="248"/>
            </a:xfrm>
            <a:custGeom>
              <a:avLst/>
              <a:gdLst>
                <a:gd name="T0" fmla="*/ 5 w 19"/>
                <a:gd name="T1" fmla="*/ 27 h 27"/>
                <a:gd name="T2" fmla="*/ 19 w 19"/>
                <a:gd name="T3" fmla="*/ 14 h 27"/>
                <a:gd name="T4" fmla="*/ 5 w 19"/>
                <a:gd name="T5" fmla="*/ 0 h 27"/>
                <a:gd name="T6" fmla="*/ 0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5" y="27"/>
                  </a:moveTo>
                  <a:cubicBezTo>
                    <a:pt x="13" y="27"/>
                    <a:pt x="19" y="21"/>
                    <a:pt x="19" y="14"/>
                  </a:cubicBezTo>
                  <a:cubicBezTo>
                    <a:pt x="19" y="6"/>
                    <a:pt x="13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BF2C4E3F-F40E-40B2-8C1E-C5D1066591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" y="1925"/>
              <a:ext cx="64" cy="64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3E984882-6D4E-406C-B4EA-A783402F0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1916"/>
              <a:ext cx="55" cy="64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E78721A6-4800-449F-90BC-0A5EAF265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1870"/>
              <a:ext cx="18" cy="321"/>
            </a:xfrm>
            <a:custGeom>
              <a:avLst/>
              <a:gdLst>
                <a:gd name="T0" fmla="*/ 2 w 2"/>
                <a:gd name="T1" fmla="*/ 35 h 35"/>
                <a:gd name="T2" fmla="*/ 0 w 2"/>
                <a:gd name="T3" fmla="*/ 21 h 35"/>
                <a:gd name="T4" fmla="*/ 0 w 2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5">
                  <a:moveTo>
                    <a:pt x="2" y="35"/>
                  </a:moveTo>
                  <a:cubicBezTo>
                    <a:pt x="0" y="31"/>
                    <a:pt x="0" y="26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id="{B41853A6-6AEC-4A9B-9495-A5FAA03EC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" y="1870"/>
              <a:ext cx="19" cy="312"/>
            </a:xfrm>
            <a:custGeom>
              <a:avLst/>
              <a:gdLst>
                <a:gd name="T0" fmla="*/ 2 w 2"/>
                <a:gd name="T1" fmla="*/ 0 h 34"/>
                <a:gd name="T2" fmla="*/ 2 w 2"/>
                <a:gd name="T3" fmla="*/ 21 h 34"/>
                <a:gd name="T4" fmla="*/ 0 w 2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4">
                  <a:moveTo>
                    <a:pt x="2" y="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2" y="26"/>
                    <a:pt x="2" y="30"/>
                    <a:pt x="0" y="34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id="{A9045DCE-8E56-4FB4-A78A-E486D324E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236"/>
              <a:ext cx="1060" cy="680"/>
            </a:xfrm>
            <a:custGeom>
              <a:avLst/>
              <a:gdLst>
                <a:gd name="T0" fmla="*/ 8 w 115"/>
                <a:gd name="T1" fmla="*/ 68 h 74"/>
                <a:gd name="T2" fmla="*/ 24 w 115"/>
                <a:gd name="T3" fmla="*/ 22 h 74"/>
                <a:gd name="T4" fmla="*/ 58 w 115"/>
                <a:gd name="T5" fmla="*/ 5 h 74"/>
                <a:gd name="T6" fmla="*/ 97 w 115"/>
                <a:gd name="T7" fmla="*/ 4 h 74"/>
                <a:gd name="T8" fmla="*/ 97 w 115"/>
                <a:gd name="T9" fmla="*/ 18 h 74"/>
                <a:gd name="T10" fmla="*/ 107 w 115"/>
                <a:gd name="T11" fmla="*/ 68 h 74"/>
                <a:gd name="T12" fmla="*/ 96 w 115"/>
                <a:gd name="T13" fmla="*/ 73 h 74"/>
                <a:gd name="T14" fmla="*/ 87 w 115"/>
                <a:gd name="T15" fmla="*/ 54 h 74"/>
                <a:gd name="T16" fmla="*/ 55 w 115"/>
                <a:gd name="T17" fmla="*/ 50 h 74"/>
                <a:gd name="T18" fmla="*/ 24 w 115"/>
                <a:gd name="T19" fmla="*/ 60 h 74"/>
                <a:gd name="T20" fmla="*/ 21 w 115"/>
                <a:gd name="T21" fmla="*/ 73 h 74"/>
                <a:gd name="T22" fmla="*/ 8 w 115"/>
                <a:gd name="T23" fmla="*/ 6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74">
                  <a:moveTo>
                    <a:pt x="8" y="68"/>
                  </a:moveTo>
                  <a:cubicBezTo>
                    <a:pt x="0" y="20"/>
                    <a:pt x="24" y="22"/>
                    <a:pt x="24" y="22"/>
                  </a:cubicBezTo>
                  <a:cubicBezTo>
                    <a:pt x="24" y="22"/>
                    <a:pt x="32" y="0"/>
                    <a:pt x="58" y="5"/>
                  </a:cubicBezTo>
                  <a:cubicBezTo>
                    <a:pt x="83" y="9"/>
                    <a:pt x="97" y="4"/>
                    <a:pt x="97" y="4"/>
                  </a:cubicBezTo>
                  <a:cubicBezTo>
                    <a:pt x="97" y="4"/>
                    <a:pt x="94" y="14"/>
                    <a:pt x="97" y="18"/>
                  </a:cubicBezTo>
                  <a:cubicBezTo>
                    <a:pt x="99" y="21"/>
                    <a:pt x="115" y="33"/>
                    <a:pt x="107" y="68"/>
                  </a:cubicBezTo>
                  <a:cubicBezTo>
                    <a:pt x="107" y="68"/>
                    <a:pt x="97" y="72"/>
                    <a:pt x="96" y="73"/>
                  </a:cubicBezTo>
                  <a:cubicBezTo>
                    <a:pt x="95" y="74"/>
                    <a:pt x="99" y="53"/>
                    <a:pt x="87" y="54"/>
                  </a:cubicBezTo>
                  <a:cubicBezTo>
                    <a:pt x="76" y="54"/>
                    <a:pt x="64" y="54"/>
                    <a:pt x="55" y="50"/>
                  </a:cubicBezTo>
                  <a:cubicBezTo>
                    <a:pt x="45" y="47"/>
                    <a:pt x="32" y="41"/>
                    <a:pt x="24" y="60"/>
                  </a:cubicBezTo>
                  <a:cubicBezTo>
                    <a:pt x="24" y="60"/>
                    <a:pt x="21" y="70"/>
                    <a:pt x="21" y="73"/>
                  </a:cubicBezTo>
                  <a:lnTo>
                    <a:pt x="8" y="68"/>
                  </a:lnTo>
                  <a:close/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8F4F12C1-8E41-4FAD-9657-A7855B711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" y="2577"/>
              <a:ext cx="203" cy="321"/>
            </a:xfrm>
            <a:custGeom>
              <a:avLst/>
              <a:gdLst>
                <a:gd name="T0" fmla="*/ 0 w 22"/>
                <a:gd name="T1" fmla="*/ 0 h 35"/>
                <a:gd name="T2" fmla="*/ 22 w 22"/>
                <a:gd name="T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35">
                  <a:moveTo>
                    <a:pt x="0" y="0"/>
                  </a:moveTo>
                  <a:cubicBezTo>
                    <a:pt x="15" y="7"/>
                    <a:pt x="21" y="17"/>
                    <a:pt x="22" y="35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4BFC3CE4-194C-4AAB-88E9-5A14F73B8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" y="3100"/>
              <a:ext cx="2082" cy="285"/>
            </a:xfrm>
            <a:custGeom>
              <a:avLst/>
              <a:gdLst>
                <a:gd name="T0" fmla="*/ 193 w 226"/>
                <a:gd name="T1" fmla="*/ 0 h 31"/>
                <a:gd name="T2" fmla="*/ 226 w 226"/>
                <a:gd name="T3" fmla="*/ 2 h 31"/>
                <a:gd name="T4" fmla="*/ 156 w 226"/>
                <a:gd name="T5" fmla="*/ 31 h 31"/>
                <a:gd name="T6" fmla="*/ 1 w 226"/>
                <a:gd name="T7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" h="31">
                  <a:moveTo>
                    <a:pt x="193" y="0"/>
                  </a:moveTo>
                  <a:cubicBezTo>
                    <a:pt x="226" y="2"/>
                    <a:pt x="226" y="2"/>
                    <a:pt x="226" y="2"/>
                  </a:cubicBezTo>
                  <a:cubicBezTo>
                    <a:pt x="226" y="2"/>
                    <a:pt x="155" y="31"/>
                    <a:pt x="156" y="31"/>
                  </a:cubicBezTo>
                  <a:cubicBezTo>
                    <a:pt x="156" y="31"/>
                    <a:pt x="0" y="16"/>
                    <a:pt x="1" y="13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A33585FB-8E3D-4FDF-AE46-9BCE677A8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2182"/>
              <a:ext cx="1512" cy="1203"/>
            </a:xfrm>
            <a:custGeom>
              <a:avLst/>
              <a:gdLst>
                <a:gd name="T0" fmla="*/ 160 w 164"/>
                <a:gd name="T1" fmla="*/ 131 h 131"/>
                <a:gd name="T2" fmla="*/ 7 w 164"/>
                <a:gd name="T3" fmla="*/ 116 h 131"/>
                <a:gd name="T4" fmla="*/ 0 w 164"/>
                <a:gd name="T5" fmla="*/ 108 h 131"/>
                <a:gd name="T6" fmla="*/ 1 w 164"/>
                <a:gd name="T7" fmla="*/ 8 h 131"/>
                <a:gd name="T8" fmla="*/ 8 w 164"/>
                <a:gd name="T9" fmla="*/ 2 h 131"/>
                <a:gd name="T10" fmla="*/ 157 w 164"/>
                <a:gd name="T11" fmla="*/ 0 h 131"/>
                <a:gd name="T12" fmla="*/ 164 w 164"/>
                <a:gd name="T13" fmla="*/ 8 h 131"/>
                <a:gd name="T14" fmla="*/ 163 w 164"/>
                <a:gd name="T15" fmla="*/ 124 h 131"/>
                <a:gd name="T16" fmla="*/ 160 w 164"/>
                <a:gd name="T1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31">
                  <a:moveTo>
                    <a:pt x="160" y="131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3" y="116"/>
                    <a:pt x="0" y="112"/>
                    <a:pt x="0" y="10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4"/>
                    <a:pt x="4" y="1"/>
                    <a:pt x="8" y="2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0" y="0"/>
                    <a:pt x="164" y="4"/>
                    <a:pt x="164" y="8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63" y="128"/>
                    <a:pt x="164" y="131"/>
                    <a:pt x="160" y="131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F089485E-823A-4EB5-AB53-59C8AA226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" y="2852"/>
              <a:ext cx="120" cy="313"/>
            </a:xfrm>
            <a:custGeom>
              <a:avLst/>
              <a:gdLst>
                <a:gd name="T0" fmla="*/ 8 w 13"/>
                <a:gd name="T1" fmla="*/ 34 h 34"/>
                <a:gd name="T2" fmla="*/ 5 w 13"/>
                <a:gd name="T3" fmla="*/ 34 h 34"/>
                <a:gd name="T4" fmla="*/ 0 w 13"/>
                <a:gd name="T5" fmla="*/ 28 h 34"/>
                <a:gd name="T6" fmla="*/ 0 w 13"/>
                <a:gd name="T7" fmla="*/ 5 h 34"/>
                <a:gd name="T8" fmla="*/ 5 w 13"/>
                <a:gd name="T9" fmla="*/ 0 h 34"/>
                <a:gd name="T10" fmla="*/ 8 w 13"/>
                <a:gd name="T11" fmla="*/ 0 h 34"/>
                <a:gd name="T12" fmla="*/ 13 w 13"/>
                <a:gd name="T13" fmla="*/ 5 h 34"/>
                <a:gd name="T14" fmla="*/ 13 w 13"/>
                <a:gd name="T15" fmla="*/ 28 h 34"/>
                <a:gd name="T16" fmla="*/ 8 w 13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4">
                  <a:moveTo>
                    <a:pt x="8" y="34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1"/>
                    <a:pt x="0" y="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31"/>
                    <a:pt x="11" y="34"/>
                    <a:pt x="8" y="34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EB63A525-2117-4C0A-891B-25CF0EEED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907"/>
              <a:ext cx="129" cy="258"/>
            </a:xfrm>
            <a:custGeom>
              <a:avLst/>
              <a:gdLst>
                <a:gd name="T0" fmla="*/ 8 w 14"/>
                <a:gd name="T1" fmla="*/ 28 h 28"/>
                <a:gd name="T2" fmla="*/ 5 w 14"/>
                <a:gd name="T3" fmla="*/ 28 h 28"/>
                <a:gd name="T4" fmla="*/ 0 w 14"/>
                <a:gd name="T5" fmla="*/ 22 h 28"/>
                <a:gd name="T6" fmla="*/ 0 w 14"/>
                <a:gd name="T7" fmla="*/ 5 h 28"/>
                <a:gd name="T8" fmla="*/ 5 w 14"/>
                <a:gd name="T9" fmla="*/ 0 h 28"/>
                <a:gd name="T10" fmla="*/ 8 w 14"/>
                <a:gd name="T11" fmla="*/ 0 h 28"/>
                <a:gd name="T12" fmla="*/ 14 w 14"/>
                <a:gd name="T13" fmla="*/ 5 h 28"/>
                <a:gd name="T14" fmla="*/ 14 w 14"/>
                <a:gd name="T15" fmla="*/ 22 h 28"/>
                <a:gd name="T16" fmla="*/ 8 w 14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2" y="28"/>
                    <a:pt x="0" y="25"/>
                    <a:pt x="0" y="2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4" y="2"/>
                    <a:pt x="14" y="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5"/>
                    <a:pt x="11" y="28"/>
                    <a:pt x="8" y="28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EF1EF6B7-DBC5-4FC0-BA41-E8CF65D28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3174"/>
              <a:ext cx="1502" cy="340"/>
            </a:xfrm>
            <a:custGeom>
              <a:avLst/>
              <a:gdLst>
                <a:gd name="T0" fmla="*/ 163 w 163"/>
                <a:gd name="T1" fmla="*/ 18 h 37"/>
                <a:gd name="T2" fmla="*/ 163 w 163"/>
                <a:gd name="T3" fmla="*/ 33 h 37"/>
                <a:gd name="T4" fmla="*/ 159 w 163"/>
                <a:gd name="T5" fmla="*/ 37 h 37"/>
                <a:gd name="T6" fmla="*/ 4 w 163"/>
                <a:gd name="T7" fmla="*/ 17 h 37"/>
                <a:gd name="T8" fmla="*/ 0 w 163"/>
                <a:gd name="T9" fmla="*/ 13 h 37"/>
                <a:gd name="T10" fmla="*/ 0 w 163"/>
                <a:gd name="T11" fmla="*/ 12 h 37"/>
                <a:gd name="T12" fmla="*/ 0 w 16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7">
                  <a:moveTo>
                    <a:pt x="163" y="18"/>
                  </a:moveTo>
                  <a:cubicBezTo>
                    <a:pt x="163" y="33"/>
                    <a:pt x="163" y="33"/>
                    <a:pt x="163" y="33"/>
                  </a:cubicBezTo>
                  <a:cubicBezTo>
                    <a:pt x="163" y="35"/>
                    <a:pt x="161" y="37"/>
                    <a:pt x="159" y="3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0" y="15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Line 18">
              <a:extLst>
                <a:ext uri="{FF2B5EF4-FFF2-40B4-BE49-F238E27FC236}">
                  <a16:creationId xmlns:a16="http://schemas.microsoft.com/office/drawing/2014/main" id="{233A77A2-26CA-4F8D-8C13-1620379F7E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1" y="3119"/>
              <a:ext cx="617" cy="395"/>
            </a:xfrm>
            <a:prstGeom prst="line">
              <a:avLst/>
            </a:prstGeom>
            <a:noFill/>
            <a:ln w="1905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94" name="Freeform 17">
            <a:extLst>
              <a:ext uri="{FF2B5EF4-FFF2-40B4-BE49-F238E27FC236}">
                <a16:creationId xmlns:a16="http://schemas.microsoft.com/office/drawing/2014/main" id="{CD7466E5-0F1C-47E7-8F39-D4F333186AB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42920" y="2992322"/>
            <a:ext cx="417313" cy="391458"/>
          </a:xfrm>
          <a:custGeom>
            <a:avLst/>
            <a:gdLst>
              <a:gd name="T0" fmla="*/ 4001 w 4799"/>
              <a:gd name="T1" fmla="*/ 606 h 4507"/>
              <a:gd name="T2" fmla="*/ 3690 w 4799"/>
              <a:gd name="T3" fmla="*/ 522 h 4507"/>
              <a:gd name="T4" fmla="*/ 4001 w 4799"/>
              <a:gd name="T5" fmla="*/ 604 h 4507"/>
              <a:gd name="T6" fmla="*/ 3690 w 4799"/>
              <a:gd name="T7" fmla="*/ 1503 h 4507"/>
              <a:gd name="T8" fmla="*/ 3690 w 4799"/>
              <a:gd name="T9" fmla="*/ 1816 h 4507"/>
              <a:gd name="T10" fmla="*/ 3099 w 4799"/>
              <a:gd name="T11" fmla="*/ 2763 h 4507"/>
              <a:gd name="T12" fmla="*/ 3552 w 4799"/>
              <a:gd name="T13" fmla="*/ 2347 h 4507"/>
              <a:gd name="T14" fmla="*/ 3447 w 4799"/>
              <a:gd name="T15" fmla="*/ 2763 h 4507"/>
              <a:gd name="T16" fmla="*/ 3552 w 4799"/>
              <a:gd name="T17" fmla="*/ 1503 h 4507"/>
              <a:gd name="T18" fmla="*/ 3099 w 4799"/>
              <a:gd name="T19" fmla="*/ 1503 h 4507"/>
              <a:gd name="T20" fmla="*/ 3552 w 4799"/>
              <a:gd name="T21" fmla="*/ 1365 h 4507"/>
              <a:gd name="T22" fmla="*/ 3098 w 4799"/>
              <a:gd name="T23" fmla="*/ 614 h 4507"/>
              <a:gd name="T24" fmla="*/ 2961 w 4799"/>
              <a:gd name="T25" fmla="*/ 1365 h 4507"/>
              <a:gd name="T26" fmla="*/ 2508 w 4799"/>
              <a:gd name="T27" fmla="*/ 706 h 4507"/>
              <a:gd name="T28" fmla="*/ 2961 w 4799"/>
              <a:gd name="T29" fmla="*/ 1365 h 4507"/>
              <a:gd name="T30" fmla="*/ 2961 w 4799"/>
              <a:gd name="T31" fmla="*/ 1503 h 4507"/>
              <a:gd name="T32" fmla="*/ 2508 w 4799"/>
              <a:gd name="T33" fmla="*/ 1503 h 4507"/>
              <a:gd name="T34" fmla="*/ 2961 w 4799"/>
              <a:gd name="T35" fmla="*/ 2115 h 4507"/>
              <a:gd name="T36" fmla="*/ 2508 w 4799"/>
              <a:gd name="T37" fmla="*/ 2115 h 4507"/>
              <a:gd name="T38" fmla="*/ 1917 w 4799"/>
              <a:gd name="T39" fmla="*/ 1365 h 4507"/>
              <a:gd name="T40" fmla="*/ 2370 w 4799"/>
              <a:gd name="T41" fmla="*/ 1365 h 4507"/>
              <a:gd name="T42" fmla="*/ 1917 w 4799"/>
              <a:gd name="T43" fmla="*/ 1503 h 4507"/>
              <a:gd name="T44" fmla="*/ 1917 w 4799"/>
              <a:gd name="T45" fmla="*/ 1977 h 4507"/>
              <a:gd name="T46" fmla="*/ 1917 w 4799"/>
              <a:gd name="T47" fmla="*/ 2115 h 4507"/>
              <a:gd name="T48" fmla="*/ 1917 w 4799"/>
              <a:gd name="T49" fmla="*/ 2763 h 4507"/>
              <a:gd name="T50" fmla="*/ 1779 w 4799"/>
              <a:gd name="T51" fmla="*/ 1365 h 4507"/>
              <a:gd name="T52" fmla="*/ 1779 w 4799"/>
              <a:gd name="T53" fmla="*/ 819 h 4507"/>
              <a:gd name="T54" fmla="*/ 1332 w 4799"/>
              <a:gd name="T55" fmla="*/ 1503 h 4507"/>
              <a:gd name="T56" fmla="*/ 1779 w 4799"/>
              <a:gd name="T57" fmla="*/ 1977 h 4507"/>
              <a:gd name="T58" fmla="*/ 1332 w 4799"/>
              <a:gd name="T59" fmla="*/ 2115 h 4507"/>
              <a:gd name="T60" fmla="*/ 1779 w 4799"/>
              <a:gd name="T61" fmla="*/ 2763 h 4507"/>
              <a:gd name="T62" fmla="*/ 1194 w 4799"/>
              <a:gd name="T63" fmla="*/ 1365 h 4507"/>
              <a:gd name="T64" fmla="*/ 735 w 4799"/>
              <a:gd name="T65" fmla="*/ 982 h 4507"/>
              <a:gd name="T66" fmla="*/ 1194 w 4799"/>
              <a:gd name="T67" fmla="*/ 1365 h 4507"/>
              <a:gd name="T68" fmla="*/ 1194 w 4799"/>
              <a:gd name="T69" fmla="*/ 1503 h 4507"/>
              <a:gd name="T70" fmla="*/ 735 w 4799"/>
              <a:gd name="T71" fmla="*/ 1503 h 4507"/>
              <a:gd name="T72" fmla="*/ 1194 w 4799"/>
              <a:gd name="T73" fmla="*/ 2115 h 4507"/>
              <a:gd name="T74" fmla="*/ 735 w 4799"/>
              <a:gd name="T75" fmla="*/ 2115 h 4507"/>
              <a:gd name="T76" fmla="*/ 137 w 4799"/>
              <a:gd name="T77" fmla="*/ 1365 h 4507"/>
              <a:gd name="T78" fmla="*/ 597 w 4799"/>
              <a:gd name="T79" fmla="*/ 1003 h 4507"/>
              <a:gd name="T80" fmla="*/ 137 w 4799"/>
              <a:gd name="T81" fmla="*/ 1503 h 4507"/>
              <a:gd name="T82" fmla="*/ 597 w 4799"/>
              <a:gd name="T83" fmla="*/ 1977 h 4507"/>
              <a:gd name="T84" fmla="*/ 597 w 4799"/>
              <a:gd name="T85" fmla="*/ 2763 h 4507"/>
              <a:gd name="T86" fmla="*/ 137 w 4799"/>
              <a:gd name="T87" fmla="*/ 2638 h 4507"/>
              <a:gd name="T88" fmla="*/ 597 w 4799"/>
              <a:gd name="T89" fmla="*/ 2763 h 4507"/>
              <a:gd name="T90" fmla="*/ 4731 w 4799"/>
              <a:gd name="T91" fmla="*/ 0 h 4507"/>
              <a:gd name="T92" fmla="*/ 4072 w 4799"/>
              <a:gd name="T93" fmla="*/ 323 h 4507"/>
              <a:gd name="T94" fmla="*/ 0 w 4799"/>
              <a:gd name="T95" fmla="*/ 2638 h 4507"/>
              <a:gd name="T96" fmla="*/ 4113 w 4799"/>
              <a:gd name="T97" fmla="*/ 3508 h 4507"/>
              <a:gd name="T98" fmla="*/ 79 w 4799"/>
              <a:gd name="T99" fmla="*/ 3646 h 4507"/>
              <a:gd name="T100" fmla="*/ 4333 w 4799"/>
              <a:gd name="T101" fmla="*/ 3527 h 4507"/>
              <a:gd name="T102" fmla="*/ 4109 w 4799"/>
              <a:gd name="T103" fmla="*/ 742 h 4507"/>
              <a:gd name="T104" fmla="*/ 4799 w 4799"/>
              <a:gd name="T105" fmla="*/ 69 h 4507"/>
              <a:gd name="T106" fmla="*/ 3504 w 4799"/>
              <a:gd name="T107" fmla="*/ 4370 h 4507"/>
              <a:gd name="T108" fmla="*/ 3504 w 4799"/>
              <a:gd name="T109" fmla="*/ 3852 h 4507"/>
              <a:gd name="T110" fmla="*/ 3504 w 4799"/>
              <a:gd name="T111" fmla="*/ 4370 h 4507"/>
              <a:gd name="T112" fmla="*/ 3107 w 4799"/>
              <a:gd name="T113" fmla="*/ 4111 h 4507"/>
              <a:gd name="T114" fmla="*/ 3504 w 4799"/>
              <a:gd name="T115" fmla="*/ 3714 h 4507"/>
              <a:gd name="T116" fmla="*/ 560 w 4799"/>
              <a:gd name="T117" fmla="*/ 4370 h 4507"/>
              <a:gd name="T118" fmla="*/ 819 w 4799"/>
              <a:gd name="T119" fmla="*/ 4111 h 4507"/>
              <a:gd name="T120" fmla="*/ 560 w 4799"/>
              <a:gd name="T121" fmla="*/ 3714 h 4507"/>
              <a:gd name="T122" fmla="*/ 560 w 4799"/>
              <a:gd name="T123" fmla="*/ 4507 h 4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799" h="4507">
                <a:moveTo>
                  <a:pt x="4001" y="604"/>
                </a:moveTo>
                <a:lnTo>
                  <a:pt x="4001" y="604"/>
                </a:lnTo>
                <a:cubicBezTo>
                  <a:pt x="4001" y="605"/>
                  <a:pt x="4001" y="605"/>
                  <a:pt x="4001" y="606"/>
                </a:cubicBezTo>
                <a:lnTo>
                  <a:pt x="3806" y="1365"/>
                </a:lnTo>
                <a:lnTo>
                  <a:pt x="3690" y="1365"/>
                </a:lnTo>
                <a:lnTo>
                  <a:pt x="3690" y="522"/>
                </a:lnTo>
                <a:lnTo>
                  <a:pt x="4035" y="469"/>
                </a:lnTo>
                <a:lnTo>
                  <a:pt x="4001" y="604"/>
                </a:lnTo>
                <a:lnTo>
                  <a:pt x="4001" y="604"/>
                </a:lnTo>
                <a:close/>
                <a:moveTo>
                  <a:pt x="3690" y="1816"/>
                </a:moveTo>
                <a:lnTo>
                  <a:pt x="3690" y="1816"/>
                </a:lnTo>
                <a:lnTo>
                  <a:pt x="3690" y="1503"/>
                </a:lnTo>
                <a:lnTo>
                  <a:pt x="3770" y="1503"/>
                </a:lnTo>
                <a:lnTo>
                  <a:pt x="3690" y="1816"/>
                </a:lnTo>
                <a:lnTo>
                  <a:pt x="3690" y="1816"/>
                </a:lnTo>
                <a:close/>
                <a:moveTo>
                  <a:pt x="3447" y="2763"/>
                </a:moveTo>
                <a:lnTo>
                  <a:pt x="3447" y="2763"/>
                </a:lnTo>
                <a:lnTo>
                  <a:pt x="3099" y="2763"/>
                </a:lnTo>
                <a:lnTo>
                  <a:pt x="3099" y="2115"/>
                </a:lnTo>
                <a:lnTo>
                  <a:pt x="3552" y="2115"/>
                </a:lnTo>
                <a:lnTo>
                  <a:pt x="3552" y="2347"/>
                </a:lnTo>
                <a:cubicBezTo>
                  <a:pt x="3552" y="2349"/>
                  <a:pt x="3553" y="2350"/>
                  <a:pt x="3553" y="2351"/>
                </a:cubicBezTo>
                <a:lnTo>
                  <a:pt x="3447" y="2763"/>
                </a:lnTo>
                <a:lnTo>
                  <a:pt x="3447" y="2763"/>
                </a:lnTo>
                <a:close/>
                <a:moveTo>
                  <a:pt x="3099" y="1503"/>
                </a:moveTo>
                <a:lnTo>
                  <a:pt x="3099" y="1503"/>
                </a:lnTo>
                <a:lnTo>
                  <a:pt x="3552" y="1503"/>
                </a:lnTo>
                <a:lnTo>
                  <a:pt x="3552" y="1977"/>
                </a:lnTo>
                <a:lnTo>
                  <a:pt x="3099" y="1977"/>
                </a:lnTo>
                <a:lnTo>
                  <a:pt x="3099" y="1503"/>
                </a:lnTo>
                <a:close/>
                <a:moveTo>
                  <a:pt x="3552" y="544"/>
                </a:moveTo>
                <a:lnTo>
                  <a:pt x="3552" y="544"/>
                </a:lnTo>
                <a:lnTo>
                  <a:pt x="3552" y="1365"/>
                </a:lnTo>
                <a:lnTo>
                  <a:pt x="3099" y="1365"/>
                </a:lnTo>
                <a:lnTo>
                  <a:pt x="3099" y="620"/>
                </a:lnTo>
                <a:cubicBezTo>
                  <a:pt x="3099" y="618"/>
                  <a:pt x="3098" y="616"/>
                  <a:pt x="3098" y="614"/>
                </a:cubicBezTo>
                <a:lnTo>
                  <a:pt x="3552" y="544"/>
                </a:lnTo>
                <a:lnTo>
                  <a:pt x="3552" y="544"/>
                </a:lnTo>
                <a:close/>
                <a:moveTo>
                  <a:pt x="2961" y="1365"/>
                </a:moveTo>
                <a:lnTo>
                  <a:pt x="2961" y="1365"/>
                </a:lnTo>
                <a:lnTo>
                  <a:pt x="2508" y="1365"/>
                </a:lnTo>
                <a:lnTo>
                  <a:pt x="2508" y="706"/>
                </a:lnTo>
                <a:lnTo>
                  <a:pt x="2961" y="636"/>
                </a:lnTo>
                <a:lnTo>
                  <a:pt x="2961" y="1365"/>
                </a:lnTo>
                <a:lnTo>
                  <a:pt x="2961" y="1365"/>
                </a:lnTo>
                <a:close/>
                <a:moveTo>
                  <a:pt x="2508" y="1503"/>
                </a:moveTo>
                <a:lnTo>
                  <a:pt x="2508" y="1503"/>
                </a:lnTo>
                <a:lnTo>
                  <a:pt x="2961" y="1503"/>
                </a:lnTo>
                <a:lnTo>
                  <a:pt x="2961" y="1977"/>
                </a:lnTo>
                <a:lnTo>
                  <a:pt x="2508" y="1977"/>
                </a:lnTo>
                <a:lnTo>
                  <a:pt x="2508" y="1503"/>
                </a:lnTo>
                <a:close/>
                <a:moveTo>
                  <a:pt x="2508" y="2115"/>
                </a:moveTo>
                <a:lnTo>
                  <a:pt x="2508" y="2115"/>
                </a:lnTo>
                <a:lnTo>
                  <a:pt x="2961" y="2115"/>
                </a:lnTo>
                <a:lnTo>
                  <a:pt x="2961" y="2763"/>
                </a:lnTo>
                <a:lnTo>
                  <a:pt x="2508" y="2763"/>
                </a:lnTo>
                <a:lnTo>
                  <a:pt x="2508" y="2115"/>
                </a:lnTo>
                <a:close/>
                <a:moveTo>
                  <a:pt x="2370" y="1365"/>
                </a:moveTo>
                <a:lnTo>
                  <a:pt x="2370" y="1365"/>
                </a:lnTo>
                <a:lnTo>
                  <a:pt x="1917" y="1365"/>
                </a:lnTo>
                <a:lnTo>
                  <a:pt x="1917" y="798"/>
                </a:lnTo>
                <a:lnTo>
                  <a:pt x="2370" y="727"/>
                </a:lnTo>
                <a:lnTo>
                  <a:pt x="2370" y="1365"/>
                </a:lnTo>
                <a:lnTo>
                  <a:pt x="2370" y="1365"/>
                </a:lnTo>
                <a:close/>
                <a:moveTo>
                  <a:pt x="1917" y="1503"/>
                </a:moveTo>
                <a:lnTo>
                  <a:pt x="1917" y="1503"/>
                </a:lnTo>
                <a:lnTo>
                  <a:pt x="2370" y="1503"/>
                </a:lnTo>
                <a:lnTo>
                  <a:pt x="2370" y="1977"/>
                </a:lnTo>
                <a:lnTo>
                  <a:pt x="1917" y="1977"/>
                </a:lnTo>
                <a:lnTo>
                  <a:pt x="1917" y="1503"/>
                </a:lnTo>
                <a:close/>
                <a:moveTo>
                  <a:pt x="1917" y="2115"/>
                </a:moveTo>
                <a:lnTo>
                  <a:pt x="1917" y="2115"/>
                </a:lnTo>
                <a:lnTo>
                  <a:pt x="2370" y="2115"/>
                </a:lnTo>
                <a:lnTo>
                  <a:pt x="2370" y="2763"/>
                </a:lnTo>
                <a:lnTo>
                  <a:pt x="1917" y="2763"/>
                </a:lnTo>
                <a:lnTo>
                  <a:pt x="1917" y="2115"/>
                </a:lnTo>
                <a:close/>
                <a:moveTo>
                  <a:pt x="1779" y="1365"/>
                </a:moveTo>
                <a:lnTo>
                  <a:pt x="1779" y="1365"/>
                </a:lnTo>
                <a:lnTo>
                  <a:pt x="1332" y="1365"/>
                </a:lnTo>
                <a:lnTo>
                  <a:pt x="1332" y="889"/>
                </a:lnTo>
                <a:lnTo>
                  <a:pt x="1779" y="819"/>
                </a:lnTo>
                <a:lnTo>
                  <a:pt x="1779" y="1365"/>
                </a:lnTo>
                <a:lnTo>
                  <a:pt x="1779" y="1365"/>
                </a:lnTo>
                <a:close/>
                <a:moveTo>
                  <a:pt x="1332" y="1503"/>
                </a:moveTo>
                <a:lnTo>
                  <a:pt x="1332" y="1503"/>
                </a:lnTo>
                <a:lnTo>
                  <a:pt x="1779" y="1503"/>
                </a:lnTo>
                <a:lnTo>
                  <a:pt x="1779" y="1977"/>
                </a:lnTo>
                <a:lnTo>
                  <a:pt x="1332" y="1977"/>
                </a:lnTo>
                <a:lnTo>
                  <a:pt x="1332" y="1503"/>
                </a:lnTo>
                <a:close/>
                <a:moveTo>
                  <a:pt x="1332" y="2115"/>
                </a:moveTo>
                <a:lnTo>
                  <a:pt x="1332" y="2115"/>
                </a:lnTo>
                <a:lnTo>
                  <a:pt x="1779" y="2115"/>
                </a:lnTo>
                <a:lnTo>
                  <a:pt x="1779" y="2763"/>
                </a:lnTo>
                <a:lnTo>
                  <a:pt x="1332" y="2763"/>
                </a:lnTo>
                <a:lnTo>
                  <a:pt x="1332" y="2115"/>
                </a:lnTo>
                <a:close/>
                <a:moveTo>
                  <a:pt x="1194" y="1365"/>
                </a:moveTo>
                <a:lnTo>
                  <a:pt x="1194" y="1365"/>
                </a:lnTo>
                <a:lnTo>
                  <a:pt x="735" y="1365"/>
                </a:lnTo>
                <a:lnTo>
                  <a:pt x="735" y="982"/>
                </a:lnTo>
                <a:lnTo>
                  <a:pt x="1194" y="910"/>
                </a:lnTo>
                <a:lnTo>
                  <a:pt x="1194" y="1365"/>
                </a:lnTo>
                <a:lnTo>
                  <a:pt x="1194" y="1365"/>
                </a:lnTo>
                <a:close/>
                <a:moveTo>
                  <a:pt x="735" y="1503"/>
                </a:moveTo>
                <a:lnTo>
                  <a:pt x="735" y="1503"/>
                </a:lnTo>
                <a:lnTo>
                  <a:pt x="1194" y="1503"/>
                </a:lnTo>
                <a:lnTo>
                  <a:pt x="1194" y="1977"/>
                </a:lnTo>
                <a:lnTo>
                  <a:pt x="735" y="1977"/>
                </a:lnTo>
                <a:lnTo>
                  <a:pt x="735" y="1503"/>
                </a:lnTo>
                <a:close/>
                <a:moveTo>
                  <a:pt x="735" y="2115"/>
                </a:moveTo>
                <a:lnTo>
                  <a:pt x="735" y="2115"/>
                </a:lnTo>
                <a:lnTo>
                  <a:pt x="1194" y="2115"/>
                </a:lnTo>
                <a:lnTo>
                  <a:pt x="1194" y="2763"/>
                </a:lnTo>
                <a:lnTo>
                  <a:pt x="735" y="2763"/>
                </a:lnTo>
                <a:lnTo>
                  <a:pt x="735" y="2115"/>
                </a:lnTo>
                <a:close/>
                <a:moveTo>
                  <a:pt x="597" y="1365"/>
                </a:moveTo>
                <a:lnTo>
                  <a:pt x="597" y="1365"/>
                </a:lnTo>
                <a:lnTo>
                  <a:pt x="137" y="1365"/>
                </a:lnTo>
                <a:lnTo>
                  <a:pt x="137" y="1179"/>
                </a:lnTo>
                <a:cubicBezTo>
                  <a:pt x="137" y="1094"/>
                  <a:pt x="224" y="1064"/>
                  <a:pt x="273" y="1054"/>
                </a:cubicBezTo>
                <a:lnTo>
                  <a:pt x="597" y="1003"/>
                </a:lnTo>
                <a:lnTo>
                  <a:pt x="597" y="1365"/>
                </a:lnTo>
                <a:lnTo>
                  <a:pt x="597" y="1365"/>
                </a:lnTo>
                <a:close/>
                <a:moveTo>
                  <a:pt x="137" y="1503"/>
                </a:moveTo>
                <a:lnTo>
                  <a:pt x="137" y="1503"/>
                </a:lnTo>
                <a:lnTo>
                  <a:pt x="597" y="1503"/>
                </a:lnTo>
                <a:lnTo>
                  <a:pt x="597" y="1977"/>
                </a:lnTo>
                <a:lnTo>
                  <a:pt x="137" y="1977"/>
                </a:lnTo>
                <a:lnTo>
                  <a:pt x="137" y="1503"/>
                </a:lnTo>
                <a:close/>
                <a:moveTo>
                  <a:pt x="597" y="2763"/>
                </a:moveTo>
                <a:lnTo>
                  <a:pt x="597" y="2763"/>
                </a:lnTo>
                <a:lnTo>
                  <a:pt x="262" y="2763"/>
                </a:lnTo>
                <a:cubicBezTo>
                  <a:pt x="193" y="2763"/>
                  <a:pt x="137" y="2707"/>
                  <a:pt x="137" y="2638"/>
                </a:cubicBezTo>
                <a:lnTo>
                  <a:pt x="137" y="2115"/>
                </a:lnTo>
                <a:lnTo>
                  <a:pt x="597" y="2115"/>
                </a:lnTo>
                <a:lnTo>
                  <a:pt x="597" y="2763"/>
                </a:lnTo>
                <a:lnTo>
                  <a:pt x="597" y="2763"/>
                </a:lnTo>
                <a:close/>
                <a:moveTo>
                  <a:pt x="4731" y="0"/>
                </a:moveTo>
                <a:lnTo>
                  <a:pt x="4731" y="0"/>
                </a:lnTo>
                <a:lnTo>
                  <a:pt x="4206" y="0"/>
                </a:lnTo>
                <a:cubicBezTo>
                  <a:pt x="4174" y="0"/>
                  <a:pt x="4147" y="22"/>
                  <a:pt x="4139" y="53"/>
                </a:cubicBezTo>
                <a:lnTo>
                  <a:pt x="4072" y="323"/>
                </a:lnTo>
                <a:lnTo>
                  <a:pt x="248" y="918"/>
                </a:lnTo>
                <a:cubicBezTo>
                  <a:pt x="93" y="950"/>
                  <a:pt x="0" y="1047"/>
                  <a:pt x="0" y="1179"/>
                </a:cubicBezTo>
                <a:lnTo>
                  <a:pt x="0" y="2638"/>
                </a:lnTo>
                <a:cubicBezTo>
                  <a:pt x="0" y="2783"/>
                  <a:pt x="117" y="2901"/>
                  <a:pt x="262" y="2901"/>
                </a:cubicBezTo>
                <a:lnTo>
                  <a:pt x="3473" y="2901"/>
                </a:lnTo>
                <a:lnTo>
                  <a:pt x="4113" y="3508"/>
                </a:lnTo>
                <a:lnTo>
                  <a:pt x="79" y="3508"/>
                </a:lnTo>
                <a:cubicBezTo>
                  <a:pt x="41" y="3508"/>
                  <a:pt x="10" y="3539"/>
                  <a:pt x="10" y="3577"/>
                </a:cubicBezTo>
                <a:cubicBezTo>
                  <a:pt x="10" y="3615"/>
                  <a:pt x="41" y="3646"/>
                  <a:pt x="79" y="3646"/>
                </a:cubicBezTo>
                <a:lnTo>
                  <a:pt x="4286" y="3646"/>
                </a:lnTo>
                <a:cubicBezTo>
                  <a:pt x="4314" y="3646"/>
                  <a:pt x="4340" y="3628"/>
                  <a:pt x="4350" y="3602"/>
                </a:cubicBezTo>
                <a:cubicBezTo>
                  <a:pt x="4360" y="3576"/>
                  <a:pt x="4354" y="3546"/>
                  <a:pt x="4333" y="3527"/>
                </a:cubicBezTo>
                <a:lnTo>
                  <a:pt x="3578" y="2810"/>
                </a:lnTo>
                <a:lnTo>
                  <a:pt x="4107" y="747"/>
                </a:lnTo>
                <a:cubicBezTo>
                  <a:pt x="4107" y="745"/>
                  <a:pt x="4109" y="743"/>
                  <a:pt x="4109" y="742"/>
                </a:cubicBezTo>
                <a:lnTo>
                  <a:pt x="4260" y="138"/>
                </a:lnTo>
                <a:lnTo>
                  <a:pt x="4731" y="138"/>
                </a:lnTo>
                <a:cubicBezTo>
                  <a:pt x="4769" y="138"/>
                  <a:pt x="4799" y="107"/>
                  <a:pt x="4799" y="69"/>
                </a:cubicBezTo>
                <a:cubicBezTo>
                  <a:pt x="4799" y="31"/>
                  <a:pt x="4769" y="0"/>
                  <a:pt x="4731" y="0"/>
                </a:cubicBezTo>
                <a:lnTo>
                  <a:pt x="4731" y="0"/>
                </a:lnTo>
                <a:close/>
                <a:moveTo>
                  <a:pt x="3504" y="4370"/>
                </a:moveTo>
                <a:lnTo>
                  <a:pt x="3504" y="4370"/>
                </a:lnTo>
                <a:cubicBezTo>
                  <a:pt x="3361" y="4370"/>
                  <a:pt x="3245" y="4253"/>
                  <a:pt x="3245" y="4111"/>
                </a:cubicBezTo>
                <a:cubicBezTo>
                  <a:pt x="3245" y="3968"/>
                  <a:pt x="3361" y="3852"/>
                  <a:pt x="3504" y="3852"/>
                </a:cubicBezTo>
                <a:cubicBezTo>
                  <a:pt x="3646" y="3852"/>
                  <a:pt x="3762" y="3968"/>
                  <a:pt x="3762" y="4111"/>
                </a:cubicBezTo>
                <a:cubicBezTo>
                  <a:pt x="3762" y="4253"/>
                  <a:pt x="3646" y="4370"/>
                  <a:pt x="3504" y="4370"/>
                </a:cubicBezTo>
                <a:lnTo>
                  <a:pt x="3504" y="4370"/>
                </a:lnTo>
                <a:close/>
                <a:moveTo>
                  <a:pt x="3504" y="3714"/>
                </a:moveTo>
                <a:lnTo>
                  <a:pt x="3504" y="3714"/>
                </a:lnTo>
                <a:cubicBezTo>
                  <a:pt x="3285" y="3714"/>
                  <a:pt x="3107" y="3892"/>
                  <a:pt x="3107" y="4111"/>
                </a:cubicBezTo>
                <a:cubicBezTo>
                  <a:pt x="3107" y="4329"/>
                  <a:pt x="3285" y="4507"/>
                  <a:pt x="3504" y="4507"/>
                </a:cubicBezTo>
                <a:cubicBezTo>
                  <a:pt x="3722" y="4507"/>
                  <a:pt x="3900" y="4329"/>
                  <a:pt x="3900" y="4111"/>
                </a:cubicBezTo>
                <a:cubicBezTo>
                  <a:pt x="3900" y="3892"/>
                  <a:pt x="3722" y="3714"/>
                  <a:pt x="3504" y="3714"/>
                </a:cubicBezTo>
                <a:lnTo>
                  <a:pt x="3504" y="3714"/>
                </a:lnTo>
                <a:close/>
                <a:moveTo>
                  <a:pt x="560" y="4370"/>
                </a:moveTo>
                <a:lnTo>
                  <a:pt x="560" y="4370"/>
                </a:lnTo>
                <a:cubicBezTo>
                  <a:pt x="417" y="4370"/>
                  <a:pt x="301" y="4253"/>
                  <a:pt x="301" y="4111"/>
                </a:cubicBezTo>
                <a:cubicBezTo>
                  <a:pt x="301" y="3968"/>
                  <a:pt x="417" y="3852"/>
                  <a:pt x="560" y="3852"/>
                </a:cubicBezTo>
                <a:cubicBezTo>
                  <a:pt x="703" y="3852"/>
                  <a:pt x="819" y="3968"/>
                  <a:pt x="819" y="4111"/>
                </a:cubicBezTo>
                <a:cubicBezTo>
                  <a:pt x="819" y="4253"/>
                  <a:pt x="703" y="4370"/>
                  <a:pt x="560" y="4370"/>
                </a:cubicBezTo>
                <a:lnTo>
                  <a:pt x="560" y="4370"/>
                </a:lnTo>
                <a:close/>
                <a:moveTo>
                  <a:pt x="560" y="3714"/>
                </a:moveTo>
                <a:lnTo>
                  <a:pt x="560" y="3714"/>
                </a:lnTo>
                <a:cubicBezTo>
                  <a:pt x="341" y="3714"/>
                  <a:pt x="163" y="3892"/>
                  <a:pt x="163" y="4111"/>
                </a:cubicBezTo>
                <a:cubicBezTo>
                  <a:pt x="163" y="4329"/>
                  <a:pt x="341" y="4507"/>
                  <a:pt x="560" y="4507"/>
                </a:cubicBezTo>
                <a:cubicBezTo>
                  <a:pt x="779" y="4507"/>
                  <a:pt x="957" y="4329"/>
                  <a:pt x="957" y="4111"/>
                </a:cubicBezTo>
                <a:cubicBezTo>
                  <a:pt x="957" y="3892"/>
                  <a:pt x="779" y="3714"/>
                  <a:pt x="560" y="3714"/>
                </a:cubicBezTo>
                <a:close/>
              </a:path>
            </a:pathLst>
          </a:custGeom>
          <a:solidFill>
            <a:srgbClr val="2AD1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6EF97DA-4EAE-4B22-A24F-597B219CC88D}"/>
              </a:ext>
            </a:extLst>
          </p:cNvPr>
          <p:cNvGrpSpPr/>
          <p:nvPr/>
        </p:nvGrpSpPr>
        <p:grpSpPr>
          <a:xfrm>
            <a:off x="3595283" y="1790728"/>
            <a:ext cx="1778707" cy="1778707"/>
            <a:chOff x="4793710" y="2387637"/>
            <a:chExt cx="2371609" cy="2371609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50DC2F9-6CF9-41E1-9CF9-D340963ED242}"/>
                </a:ext>
              </a:extLst>
            </p:cNvPr>
            <p:cNvGrpSpPr/>
            <p:nvPr/>
          </p:nvGrpSpPr>
          <p:grpSpPr>
            <a:xfrm>
              <a:off x="4793710" y="2387637"/>
              <a:ext cx="2371609" cy="2371609"/>
              <a:chOff x="4793710" y="2387637"/>
              <a:chExt cx="2371609" cy="2371609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F99FE51B-D2E0-4FB3-AE05-B93C237BFBD2}"/>
                  </a:ext>
                </a:extLst>
              </p:cNvPr>
              <p:cNvSpPr/>
              <p:nvPr/>
            </p:nvSpPr>
            <p:spPr>
              <a:xfrm>
                <a:off x="4793710" y="2387637"/>
                <a:ext cx="2371609" cy="2371609"/>
              </a:xfrm>
              <a:prstGeom prst="ellipse">
                <a:avLst/>
              </a:prstGeom>
              <a:noFill/>
              <a:ln w="19050">
                <a:solidFill>
                  <a:schemeClr val="accent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4317353F-BFB7-4DF5-A067-D93C2468C953}"/>
                  </a:ext>
                </a:extLst>
              </p:cNvPr>
              <p:cNvGrpSpPr/>
              <p:nvPr/>
            </p:nvGrpSpPr>
            <p:grpSpPr>
              <a:xfrm>
                <a:off x="5442255" y="3053390"/>
                <a:ext cx="1218406" cy="932113"/>
                <a:chOff x="5805488" y="3206750"/>
                <a:chExt cx="581025" cy="444500"/>
              </a:xfrm>
            </p:grpSpPr>
            <p:sp>
              <p:nvSpPr>
                <p:cNvPr id="40" name="Freeform 10">
                  <a:extLst>
                    <a:ext uri="{FF2B5EF4-FFF2-40B4-BE49-F238E27FC236}">
                      <a16:creationId xmlns:a16="http://schemas.microsoft.com/office/drawing/2014/main" id="{F06A82C9-826F-4DD8-9C27-1271EEBA08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81713" y="3206750"/>
                  <a:ext cx="304800" cy="407988"/>
                </a:xfrm>
                <a:custGeom>
                  <a:avLst/>
                  <a:gdLst>
                    <a:gd name="T0" fmla="*/ 0 w 140"/>
                    <a:gd name="T1" fmla="*/ 61 h 187"/>
                    <a:gd name="T2" fmla="*/ 0 w 140"/>
                    <a:gd name="T3" fmla="*/ 9 h 187"/>
                    <a:gd name="T4" fmla="*/ 10 w 140"/>
                    <a:gd name="T5" fmla="*/ 0 h 187"/>
                    <a:gd name="T6" fmla="*/ 131 w 140"/>
                    <a:gd name="T7" fmla="*/ 0 h 187"/>
                    <a:gd name="T8" fmla="*/ 140 w 140"/>
                    <a:gd name="T9" fmla="*/ 9 h 187"/>
                    <a:gd name="T10" fmla="*/ 140 w 140"/>
                    <a:gd name="T11" fmla="*/ 177 h 187"/>
                    <a:gd name="T12" fmla="*/ 131 w 140"/>
                    <a:gd name="T13" fmla="*/ 187 h 187"/>
                    <a:gd name="T14" fmla="*/ 97 w 140"/>
                    <a:gd name="T15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" h="187">
                      <a:moveTo>
                        <a:pt x="0" y="61"/>
                      </a:move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4"/>
                        <a:pt x="5" y="0"/>
                        <a:pt x="10" y="0"/>
                      </a:cubicBezTo>
                      <a:cubicBezTo>
                        <a:pt x="131" y="0"/>
                        <a:pt x="131" y="0"/>
                        <a:pt x="131" y="0"/>
                      </a:cubicBezTo>
                      <a:cubicBezTo>
                        <a:pt x="136" y="0"/>
                        <a:pt x="140" y="4"/>
                        <a:pt x="140" y="9"/>
                      </a:cubicBezTo>
                      <a:cubicBezTo>
                        <a:pt x="140" y="177"/>
                        <a:pt x="140" y="177"/>
                        <a:pt x="140" y="177"/>
                      </a:cubicBezTo>
                      <a:cubicBezTo>
                        <a:pt x="140" y="183"/>
                        <a:pt x="136" y="187"/>
                        <a:pt x="131" y="187"/>
                      </a:cubicBezTo>
                      <a:cubicBezTo>
                        <a:pt x="97" y="187"/>
                        <a:pt x="97" y="187"/>
                        <a:pt x="97" y="187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11">
                  <a:extLst>
                    <a:ext uri="{FF2B5EF4-FFF2-40B4-BE49-F238E27FC236}">
                      <a16:creationId xmlns:a16="http://schemas.microsoft.com/office/drawing/2014/main" id="{8A11F8C4-9036-402B-8E5E-5BB588550A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11876" y="3248025"/>
                  <a:ext cx="244475" cy="44450"/>
                </a:xfrm>
                <a:custGeom>
                  <a:avLst/>
                  <a:gdLst>
                    <a:gd name="T0" fmla="*/ 107 w 112"/>
                    <a:gd name="T1" fmla="*/ 20 h 20"/>
                    <a:gd name="T2" fmla="*/ 5 w 112"/>
                    <a:gd name="T3" fmla="*/ 20 h 20"/>
                    <a:gd name="T4" fmla="*/ 0 w 112"/>
                    <a:gd name="T5" fmla="*/ 16 h 20"/>
                    <a:gd name="T6" fmla="*/ 0 w 112"/>
                    <a:gd name="T7" fmla="*/ 4 h 20"/>
                    <a:gd name="T8" fmla="*/ 5 w 112"/>
                    <a:gd name="T9" fmla="*/ 0 h 20"/>
                    <a:gd name="T10" fmla="*/ 107 w 112"/>
                    <a:gd name="T11" fmla="*/ 0 h 20"/>
                    <a:gd name="T12" fmla="*/ 112 w 112"/>
                    <a:gd name="T13" fmla="*/ 4 h 20"/>
                    <a:gd name="T14" fmla="*/ 112 w 112"/>
                    <a:gd name="T15" fmla="*/ 16 h 20"/>
                    <a:gd name="T16" fmla="*/ 107 w 112"/>
                    <a:gd name="T17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2" h="20">
                      <a:moveTo>
                        <a:pt x="107" y="20"/>
                      </a:move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2" y="20"/>
                        <a:pt x="0" y="18"/>
                        <a:pt x="0" y="16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110" y="0"/>
                        <a:pt x="112" y="2"/>
                        <a:pt x="112" y="4"/>
                      </a:cubicBezTo>
                      <a:cubicBezTo>
                        <a:pt x="112" y="16"/>
                        <a:pt x="112" y="16"/>
                        <a:pt x="112" y="16"/>
                      </a:cubicBezTo>
                      <a:cubicBezTo>
                        <a:pt x="112" y="18"/>
                        <a:pt x="110" y="20"/>
                        <a:pt x="107" y="20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Line 12">
                  <a:extLst>
                    <a:ext uri="{FF2B5EF4-FFF2-40B4-BE49-F238E27FC236}">
                      <a16:creationId xmlns:a16="http://schemas.microsoft.com/office/drawing/2014/main" id="{75F168F5-2559-4536-BC4A-5ADD8885D9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62688" y="3340100"/>
                  <a:ext cx="93663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Line 13">
                  <a:extLst>
                    <a:ext uri="{FF2B5EF4-FFF2-40B4-BE49-F238E27FC236}">
                      <a16:creationId xmlns:a16="http://schemas.microsoft.com/office/drawing/2014/main" id="{7AE09819-63CB-41A1-9FDF-16FE477815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375025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Line 14">
                  <a:extLst>
                    <a:ext uri="{FF2B5EF4-FFF2-40B4-BE49-F238E27FC236}">
                      <a16:creationId xmlns:a16="http://schemas.microsoft.com/office/drawing/2014/main" id="{8226FFA3-3680-42A5-83BE-DB6700F668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409950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Line 15">
                  <a:extLst>
                    <a:ext uri="{FF2B5EF4-FFF2-40B4-BE49-F238E27FC236}">
                      <a16:creationId xmlns:a16="http://schemas.microsoft.com/office/drawing/2014/main" id="{C1F5F0C0-F9D2-49EF-806F-3724D43D75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444875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Line 16">
                  <a:extLst>
                    <a:ext uri="{FF2B5EF4-FFF2-40B4-BE49-F238E27FC236}">
                      <a16:creationId xmlns:a16="http://schemas.microsoft.com/office/drawing/2014/main" id="{AD5A503F-0789-4FAB-B86E-C07D25AC4C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479800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Line 17">
                  <a:extLst>
                    <a:ext uri="{FF2B5EF4-FFF2-40B4-BE49-F238E27FC236}">
                      <a16:creationId xmlns:a16="http://schemas.microsoft.com/office/drawing/2014/main" id="{78F7D062-FF40-462A-8B85-1669E715A8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513138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Line 18">
                  <a:extLst>
                    <a:ext uri="{FF2B5EF4-FFF2-40B4-BE49-F238E27FC236}">
                      <a16:creationId xmlns:a16="http://schemas.microsoft.com/office/drawing/2014/main" id="{FB492F9E-6DDF-40E0-8A9E-B4040F863E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292851" y="3548063"/>
                  <a:ext cx="63500" cy="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9">
                  <a:extLst>
                    <a:ext uri="{FF2B5EF4-FFF2-40B4-BE49-F238E27FC236}">
                      <a16:creationId xmlns:a16="http://schemas.microsoft.com/office/drawing/2014/main" id="{A7083FE9-56BE-45F3-AF72-8F130C5B20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2988" y="3371850"/>
                  <a:ext cx="169863" cy="279400"/>
                </a:xfrm>
                <a:custGeom>
                  <a:avLst/>
                  <a:gdLst>
                    <a:gd name="T0" fmla="*/ 78 w 78"/>
                    <a:gd name="T1" fmla="*/ 0 h 128"/>
                    <a:gd name="T2" fmla="*/ 78 w 78"/>
                    <a:gd name="T3" fmla="*/ 117 h 128"/>
                    <a:gd name="T4" fmla="*/ 67 w 78"/>
                    <a:gd name="T5" fmla="*/ 128 h 128"/>
                    <a:gd name="T6" fmla="*/ 0 w 78"/>
                    <a:gd name="T7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8" h="128">
                      <a:moveTo>
                        <a:pt x="78" y="0"/>
                      </a:moveTo>
                      <a:cubicBezTo>
                        <a:pt x="78" y="117"/>
                        <a:pt x="78" y="117"/>
                        <a:pt x="78" y="117"/>
                      </a:cubicBezTo>
                      <a:cubicBezTo>
                        <a:pt x="78" y="123"/>
                        <a:pt x="73" y="128"/>
                        <a:pt x="67" y="128"/>
                      </a:cubicBezTo>
                      <a:cubicBezTo>
                        <a:pt x="0" y="128"/>
                        <a:pt x="0" y="128"/>
                        <a:pt x="0" y="128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20">
                  <a:extLst>
                    <a:ext uri="{FF2B5EF4-FFF2-40B4-BE49-F238E27FC236}">
                      <a16:creationId xmlns:a16="http://schemas.microsoft.com/office/drawing/2014/main" id="{765CD766-B414-4357-9F0F-97A9D5A63F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05488" y="3276600"/>
                  <a:ext cx="444500" cy="374650"/>
                </a:xfrm>
                <a:custGeom>
                  <a:avLst/>
                  <a:gdLst>
                    <a:gd name="T0" fmla="*/ 204 w 204"/>
                    <a:gd name="T1" fmla="*/ 29 h 172"/>
                    <a:gd name="T2" fmla="*/ 114 w 204"/>
                    <a:gd name="T3" fmla="*/ 29 h 172"/>
                    <a:gd name="T4" fmla="*/ 102 w 204"/>
                    <a:gd name="T5" fmla="*/ 18 h 172"/>
                    <a:gd name="T6" fmla="*/ 102 w 204"/>
                    <a:gd name="T7" fmla="*/ 12 h 172"/>
                    <a:gd name="T8" fmla="*/ 91 w 204"/>
                    <a:gd name="T9" fmla="*/ 0 h 172"/>
                    <a:gd name="T10" fmla="*/ 12 w 204"/>
                    <a:gd name="T11" fmla="*/ 0 h 172"/>
                    <a:gd name="T12" fmla="*/ 0 w 204"/>
                    <a:gd name="T13" fmla="*/ 12 h 172"/>
                    <a:gd name="T14" fmla="*/ 0 w 204"/>
                    <a:gd name="T15" fmla="*/ 161 h 172"/>
                    <a:gd name="T16" fmla="*/ 12 w 204"/>
                    <a:gd name="T17" fmla="*/ 172 h 172"/>
                    <a:gd name="T18" fmla="*/ 21 w 204"/>
                    <a:gd name="T19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4" h="172">
                      <a:moveTo>
                        <a:pt x="204" y="29"/>
                      </a:moveTo>
                      <a:cubicBezTo>
                        <a:pt x="114" y="29"/>
                        <a:pt x="114" y="29"/>
                        <a:pt x="114" y="29"/>
                      </a:cubicBezTo>
                      <a:cubicBezTo>
                        <a:pt x="107" y="29"/>
                        <a:pt x="102" y="24"/>
                        <a:pt x="102" y="18"/>
                      </a:cubicBezTo>
                      <a:cubicBezTo>
                        <a:pt x="102" y="12"/>
                        <a:pt x="102" y="12"/>
                        <a:pt x="102" y="12"/>
                      </a:cubicBezTo>
                      <a:cubicBezTo>
                        <a:pt x="102" y="5"/>
                        <a:pt x="97" y="0"/>
                        <a:pt x="91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67"/>
                        <a:pt x="5" y="172"/>
                        <a:pt x="12" y="172"/>
                      </a:cubicBezTo>
                      <a:cubicBezTo>
                        <a:pt x="21" y="172"/>
                        <a:pt x="21" y="172"/>
                        <a:pt x="21" y="172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Freeform 21">
                  <a:extLst>
                    <a:ext uri="{FF2B5EF4-FFF2-40B4-BE49-F238E27FC236}">
                      <a16:creationId xmlns:a16="http://schemas.microsoft.com/office/drawing/2014/main" id="{1B862608-13F8-4CEC-9704-EE2B2BDBC4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42051" y="3340100"/>
                  <a:ext cx="50800" cy="38100"/>
                </a:xfrm>
                <a:custGeom>
                  <a:avLst/>
                  <a:gdLst>
                    <a:gd name="T0" fmla="*/ 0 w 23"/>
                    <a:gd name="T1" fmla="*/ 0 h 18"/>
                    <a:gd name="T2" fmla="*/ 12 w 23"/>
                    <a:gd name="T3" fmla="*/ 0 h 18"/>
                    <a:gd name="T4" fmla="*/ 23 w 23"/>
                    <a:gd name="T5" fmla="*/ 12 h 18"/>
                    <a:gd name="T6" fmla="*/ 23 w 23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8">
                      <a:moveTo>
                        <a:pt x="0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8" y="0"/>
                        <a:pt x="23" y="5"/>
                        <a:pt x="23" y="12"/>
                      </a:cubicBezTo>
                      <a:cubicBezTo>
                        <a:pt x="23" y="18"/>
                        <a:pt x="23" y="18"/>
                        <a:pt x="23" y="18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11E33"/>
                    </a:solidFill>
                    <a:effectLst/>
                    <a:uLnTx/>
                    <a:uFillTx/>
                    <a:latin typeface="Calibri Light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2" name="Freeform 16">
              <a:extLst>
                <a:ext uri="{FF2B5EF4-FFF2-40B4-BE49-F238E27FC236}">
                  <a16:creationId xmlns:a16="http://schemas.microsoft.com/office/drawing/2014/main" id="{CAA6766D-3432-4427-9EE3-29C62496F4F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564339" y="3419011"/>
              <a:ext cx="519261" cy="559923"/>
            </a:xfrm>
            <a:custGeom>
              <a:avLst/>
              <a:gdLst>
                <a:gd name="T0" fmla="*/ 215 w 3189"/>
                <a:gd name="T1" fmla="*/ 2567 h 3456"/>
                <a:gd name="T2" fmla="*/ 691 w 3189"/>
                <a:gd name="T3" fmla="*/ 3049 h 3456"/>
                <a:gd name="T4" fmla="*/ 394 w 3189"/>
                <a:gd name="T5" fmla="*/ 2262 h 3456"/>
                <a:gd name="T6" fmla="*/ 2995 w 3189"/>
                <a:gd name="T7" fmla="*/ 2038 h 3456"/>
                <a:gd name="T8" fmla="*/ 2748 w 3189"/>
                <a:gd name="T9" fmla="*/ 2678 h 3456"/>
                <a:gd name="T10" fmla="*/ 2926 w 3189"/>
                <a:gd name="T11" fmla="*/ 2965 h 3456"/>
                <a:gd name="T12" fmla="*/ 3062 w 3189"/>
                <a:gd name="T13" fmla="*/ 2106 h 3456"/>
                <a:gd name="T14" fmla="*/ 2114 w 3189"/>
                <a:gd name="T15" fmla="*/ 1812 h 3456"/>
                <a:gd name="T16" fmla="*/ 1919 w 3189"/>
                <a:gd name="T17" fmla="*/ 1941 h 3456"/>
                <a:gd name="T18" fmla="*/ 1876 w 3189"/>
                <a:gd name="T19" fmla="*/ 1712 h 3456"/>
                <a:gd name="T20" fmla="*/ 1445 w 3189"/>
                <a:gd name="T21" fmla="*/ 1733 h 3456"/>
                <a:gd name="T22" fmla="*/ 1357 w 3189"/>
                <a:gd name="T23" fmla="*/ 1949 h 3456"/>
                <a:gd name="T24" fmla="*/ 1192 w 3189"/>
                <a:gd name="T25" fmla="*/ 1784 h 3456"/>
                <a:gd name="T26" fmla="*/ 138 w 3189"/>
                <a:gd name="T27" fmla="*/ 1603 h 3456"/>
                <a:gd name="T28" fmla="*/ 242 w 3189"/>
                <a:gd name="T29" fmla="*/ 1943 h 3456"/>
                <a:gd name="T30" fmla="*/ 207 w 3189"/>
                <a:gd name="T31" fmla="*/ 1550 h 3456"/>
                <a:gd name="T32" fmla="*/ 3044 w 3189"/>
                <a:gd name="T33" fmla="*/ 1826 h 3456"/>
                <a:gd name="T34" fmla="*/ 2937 w 3189"/>
                <a:gd name="T35" fmla="*/ 1483 h 3456"/>
                <a:gd name="T36" fmla="*/ 2295 w 3189"/>
                <a:gd name="T37" fmla="*/ 1128 h 3456"/>
                <a:gd name="T38" fmla="*/ 1495 w 3189"/>
                <a:gd name="T39" fmla="*/ 1580 h 3456"/>
                <a:gd name="T40" fmla="*/ 583 w 3189"/>
                <a:gd name="T41" fmla="*/ 1635 h 3456"/>
                <a:gd name="T42" fmla="*/ 700 w 3189"/>
                <a:gd name="T43" fmla="*/ 2873 h 3456"/>
                <a:gd name="T44" fmla="*/ 1340 w 3189"/>
                <a:gd name="T45" fmla="*/ 3311 h 3456"/>
                <a:gd name="T46" fmla="*/ 2103 w 3189"/>
                <a:gd name="T47" fmla="*/ 3231 h 3456"/>
                <a:gd name="T48" fmla="*/ 2629 w 3189"/>
                <a:gd name="T49" fmla="*/ 2663 h 3456"/>
                <a:gd name="T50" fmla="*/ 2667 w 3189"/>
                <a:gd name="T51" fmla="*/ 946 h 3456"/>
                <a:gd name="T52" fmla="*/ 2757 w 3189"/>
                <a:gd name="T53" fmla="*/ 866 h 3456"/>
                <a:gd name="T54" fmla="*/ 2991 w 3189"/>
                <a:gd name="T55" fmla="*/ 1380 h 3456"/>
                <a:gd name="T56" fmla="*/ 2780 w 3189"/>
                <a:gd name="T57" fmla="*/ 716 h 3456"/>
                <a:gd name="T58" fmla="*/ 1481 w 3189"/>
                <a:gd name="T59" fmla="*/ 925 h 3456"/>
                <a:gd name="T60" fmla="*/ 650 w 3189"/>
                <a:gd name="T61" fmla="*/ 1281 h 3456"/>
                <a:gd name="T62" fmla="*/ 223 w 3189"/>
                <a:gd name="T63" fmla="*/ 1433 h 3456"/>
                <a:gd name="T64" fmla="*/ 781 w 3189"/>
                <a:gd name="T65" fmla="*/ 1537 h 3456"/>
                <a:gd name="T66" fmla="*/ 1639 w 3189"/>
                <a:gd name="T67" fmla="*/ 1408 h 3456"/>
                <a:gd name="T68" fmla="*/ 2288 w 3189"/>
                <a:gd name="T69" fmla="*/ 975 h 3456"/>
                <a:gd name="T70" fmla="*/ 2622 w 3189"/>
                <a:gd name="T71" fmla="*/ 583 h 3456"/>
                <a:gd name="T72" fmla="*/ 2046 w 3189"/>
                <a:gd name="T73" fmla="*/ 484 h 3456"/>
                <a:gd name="T74" fmla="*/ 2036 w 3189"/>
                <a:gd name="T75" fmla="*/ 368 h 3456"/>
                <a:gd name="T76" fmla="*/ 2218 w 3189"/>
                <a:gd name="T77" fmla="*/ 249 h 3456"/>
                <a:gd name="T78" fmla="*/ 1508 w 3189"/>
                <a:gd name="T79" fmla="*/ 295 h 3456"/>
                <a:gd name="T80" fmla="*/ 733 w 3189"/>
                <a:gd name="T81" fmla="*/ 700 h 3456"/>
                <a:gd name="T82" fmla="*/ 312 w 3189"/>
                <a:gd name="T83" fmla="*/ 1176 h 3456"/>
                <a:gd name="T84" fmla="*/ 849 w 3189"/>
                <a:gd name="T85" fmla="*/ 1109 h 3456"/>
                <a:gd name="T86" fmla="*/ 1585 w 3189"/>
                <a:gd name="T87" fmla="*/ 692 h 3456"/>
                <a:gd name="T88" fmla="*/ 1982 w 3189"/>
                <a:gd name="T89" fmla="*/ 242 h 3456"/>
                <a:gd name="T90" fmla="*/ 927 w 3189"/>
                <a:gd name="T91" fmla="*/ 303 h 3456"/>
                <a:gd name="T92" fmla="*/ 323 w 3189"/>
                <a:gd name="T93" fmla="*/ 960 h 3456"/>
                <a:gd name="T94" fmla="*/ 955 w 3189"/>
                <a:gd name="T95" fmla="*/ 401 h 3456"/>
                <a:gd name="T96" fmla="*/ 1751 w 3189"/>
                <a:gd name="T97" fmla="*/ 121 h 3456"/>
                <a:gd name="T98" fmla="*/ 2276 w 3189"/>
                <a:gd name="T99" fmla="*/ 148 h 3456"/>
                <a:gd name="T100" fmla="*/ 2958 w 3189"/>
                <a:gd name="T101" fmla="*/ 777 h 3456"/>
                <a:gd name="T102" fmla="*/ 3189 w 3189"/>
                <a:gd name="T103" fmla="*/ 1694 h 3456"/>
                <a:gd name="T104" fmla="*/ 3150 w 3189"/>
                <a:gd name="T105" fmla="*/ 2473 h 3456"/>
                <a:gd name="T106" fmla="*/ 2982 w 3189"/>
                <a:gd name="T107" fmla="*/ 3114 h 3456"/>
                <a:gd name="T108" fmla="*/ 2302 w 3189"/>
                <a:gd name="T109" fmla="*/ 3248 h 3456"/>
                <a:gd name="T110" fmla="*/ 1588 w 3189"/>
                <a:gd name="T111" fmla="*/ 3456 h 3456"/>
                <a:gd name="T112" fmla="*/ 811 w 3189"/>
                <a:gd name="T113" fmla="*/ 3167 h 3456"/>
                <a:gd name="T114" fmla="*/ 163 w 3189"/>
                <a:gd name="T115" fmla="*/ 2889 h 3456"/>
                <a:gd name="T116" fmla="*/ 67 w 3189"/>
                <a:gd name="T117" fmla="*/ 2195 h 3456"/>
                <a:gd name="T118" fmla="*/ 3 w 3189"/>
                <a:gd name="T119" fmla="*/ 1663 h 3456"/>
                <a:gd name="T120" fmla="*/ 201 w 3189"/>
                <a:gd name="T121" fmla="*/ 948 h 3456"/>
                <a:gd name="T122" fmla="*/ 812 w 3189"/>
                <a:gd name="T123" fmla="*/ 237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89" h="3456">
                  <a:moveTo>
                    <a:pt x="178" y="2039"/>
                  </a:moveTo>
                  <a:lnTo>
                    <a:pt x="179" y="2088"/>
                  </a:lnTo>
                  <a:lnTo>
                    <a:pt x="181" y="2141"/>
                  </a:lnTo>
                  <a:lnTo>
                    <a:pt x="183" y="2196"/>
                  </a:lnTo>
                  <a:lnTo>
                    <a:pt x="186" y="2255"/>
                  </a:lnTo>
                  <a:lnTo>
                    <a:pt x="190" y="2316"/>
                  </a:lnTo>
                  <a:lnTo>
                    <a:pt x="195" y="2377"/>
                  </a:lnTo>
                  <a:lnTo>
                    <a:pt x="200" y="2440"/>
                  </a:lnTo>
                  <a:lnTo>
                    <a:pt x="207" y="2503"/>
                  </a:lnTo>
                  <a:lnTo>
                    <a:pt x="215" y="2567"/>
                  </a:lnTo>
                  <a:lnTo>
                    <a:pt x="224" y="2629"/>
                  </a:lnTo>
                  <a:lnTo>
                    <a:pt x="235" y="2690"/>
                  </a:lnTo>
                  <a:lnTo>
                    <a:pt x="246" y="2750"/>
                  </a:lnTo>
                  <a:lnTo>
                    <a:pt x="260" y="2808"/>
                  </a:lnTo>
                  <a:lnTo>
                    <a:pt x="275" y="2862"/>
                  </a:lnTo>
                  <a:lnTo>
                    <a:pt x="292" y="2912"/>
                  </a:lnTo>
                  <a:lnTo>
                    <a:pt x="312" y="2960"/>
                  </a:lnTo>
                  <a:lnTo>
                    <a:pt x="333" y="3003"/>
                  </a:lnTo>
                  <a:lnTo>
                    <a:pt x="356" y="3040"/>
                  </a:lnTo>
                  <a:lnTo>
                    <a:pt x="691" y="3049"/>
                  </a:lnTo>
                  <a:lnTo>
                    <a:pt x="638" y="2984"/>
                  </a:lnTo>
                  <a:lnTo>
                    <a:pt x="590" y="2915"/>
                  </a:lnTo>
                  <a:lnTo>
                    <a:pt x="546" y="2842"/>
                  </a:lnTo>
                  <a:lnTo>
                    <a:pt x="507" y="2768"/>
                  </a:lnTo>
                  <a:lnTo>
                    <a:pt x="473" y="2689"/>
                  </a:lnTo>
                  <a:lnTo>
                    <a:pt x="445" y="2609"/>
                  </a:lnTo>
                  <a:lnTo>
                    <a:pt x="423" y="2525"/>
                  </a:lnTo>
                  <a:lnTo>
                    <a:pt x="406" y="2439"/>
                  </a:lnTo>
                  <a:lnTo>
                    <a:pt x="397" y="2351"/>
                  </a:lnTo>
                  <a:lnTo>
                    <a:pt x="394" y="2262"/>
                  </a:lnTo>
                  <a:lnTo>
                    <a:pt x="394" y="2103"/>
                  </a:lnTo>
                  <a:lnTo>
                    <a:pt x="393" y="2103"/>
                  </a:lnTo>
                  <a:lnTo>
                    <a:pt x="346" y="2101"/>
                  </a:lnTo>
                  <a:lnTo>
                    <a:pt x="301" y="2092"/>
                  </a:lnTo>
                  <a:lnTo>
                    <a:pt x="258" y="2079"/>
                  </a:lnTo>
                  <a:lnTo>
                    <a:pt x="217" y="2061"/>
                  </a:lnTo>
                  <a:lnTo>
                    <a:pt x="178" y="2039"/>
                  </a:lnTo>
                  <a:close/>
                  <a:moveTo>
                    <a:pt x="3066" y="1986"/>
                  </a:moveTo>
                  <a:lnTo>
                    <a:pt x="3033" y="2014"/>
                  </a:lnTo>
                  <a:lnTo>
                    <a:pt x="2995" y="2038"/>
                  </a:lnTo>
                  <a:lnTo>
                    <a:pt x="2955" y="2058"/>
                  </a:lnTo>
                  <a:lnTo>
                    <a:pt x="2913" y="2073"/>
                  </a:lnTo>
                  <a:lnTo>
                    <a:pt x="2868" y="2082"/>
                  </a:lnTo>
                  <a:lnTo>
                    <a:pt x="2822" y="2086"/>
                  </a:lnTo>
                  <a:lnTo>
                    <a:pt x="2822" y="2263"/>
                  </a:lnTo>
                  <a:lnTo>
                    <a:pt x="2819" y="2350"/>
                  </a:lnTo>
                  <a:lnTo>
                    <a:pt x="2810" y="2435"/>
                  </a:lnTo>
                  <a:lnTo>
                    <a:pt x="2795" y="2519"/>
                  </a:lnTo>
                  <a:lnTo>
                    <a:pt x="2774" y="2599"/>
                  </a:lnTo>
                  <a:lnTo>
                    <a:pt x="2748" y="2678"/>
                  </a:lnTo>
                  <a:lnTo>
                    <a:pt x="2716" y="2754"/>
                  </a:lnTo>
                  <a:lnTo>
                    <a:pt x="2680" y="2828"/>
                  </a:lnTo>
                  <a:lnTo>
                    <a:pt x="2638" y="2898"/>
                  </a:lnTo>
                  <a:lnTo>
                    <a:pt x="2593" y="2966"/>
                  </a:lnTo>
                  <a:lnTo>
                    <a:pt x="2543" y="3030"/>
                  </a:lnTo>
                  <a:lnTo>
                    <a:pt x="2488" y="3089"/>
                  </a:lnTo>
                  <a:lnTo>
                    <a:pt x="2855" y="3099"/>
                  </a:lnTo>
                  <a:lnTo>
                    <a:pt x="2880" y="3061"/>
                  </a:lnTo>
                  <a:lnTo>
                    <a:pt x="2904" y="3016"/>
                  </a:lnTo>
                  <a:lnTo>
                    <a:pt x="2926" y="2965"/>
                  </a:lnTo>
                  <a:lnTo>
                    <a:pt x="2946" y="2907"/>
                  </a:lnTo>
                  <a:lnTo>
                    <a:pt x="2965" y="2843"/>
                  </a:lnTo>
                  <a:lnTo>
                    <a:pt x="2982" y="2773"/>
                  </a:lnTo>
                  <a:lnTo>
                    <a:pt x="2998" y="2697"/>
                  </a:lnTo>
                  <a:lnTo>
                    <a:pt x="3013" y="2613"/>
                  </a:lnTo>
                  <a:lnTo>
                    <a:pt x="3025" y="2524"/>
                  </a:lnTo>
                  <a:lnTo>
                    <a:pt x="3037" y="2429"/>
                  </a:lnTo>
                  <a:lnTo>
                    <a:pt x="3046" y="2328"/>
                  </a:lnTo>
                  <a:lnTo>
                    <a:pt x="3055" y="2220"/>
                  </a:lnTo>
                  <a:lnTo>
                    <a:pt x="3062" y="2106"/>
                  </a:lnTo>
                  <a:lnTo>
                    <a:pt x="3066" y="1986"/>
                  </a:lnTo>
                  <a:close/>
                  <a:moveTo>
                    <a:pt x="1974" y="1671"/>
                  </a:moveTo>
                  <a:lnTo>
                    <a:pt x="2002" y="1675"/>
                  </a:lnTo>
                  <a:lnTo>
                    <a:pt x="2029" y="1682"/>
                  </a:lnTo>
                  <a:lnTo>
                    <a:pt x="2052" y="1696"/>
                  </a:lnTo>
                  <a:lnTo>
                    <a:pt x="2073" y="1712"/>
                  </a:lnTo>
                  <a:lnTo>
                    <a:pt x="2090" y="1733"/>
                  </a:lnTo>
                  <a:lnTo>
                    <a:pt x="2104" y="1757"/>
                  </a:lnTo>
                  <a:lnTo>
                    <a:pt x="2112" y="1784"/>
                  </a:lnTo>
                  <a:lnTo>
                    <a:pt x="2114" y="1812"/>
                  </a:lnTo>
                  <a:lnTo>
                    <a:pt x="2112" y="1840"/>
                  </a:lnTo>
                  <a:lnTo>
                    <a:pt x="2104" y="1866"/>
                  </a:lnTo>
                  <a:lnTo>
                    <a:pt x="2090" y="1889"/>
                  </a:lnTo>
                  <a:lnTo>
                    <a:pt x="2073" y="1910"/>
                  </a:lnTo>
                  <a:lnTo>
                    <a:pt x="2052" y="1928"/>
                  </a:lnTo>
                  <a:lnTo>
                    <a:pt x="2029" y="1941"/>
                  </a:lnTo>
                  <a:lnTo>
                    <a:pt x="2002" y="1949"/>
                  </a:lnTo>
                  <a:lnTo>
                    <a:pt x="1974" y="1952"/>
                  </a:lnTo>
                  <a:lnTo>
                    <a:pt x="1947" y="1949"/>
                  </a:lnTo>
                  <a:lnTo>
                    <a:pt x="1919" y="1941"/>
                  </a:lnTo>
                  <a:lnTo>
                    <a:pt x="1896" y="1928"/>
                  </a:lnTo>
                  <a:lnTo>
                    <a:pt x="1876" y="1910"/>
                  </a:lnTo>
                  <a:lnTo>
                    <a:pt x="1859" y="1889"/>
                  </a:lnTo>
                  <a:lnTo>
                    <a:pt x="1845" y="1866"/>
                  </a:lnTo>
                  <a:lnTo>
                    <a:pt x="1837" y="1840"/>
                  </a:lnTo>
                  <a:lnTo>
                    <a:pt x="1835" y="1812"/>
                  </a:lnTo>
                  <a:lnTo>
                    <a:pt x="1837" y="1784"/>
                  </a:lnTo>
                  <a:lnTo>
                    <a:pt x="1845" y="1757"/>
                  </a:lnTo>
                  <a:lnTo>
                    <a:pt x="1859" y="1733"/>
                  </a:lnTo>
                  <a:lnTo>
                    <a:pt x="1876" y="1712"/>
                  </a:lnTo>
                  <a:lnTo>
                    <a:pt x="1896" y="1696"/>
                  </a:lnTo>
                  <a:lnTo>
                    <a:pt x="1919" y="1682"/>
                  </a:lnTo>
                  <a:lnTo>
                    <a:pt x="1947" y="1675"/>
                  </a:lnTo>
                  <a:lnTo>
                    <a:pt x="1974" y="1671"/>
                  </a:lnTo>
                  <a:close/>
                  <a:moveTo>
                    <a:pt x="1329" y="1671"/>
                  </a:moveTo>
                  <a:lnTo>
                    <a:pt x="1357" y="1675"/>
                  </a:lnTo>
                  <a:lnTo>
                    <a:pt x="1383" y="1682"/>
                  </a:lnTo>
                  <a:lnTo>
                    <a:pt x="1407" y="1696"/>
                  </a:lnTo>
                  <a:lnTo>
                    <a:pt x="1427" y="1712"/>
                  </a:lnTo>
                  <a:lnTo>
                    <a:pt x="1445" y="1733"/>
                  </a:lnTo>
                  <a:lnTo>
                    <a:pt x="1458" y="1757"/>
                  </a:lnTo>
                  <a:lnTo>
                    <a:pt x="1466" y="1784"/>
                  </a:lnTo>
                  <a:lnTo>
                    <a:pt x="1469" y="1812"/>
                  </a:lnTo>
                  <a:lnTo>
                    <a:pt x="1466" y="1840"/>
                  </a:lnTo>
                  <a:lnTo>
                    <a:pt x="1458" y="1866"/>
                  </a:lnTo>
                  <a:lnTo>
                    <a:pt x="1445" y="1889"/>
                  </a:lnTo>
                  <a:lnTo>
                    <a:pt x="1427" y="1910"/>
                  </a:lnTo>
                  <a:lnTo>
                    <a:pt x="1407" y="1928"/>
                  </a:lnTo>
                  <a:lnTo>
                    <a:pt x="1383" y="1941"/>
                  </a:lnTo>
                  <a:lnTo>
                    <a:pt x="1357" y="1949"/>
                  </a:lnTo>
                  <a:lnTo>
                    <a:pt x="1329" y="1952"/>
                  </a:lnTo>
                  <a:lnTo>
                    <a:pt x="1301" y="1949"/>
                  </a:lnTo>
                  <a:lnTo>
                    <a:pt x="1274" y="1941"/>
                  </a:lnTo>
                  <a:lnTo>
                    <a:pt x="1250" y="1928"/>
                  </a:lnTo>
                  <a:lnTo>
                    <a:pt x="1229" y="1910"/>
                  </a:lnTo>
                  <a:lnTo>
                    <a:pt x="1213" y="1889"/>
                  </a:lnTo>
                  <a:lnTo>
                    <a:pt x="1200" y="1866"/>
                  </a:lnTo>
                  <a:lnTo>
                    <a:pt x="1192" y="1840"/>
                  </a:lnTo>
                  <a:lnTo>
                    <a:pt x="1189" y="1812"/>
                  </a:lnTo>
                  <a:lnTo>
                    <a:pt x="1192" y="1784"/>
                  </a:lnTo>
                  <a:lnTo>
                    <a:pt x="1200" y="1757"/>
                  </a:lnTo>
                  <a:lnTo>
                    <a:pt x="1213" y="1733"/>
                  </a:lnTo>
                  <a:lnTo>
                    <a:pt x="1229" y="1712"/>
                  </a:lnTo>
                  <a:lnTo>
                    <a:pt x="1250" y="1696"/>
                  </a:lnTo>
                  <a:lnTo>
                    <a:pt x="1274" y="1682"/>
                  </a:lnTo>
                  <a:lnTo>
                    <a:pt x="1301" y="1675"/>
                  </a:lnTo>
                  <a:lnTo>
                    <a:pt x="1329" y="1671"/>
                  </a:lnTo>
                  <a:close/>
                  <a:moveTo>
                    <a:pt x="176" y="1539"/>
                  </a:moveTo>
                  <a:lnTo>
                    <a:pt x="155" y="1570"/>
                  </a:lnTo>
                  <a:lnTo>
                    <a:pt x="138" y="1603"/>
                  </a:lnTo>
                  <a:lnTo>
                    <a:pt x="126" y="1637"/>
                  </a:lnTo>
                  <a:lnTo>
                    <a:pt x="118" y="1674"/>
                  </a:lnTo>
                  <a:lnTo>
                    <a:pt x="115" y="1710"/>
                  </a:lnTo>
                  <a:lnTo>
                    <a:pt x="118" y="1751"/>
                  </a:lnTo>
                  <a:lnTo>
                    <a:pt x="128" y="1790"/>
                  </a:lnTo>
                  <a:lnTo>
                    <a:pt x="141" y="1827"/>
                  </a:lnTo>
                  <a:lnTo>
                    <a:pt x="160" y="1861"/>
                  </a:lnTo>
                  <a:lnTo>
                    <a:pt x="183" y="1892"/>
                  </a:lnTo>
                  <a:lnTo>
                    <a:pt x="210" y="1920"/>
                  </a:lnTo>
                  <a:lnTo>
                    <a:pt x="242" y="1943"/>
                  </a:lnTo>
                  <a:lnTo>
                    <a:pt x="275" y="1962"/>
                  </a:lnTo>
                  <a:lnTo>
                    <a:pt x="313" y="1976"/>
                  </a:lnTo>
                  <a:lnTo>
                    <a:pt x="352" y="1985"/>
                  </a:lnTo>
                  <a:lnTo>
                    <a:pt x="393" y="1988"/>
                  </a:lnTo>
                  <a:lnTo>
                    <a:pt x="394" y="1988"/>
                  </a:lnTo>
                  <a:lnTo>
                    <a:pt x="394" y="1600"/>
                  </a:lnTo>
                  <a:lnTo>
                    <a:pt x="339" y="1588"/>
                  </a:lnTo>
                  <a:lnTo>
                    <a:pt x="289" y="1574"/>
                  </a:lnTo>
                  <a:lnTo>
                    <a:pt x="246" y="1563"/>
                  </a:lnTo>
                  <a:lnTo>
                    <a:pt x="207" y="1550"/>
                  </a:lnTo>
                  <a:lnTo>
                    <a:pt x="176" y="1539"/>
                  </a:lnTo>
                  <a:close/>
                  <a:moveTo>
                    <a:pt x="2822" y="1452"/>
                  </a:moveTo>
                  <a:lnTo>
                    <a:pt x="2822" y="1969"/>
                  </a:lnTo>
                  <a:lnTo>
                    <a:pt x="2863" y="1964"/>
                  </a:lnTo>
                  <a:lnTo>
                    <a:pt x="2901" y="1953"/>
                  </a:lnTo>
                  <a:lnTo>
                    <a:pt x="2937" y="1937"/>
                  </a:lnTo>
                  <a:lnTo>
                    <a:pt x="2970" y="1915"/>
                  </a:lnTo>
                  <a:lnTo>
                    <a:pt x="2999" y="1890"/>
                  </a:lnTo>
                  <a:lnTo>
                    <a:pt x="3023" y="1860"/>
                  </a:lnTo>
                  <a:lnTo>
                    <a:pt x="3044" y="1826"/>
                  </a:lnTo>
                  <a:lnTo>
                    <a:pt x="3059" y="1791"/>
                  </a:lnTo>
                  <a:lnTo>
                    <a:pt x="3068" y="1751"/>
                  </a:lnTo>
                  <a:lnTo>
                    <a:pt x="3072" y="1710"/>
                  </a:lnTo>
                  <a:lnTo>
                    <a:pt x="3069" y="1669"/>
                  </a:lnTo>
                  <a:lnTo>
                    <a:pt x="3060" y="1631"/>
                  </a:lnTo>
                  <a:lnTo>
                    <a:pt x="3044" y="1594"/>
                  </a:lnTo>
                  <a:lnTo>
                    <a:pt x="3024" y="1560"/>
                  </a:lnTo>
                  <a:lnTo>
                    <a:pt x="2999" y="1530"/>
                  </a:lnTo>
                  <a:lnTo>
                    <a:pt x="2970" y="1505"/>
                  </a:lnTo>
                  <a:lnTo>
                    <a:pt x="2937" y="1483"/>
                  </a:lnTo>
                  <a:lnTo>
                    <a:pt x="2902" y="1467"/>
                  </a:lnTo>
                  <a:lnTo>
                    <a:pt x="2863" y="1456"/>
                  </a:lnTo>
                  <a:lnTo>
                    <a:pt x="2822" y="1452"/>
                  </a:lnTo>
                  <a:close/>
                  <a:moveTo>
                    <a:pt x="2590" y="821"/>
                  </a:moveTo>
                  <a:lnTo>
                    <a:pt x="2551" y="868"/>
                  </a:lnTo>
                  <a:lnTo>
                    <a:pt x="2507" y="917"/>
                  </a:lnTo>
                  <a:lnTo>
                    <a:pt x="2461" y="969"/>
                  </a:lnTo>
                  <a:lnTo>
                    <a:pt x="2410" y="1021"/>
                  </a:lnTo>
                  <a:lnTo>
                    <a:pt x="2354" y="1075"/>
                  </a:lnTo>
                  <a:lnTo>
                    <a:pt x="2295" y="1128"/>
                  </a:lnTo>
                  <a:lnTo>
                    <a:pt x="2234" y="1181"/>
                  </a:lnTo>
                  <a:lnTo>
                    <a:pt x="2167" y="1234"/>
                  </a:lnTo>
                  <a:lnTo>
                    <a:pt x="2096" y="1286"/>
                  </a:lnTo>
                  <a:lnTo>
                    <a:pt x="2022" y="1336"/>
                  </a:lnTo>
                  <a:lnTo>
                    <a:pt x="1945" y="1384"/>
                  </a:lnTo>
                  <a:lnTo>
                    <a:pt x="1863" y="1431"/>
                  </a:lnTo>
                  <a:lnTo>
                    <a:pt x="1778" y="1474"/>
                  </a:lnTo>
                  <a:lnTo>
                    <a:pt x="1689" y="1512"/>
                  </a:lnTo>
                  <a:lnTo>
                    <a:pt x="1596" y="1548"/>
                  </a:lnTo>
                  <a:lnTo>
                    <a:pt x="1495" y="1580"/>
                  </a:lnTo>
                  <a:lnTo>
                    <a:pt x="1395" y="1607"/>
                  </a:lnTo>
                  <a:lnTo>
                    <a:pt x="1296" y="1626"/>
                  </a:lnTo>
                  <a:lnTo>
                    <a:pt x="1199" y="1642"/>
                  </a:lnTo>
                  <a:lnTo>
                    <a:pt x="1104" y="1653"/>
                  </a:lnTo>
                  <a:lnTo>
                    <a:pt x="1011" y="1658"/>
                  </a:lnTo>
                  <a:lnTo>
                    <a:pt x="919" y="1660"/>
                  </a:lnTo>
                  <a:lnTo>
                    <a:pt x="829" y="1658"/>
                  </a:lnTo>
                  <a:lnTo>
                    <a:pt x="743" y="1653"/>
                  </a:lnTo>
                  <a:lnTo>
                    <a:pt x="661" y="1645"/>
                  </a:lnTo>
                  <a:lnTo>
                    <a:pt x="583" y="1635"/>
                  </a:lnTo>
                  <a:lnTo>
                    <a:pt x="509" y="1623"/>
                  </a:lnTo>
                  <a:lnTo>
                    <a:pt x="509" y="2262"/>
                  </a:lnTo>
                  <a:lnTo>
                    <a:pt x="512" y="2346"/>
                  </a:lnTo>
                  <a:lnTo>
                    <a:pt x="521" y="2429"/>
                  </a:lnTo>
                  <a:lnTo>
                    <a:pt x="537" y="2509"/>
                  </a:lnTo>
                  <a:lnTo>
                    <a:pt x="559" y="2587"/>
                  </a:lnTo>
                  <a:lnTo>
                    <a:pt x="586" y="2663"/>
                  </a:lnTo>
                  <a:lnTo>
                    <a:pt x="619" y="2735"/>
                  </a:lnTo>
                  <a:lnTo>
                    <a:pt x="657" y="2806"/>
                  </a:lnTo>
                  <a:lnTo>
                    <a:pt x="700" y="2873"/>
                  </a:lnTo>
                  <a:lnTo>
                    <a:pt x="747" y="2936"/>
                  </a:lnTo>
                  <a:lnTo>
                    <a:pt x="798" y="2995"/>
                  </a:lnTo>
                  <a:lnTo>
                    <a:pt x="853" y="3052"/>
                  </a:lnTo>
                  <a:lnTo>
                    <a:pt x="913" y="3103"/>
                  </a:lnTo>
                  <a:lnTo>
                    <a:pt x="977" y="3150"/>
                  </a:lnTo>
                  <a:lnTo>
                    <a:pt x="1043" y="3193"/>
                  </a:lnTo>
                  <a:lnTo>
                    <a:pt x="1113" y="3231"/>
                  </a:lnTo>
                  <a:lnTo>
                    <a:pt x="1186" y="3263"/>
                  </a:lnTo>
                  <a:lnTo>
                    <a:pt x="1262" y="3291"/>
                  </a:lnTo>
                  <a:lnTo>
                    <a:pt x="1340" y="3311"/>
                  </a:lnTo>
                  <a:lnTo>
                    <a:pt x="1421" y="3327"/>
                  </a:lnTo>
                  <a:lnTo>
                    <a:pt x="1503" y="3337"/>
                  </a:lnTo>
                  <a:lnTo>
                    <a:pt x="1588" y="3340"/>
                  </a:lnTo>
                  <a:lnTo>
                    <a:pt x="1629" y="3340"/>
                  </a:lnTo>
                  <a:lnTo>
                    <a:pt x="1714" y="3337"/>
                  </a:lnTo>
                  <a:lnTo>
                    <a:pt x="1796" y="3327"/>
                  </a:lnTo>
                  <a:lnTo>
                    <a:pt x="1877" y="3311"/>
                  </a:lnTo>
                  <a:lnTo>
                    <a:pt x="1954" y="3291"/>
                  </a:lnTo>
                  <a:lnTo>
                    <a:pt x="2030" y="3263"/>
                  </a:lnTo>
                  <a:lnTo>
                    <a:pt x="2103" y="3231"/>
                  </a:lnTo>
                  <a:lnTo>
                    <a:pt x="2173" y="3193"/>
                  </a:lnTo>
                  <a:lnTo>
                    <a:pt x="2240" y="3150"/>
                  </a:lnTo>
                  <a:lnTo>
                    <a:pt x="2303" y="3103"/>
                  </a:lnTo>
                  <a:lnTo>
                    <a:pt x="2362" y="3052"/>
                  </a:lnTo>
                  <a:lnTo>
                    <a:pt x="2418" y="2996"/>
                  </a:lnTo>
                  <a:lnTo>
                    <a:pt x="2469" y="2937"/>
                  </a:lnTo>
                  <a:lnTo>
                    <a:pt x="2516" y="2873"/>
                  </a:lnTo>
                  <a:lnTo>
                    <a:pt x="2559" y="2807"/>
                  </a:lnTo>
                  <a:lnTo>
                    <a:pt x="2597" y="2737"/>
                  </a:lnTo>
                  <a:lnTo>
                    <a:pt x="2629" y="2663"/>
                  </a:lnTo>
                  <a:lnTo>
                    <a:pt x="2657" y="2588"/>
                  </a:lnTo>
                  <a:lnTo>
                    <a:pt x="2678" y="2510"/>
                  </a:lnTo>
                  <a:lnTo>
                    <a:pt x="2693" y="2430"/>
                  </a:lnTo>
                  <a:lnTo>
                    <a:pt x="2704" y="2347"/>
                  </a:lnTo>
                  <a:lnTo>
                    <a:pt x="2707" y="2263"/>
                  </a:lnTo>
                  <a:lnTo>
                    <a:pt x="2707" y="1136"/>
                  </a:lnTo>
                  <a:lnTo>
                    <a:pt x="2704" y="1087"/>
                  </a:lnTo>
                  <a:lnTo>
                    <a:pt x="2696" y="1039"/>
                  </a:lnTo>
                  <a:lnTo>
                    <a:pt x="2684" y="992"/>
                  </a:lnTo>
                  <a:lnTo>
                    <a:pt x="2667" y="946"/>
                  </a:lnTo>
                  <a:lnTo>
                    <a:pt x="2645" y="902"/>
                  </a:lnTo>
                  <a:lnTo>
                    <a:pt x="2620" y="860"/>
                  </a:lnTo>
                  <a:lnTo>
                    <a:pt x="2590" y="821"/>
                  </a:lnTo>
                  <a:close/>
                  <a:moveTo>
                    <a:pt x="2723" y="642"/>
                  </a:moveTo>
                  <a:lnTo>
                    <a:pt x="2706" y="667"/>
                  </a:lnTo>
                  <a:lnTo>
                    <a:pt x="2685" y="696"/>
                  </a:lnTo>
                  <a:lnTo>
                    <a:pt x="2662" y="728"/>
                  </a:lnTo>
                  <a:lnTo>
                    <a:pt x="2699" y="772"/>
                  </a:lnTo>
                  <a:lnTo>
                    <a:pt x="2730" y="818"/>
                  </a:lnTo>
                  <a:lnTo>
                    <a:pt x="2757" y="866"/>
                  </a:lnTo>
                  <a:lnTo>
                    <a:pt x="2780" y="917"/>
                  </a:lnTo>
                  <a:lnTo>
                    <a:pt x="2798" y="970"/>
                  </a:lnTo>
                  <a:lnTo>
                    <a:pt x="2812" y="1024"/>
                  </a:lnTo>
                  <a:lnTo>
                    <a:pt x="2820" y="1080"/>
                  </a:lnTo>
                  <a:lnTo>
                    <a:pt x="2822" y="1136"/>
                  </a:lnTo>
                  <a:lnTo>
                    <a:pt x="2822" y="1335"/>
                  </a:lnTo>
                  <a:lnTo>
                    <a:pt x="2867" y="1338"/>
                  </a:lnTo>
                  <a:lnTo>
                    <a:pt x="2910" y="1348"/>
                  </a:lnTo>
                  <a:lnTo>
                    <a:pt x="2952" y="1361"/>
                  </a:lnTo>
                  <a:lnTo>
                    <a:pt x="2991" y="1380"/>
                  </a:lnTo>
                  <a:lnTo>
                    <a:pt x="3026" y="1402"/>
                  </a:lnTo>
                  <a:lnTo>
                    <a:pt x="3060" y="1428"/>
                  </a:lnTo>
                  <a:lnTo>
                    <a:pt x="3045" y="1331"/>
                  </a:lnTo>
                  <a:lnTo>
                    <a:pt x="3023" y="1235"/>
                  </a:lnTo>
                  <a:lnTo>
                    <a:pt x="2996" y="1140"/>
                  </a:lnTo>
                  <a:lnTo>
                    <a:pt x="2964" y="1049"/>
                  </a:lnTo>
                  <a:lnTo>
                    <a:pt x="2925" y="961"/>
                  </a:lnTo>
                  <a:lnTo>
                    <a:pt x="2882" y="877"/>
                  </a:lnTo>
                  <a:lnTo>
                    <a:pt x="2834" y="795"/>
                  </a:lnTo>
                  <a:lnTo>
                    <a:pt x="2780" y="716"/>
                  </a:lnTo>
                  <a:lnTo>
                    <a:pt x="2723" y="642"/>
                  </a:lnTo>
                  <a:close/>
                  <a:moveTo>
                    <a:pt x="1952" y="478"/>
                  </a:moveTo>
                  <a:lnTo>
                    <a:pt x="1908" y="531"/>
                  </a:lnTo>
                  <a:lnTo>
                    <a:pt x="1860" y="585"/>
                  </a:lnTo>
                  <a:lnTo>
                    <a:pt x="1807" y="641"/>
                  </a:lnTo>
                  <a:lnTo>
                    <a:pt x="1751" y="699"/>
                  </a:lnTo>
                  <a:lnTo>
                    <a:pt x="1690" y="756"/>
                  </a:lnTo>
                  <a:lnTo>
                    <a:pt x="1624" y="813"/>
                  </a:lnTo>
                  <a:lnTo>
                    <a:pt x="1555" y="869"/>
                  </a:lnTo>
                  <a:lnTo>
                    <a:pt x="1481" y="925"/>
                  </a:lnTo>
                  <a:lnTo>
                    <a:pt x="1402" y="977"/>
                  </a:lnTo>
                  <a:lnTo>
                    <a:pt x="1319" y="1028"/>
                  </a:lnTo>
                  <a:lnTo>
                    <a:pt x="1230" y="1078"/>
                  </a:lnTo>
                  <a:lnTo>
                    <a:pt x="1142" y="1121"/>
                  </a:lnTo>
                  <a:lnTo>
                    <a:pt x="1055" y="1158"/>
                  </a:lnTo>
                  <a:lnTo>
                    <a:pt x="969" y="1192"/>
                  </a:lnTo>
                  <a:lnTo>
                    <a:pt x="885" y="1220"/>
                  </a:lnTo>
                  <a:lnTo>
                    <a:pt x="803" y="1244"/>
                  </a:lnTo>
                  <a:lnTo>
                    <a:pt x="725" y="1264"/>
                  </a:lnTo>
                  <a:lnTo>
                    <a:pt x="650" y="1281"/>
                  </a:lnTo>
                  <a:lnTo>
                    <a:pt x="579" y="1294"/>
                  </a:lnTo>
                  <a:lnTo>
                    <a:pt x="512" y="1305"/>
                  </a:lnTo>
                  <a:lnTo>
                    <a:pt x="450" y="1313"/>
                  </a:lnTo>
                  <a:lnTo>
                    <a:pt x="393" y="1319"/>
                  </a:lnTo>
                  <a:lnTo>
                    <a:pt x="342" y="1323"/>
                  </a:lnTo>
                  <a:lnTo>
                    <a:pt x="297" y="1325"/>
                  </a:lnTo>
                  <a:lnTo>
                    <a:pt x="275" y="1356"/>
                  </a:lnTo>
                  <a:lnTo>
                    <a:pt x="256" y="1384"/>
                  </a:lnTo>
                  <a:lnTo>
                    <a:pt x="238" y="1411"/>
                  </a:lnTo>
                  <a:lnTo>
                    <a:pt x="223" y="1433"/>
                  </a:lnTo>
                  <a:lnTo>
                    <a:pt x="256" y="1443"/>
                  </a:lnTo>
                  <a:lnTo>
                    <a:pt x="294" y="1455"/>
                  </a:lnTo>
                  <a:lnTo>
                    <a:pt x="338" y="1467"/>
                  </a:lnTo>
                  <a:lnTo>
                    <a:pt x="389" y="1479"/>
                  </a:lnTo>
                  <a:lnTo>
                    <a:pt x="443" y="1491"/>
                  </a:lnTo>
                  <a:lnTo>
                    <a:pt x="503" y="1503"/>
                  </a:lnTo>
                  <a:lnTo>
                    <a:pt x="567" y="1514"/>
                  </a:lnTo>
                  <a:lnTo>
                    <a:pt x="635" y="1524"/>
                  </a:lnTo>
                  <a:lnTo>
                    <a:pt x="707" y="1532"/>
                  </a:lnTo>
                  <a:lnTo>
                    <a:pt x="781" y="1537"/>
                  </a:lnTo>
                  <a:lnTo>
                    <a:pt x="860" y="1542"/>
                  </a:lnTo>
                  <a:lnTo>
                    <a:pt x="940" y="1543"/>
                  </a:lnTo>
                  <a:lnTo>
                    <a:pt x="1024" y="1541"/>
                  </a:lnTo>
                  <a:lnTo>
                    <a:pt x="1110" y="1534"/>
                  </a:lnTo>
                  <a:lnTo>
                    <a:pt x="1197" y="1525"/>
                  </a:lnTo>
                  <a:lnTo>
                    <a:pt x="1286" y="1510"/>
                  </a:lnTo>
                  <a:lnTo>
                    <a:pt x="1376" y="1491"/>
                  </a:lnTo>
                  <a:lnTo>
                    <a:pt x="1466" y="1468"/>
                  </a:lnTo>
                  <a:lnTo>
                    <a:pt x="1558" y="1439"/>
                  </a:lnTo>
                  <a:lnTo>
                    <a:pt x="1639" y="1408"/>
                  </a:lnTo>
                  <a:lnTo>
                    <a:pt x="1717" y="1374"/>
                  </a:lnTo>
                  <a:lnTo>
                    <a:pt x="1793" y="1336"/>
                  </a:lnTo>
                  <a:lnTo>
                    <a:pt x="1865" y="1297"/>
                  </a:lnTo>
                  <a:lnTo>
                    <a:pt x="1934" y="1255"/>
                  </a:lnTo>
                  <a:lnTo>
                    <a:pt x="2001" y="1210"/>
                  </a:lnTo>
                  <a:lnTo>
                    <a:pt x="2065" y="1165"/>
                  </a:lnTo>
                  <a:lnTo>
                    <a:pt x="2125" y="1117"/>
                  </a:lnTo>
                  <a:lnTo>
                    <a:pt x="2182" y="1070"/>
                  </a:lnTo>
                  <a:lnTo>
                    <a:pt x="2237" y="1023"/>
                  </a:lnTo>
                  <a:lnTo>
                    <a:pt x="2288" y="975"/>
                  </a:lnTo>
                  <a:lnTo>
                    <a:pt x="2336" y="928"/>
                  </a:lnTo>
                  <a:lnTo>
                    <a:pt x="2381" y="881"/>
                  </a:lnTo>
                  <a:lnTo>
                    <a:pt x="2423" y="836"/>
                  </a:lnTo>
                  <a:lnTo>
                    <a:pt x="2461" y="792"/>
                  </a:lnTo>
                  <a:lnTo>
                    <a:pt x="2496" y="750"/>
                  </a:lnTo>
                  <a:lnTo>
                    <a:pt x="2528" y="711"/>
                  </a:lnTo>
                  <a:lnTo>
                    <a:pt x="2557" y="674"/>
                  </a:lnTo>
                  <a:lnTo>
                    <a:pt x="2582" y="640"/>
                  </a:lnTo>
                  <a:lnTo>
                    <a:pt x="2603" y="610"/>
                  </a:lnTo>
                  <a:lnTo>
                    <a:pt x="2622" y="583"/>
                  </a:lnTo>
                  <a:lnTo>
                    <a:pt x="2588" y="574"/>
                  </a:lnTo>
                  <a:lnTo>
                    <a:pt x="2548" y="562"/>
                  </a:lnTo>
                  <a:lnTo>
                    <a:pt x="2501" y="551"/>
                  </a:lnTo>
                  <a:lnTo>
                    <a:pt x="2449" y="539"/>
                  </a:lnTo>
                  <a:lnTo>
                    <a:pt x="2393" y="528"/>
                  </a:lnTo>
                  <a:lnTo>
                    <a:pt x="2332" y="516"/>
                  </a:lnTo>
                  <a:lnTo>
                    <a:pt x="2266" y="506"/>
                  </a:lnTo>
                  <a:lnTo>
                    <a:pt x="2196" y="497"/>
                  </a:lnTo>
                  <a:lnTo>
                    <a:pt x="2123" y="490"/>
                  </a:lnTo>
                  <a:lnTo>
                    <a:pt x="2046" y="484"/>
                  </a:lnTo>
                  <a:lnTo>
                    <a:pt x="1967" y="481"/>
                  </a:lnTo>
                  <a:lnTo>
                    <a:pt x="1961" y="481"/>
                  </a:lnTo>
                  <a:lnTo>
                    <a:pt x="1957" y="480"/>
                  </a:lnTo>
                  <a:lnTo>
                    <a:pt x="1952" y="478"/>
                  </a:lnTo>
                  <a:close/>
                  <a:moveTo>
                    <a:pt x="2137" y="214"/>
                  </a:moveTo>
                  <a:lnTo>
                    <a:pt x="2124" y="237"/>
                  </a:lnTo>
                  <a:lnTo>
                    <a:pt x="2107" y="263"/>
                  </a:lnTo>
                  <a:lnTo>
                    <a:pt x="2087" y="294"/>
                  </a:lnTo>
                  <a:lnTo>
                    <a:pt x="2063" y="330"/>
                  </a:lnTo>
                  <a:lnTo>
                    <a:pt x="2036" y="368"/>
                  </a:lnTo>
                  <a:lnTo>
                    <a:pt x="2129" y="374"/>
                  </a:lnTo>
                  <a:lnTo>
                    <a:pt x="2218" y="383"/>
                  </a:lnTo>
                  <a:lnTo>
                    <a:pt x="2301" y="394"/>
                  </a:lnTo>
                  <a:lnTo>
                    <a:pt x="2378" y="406"/>
                  </a:lnTo>
                  <a:lnTo>
                    <a:pt x="2449" y="420"/>
                  </a:lnTo>
                  <a:lnTo>
                    <a:pt x="2513" y="435"/>
                  </a:lnTo>
                  <a:lnTo>
                    <a:pt x="2444" y="381"/>
                  </a:lnTo>
                  <a:lnTo>
                    <a:pt x="2372" y="333"/>
                  </a:lnTo>
                  <a:lnTo>
                    <a:pt x="2296" y="288"/>
                  </a:lnTo>
                  <a:lnTo>
                    <a:pt x="2218" y="249"/>
                  </a:lnTo>
                  <a:lnTo>
                    <a:pt x="2137" y="214"/>
                  </a:lnTo>
                  <a:close/>
                  <a:moveTo>
                    <a:pt x="2003" y="211"/>
                  </a:moveTo>
                  <a:lnTo>
                    <a:pt x="1959" y="214"/>
                  </a:lnTo>
                  <a:lnTo>
                    <a:pt x="1910" y="218"/>
                  </a:lnTo>
                  <a:lnTo>
                    <a:pt x="1855" y="225"/>
                  </a:lnTo>
                  <a:lnTo>
                    <a:pt x="1793" y="234"/>
                  </a:lnTo>
                  <a:lnTo>
                    <a:pt x="1728" y="244"/>
                  </a:lnTo>
                  <a:lnTo>
                    <a:pt x="1658" y="259"/>
                  </a:lnTo>
                  <a:lnTo>
                    <a:pt x="1584" y="275"/>
                  </a:lnTo>
                  <a:lnTo>
                    <a:pt x="1508" y="295"/>
                  </a:lnTo>
                  <a:lnTo>
                    <a:pt x="1428" y="319"/>
                  </a:lnTo>
                  <a:lnTo>
                    <a:pt x="1348" y="347"/>
                  </a:lnTo>
                  <a:lnTo>
                    <a:pt x="1265" y="378"/>
                  </a:lnTo>
                  <a:lnTo>
                    <a:pt x="1181" y="415"/>
                  </a:lnTo>
                  <a:lnTo>
                    <a:pt x="1097" y="456"/>
                  </a:lnTo>
                  <a:lnTo>
                    <a:pt x="1013" y="502"/>
                  </a:lnTo>
                  <a:lnTo>
                    <a:pt x="937" y="549"/>
                  </a:lnTo>
                  <a:lnTo>
                    <a:pt x="865" y="597"/>
                  </a:lnTo>
                  <a:lnTo>
                    <a:pt x="797" y="648"/>
                  </a:lnTo>
                  <a:lnTo>
                    <a:pt x="733" y="700"/>
                  </a:lnTo>
                  <a:lnTo>
                    <a:pt x="673" y="752"/>
                  </a:lnTo>
                  <a:lnTo>
                    <a:pt x="617" y="805"/>
                  </a:lnTo>
                  <a:lnTo>
                    <a:pt x="565" y="858"/>
                  </a:lnTo>
                  <a:lnTo>
                    <a:pt x="517" y="909"/>
                  </a:lnTo>
                  <a:lnTo>
                    <a:pt x="473" y="959"/>
                  </a:lnTo>
                  <a:lnTo>
                    <a:pt x="434" y="1009"/>
                  </a:lnTo>
                  <a:lnTo>
                    <a:pt x="397" y="1055"/>
                  </a:lnTo>
                  <a:lnTo>
                    <a:pt x="365" y="1099"/>
                  </a:lnTo>
                  <a:lnTo>
                    <a:pt x="336" y="1139"/>
                  </a:lnTo>
                  <a:lnTo>
                    <a:pt x="312" y="1176"/>
                  </a:lnTo>
                  <a:lnTo>
                    <a:pt x="291" y="1209"/>
                  </a:lnTo>
                  <a:lnTo>
                    <a:pt x="333" y="1206"/>
                  </a:lnTo>
                  <a:lnTo>
                    <a:pt x="381" y="1202"/>
                  </a:lnTo>
                  <a:lnTo>
                    <a:pt x="435" y="1197"/>
                  </a:lnTo>
                  <a:lnTo>
                    <a:pt x="493" y="1190"/>
                  </a:lnTo>
                  <a:lnTo>
                    <a:pt x="557" y="1179"/>
                  </a:lnTo>
                  <a:lnTo>
                    <a:pt x="625" y="1167"/>
                  </a:lnTo>
                  <a:lnTo>
                    <a:pt x="696" y="1151"/>
                  </a:lnTo>
                  <a:lnTo>
                    <a:pt x="772" y="1132"/>
                  </a:lnTo>
                  <a:lnTo>
                    <a:pt x="849" y="1109"/>
                  </a:lnTo>
                  <a:lnTo>
                    <a:pt x="929" y="1082"/>
                  </a:lnTo>
                  <a:lnTo>
                    <a:pt x="1011" y="1050"/>
                  </a:lnTo>
                  <a:lnTo>
                    <a:pt x="1093" y="1015"/>
                  </a:lnTo>
                  <a:lnTo>
                    <a:pt x="1177" y="974"/>
                  </a:lnTo>
                  <a:lnTo>
                    <a:pt x="1261" y="928"/>
                  </a:lnTo>
                  <a:lnTo>
                    <a:pt x="1333" y="885"/>
                  </a:lnTo>
                  <a:lnTo>
                    <a:pt x="1401" y="839"/>
                  </a:lnTo>
                  <a:lnTo>
                    <a:pt x="1466" y="791"/>
                  </a:lnTo>
                  <a:lnTo>
                    <a:pt x="1528" y="743"/>
                  </a:lnTo>
                  <a:lnTo>
                    <a:pt x="1585" y="692"/>
                  </a:lnTo>
                  <a:lnTo>
                    <a:pt x="1641" y="643"/>
                  </a:lnTo>
                  <a:lnTo>
                    <a:pt x="1692" y="593"/>
                  </a:lnTo>
                  <a:lnTo>
                    <a:pt x="1740" y="542"/>
                  </a:lnTo>
                  <a:lnTo>
                    <a:pt x="1785" y="494"/>
                  </a:lnTo>
                  <a:lnTo>
                    <a:pt x="1826" y="446"/>
                  </a:lnTo>
                  <a:lnTo>
                    <a:pt x="1864" y="401"/>
                  </a:lnTo>
                  <a:lnTo>
                    <a:pt x="1899" y="357"/>
                  </a:lnTo>
                  <a:lnTo>
                    <a:pt x="1930" y="315"/>
                  </a:lnTo>
                  <a:lnTo>
                    <a:pt x="1957" y="276"/>
                  </a:lnTo>
                  <a:lnTo>
                    <a:pt x="1982" y="242"/>
                  </a:lnTo>
                  <a:lnTo>
                    <a:pt x="2003" y="211"/>
                  </a:lnTo>
                  <a:close/>
                  <a:moveTo>
                    <a:pt x="1624" y="116"/>
                  </a:moveTo>
                  <a:lnTo>
                    <a:pt x="1530" y="119"/>
                  </a:lnTo>
                  <a:lnTo>
                    <a:pt x="1438" y="128"/>
                  </a:lnTo>
                  <a:lnTo>
                    <a:pt x="1348" y="143"/>
                  </a:lnTo>
                  <a:lnTo>
                    <a:pt x="1259" y="164"/>
                  </a:lnTo>
                  <a:lnTo>
                    <a:pt x="1172" y="191"/>
                  </a:lnTo>
                  <a:lnTo>
                    <a:pt x="1088" y="223"/>
                  </a:lnTo>
                  <a:lnTo>
                    <a:pt x="1005" y="260"/>
                  </a:lnTo>
                  <a:lnTo>
                    <a:pt x="927" y="303"/>
                  </a:lnTo>
                  <a:lnTo>
                    <a:pt x="850" y="350"/>
                  </a:lnTo>
                  <a:lnTo>
                    <a:pt x="777" y="401"/>
                  </a:lnTo>
                  <a:lnTo>
                    <a:pt x="706" y="458"/>
                  </a:lnTo>
                  <a:lnTo>
                    <a:pt x="640" y="517"/>
                  </a:lnTo>
                  <a:lnTo>
                    <a:pt x="576" y="582"/>
                  </a:lnTo>
                  <a:lnTo>
                    <a:pt x="517" y="650"/>
                  </a:lnTo>
                  <a:lnTo>
                    <a:pt x="462" y="723"/>
                  </a:lnTo>
                  <a:lnTo>
                    <a:pt x="410" y="799"/>
                  </a:lnTo>
                  <a:lnTo>
                    <a:pt x="364" y="879"/>
                  </a:lnTo>
                  <a:lnTo>
                    <a:pt x="323" y="960"/>
                  </a:lnTo>
                  <a:lnTo>
                    <a:pt x="364" y="908"/>
                  </a:lnTo>
                  <a:lnTo>
                    <a:pt x="412" y="852"/>
                  </a:lnTo>
                  <a:lnTo>
                    <a:pt x="463" y="796"/>
                  </a:lnTo>
                  <a:lnTo>
                    <a:pt x="518" y="738"/>
                  </a:lnTo>
                  <a:lnTo>
                    <a:pt x="579" y="681"/>
                  </a:lnTo>
                  <a:lnTo>
                    <a:pt x="644" y="622"/>
                  </a:lnTo>
                  <a:lnTo>
                    <a:pt x="714" y="564"/>
                  </a:lnTo>
                  <a:lnTo>
                    <a:pt x="790" y="509"/>
                  </a:lnTo>
                  <a:lnTo>
                    <a:pt x="869" y="453"/>
                  </a:lnTo>
                  <a:lnTo>
                    <a:pt x="955" y="401"/>
                  </a:lnTo>
                  <a:lnTo>
                    <a:pt x="1041" y="354"/>
                  </a:lnTo>
                  <a:lnTo>
                    <a:pt x="1127" y="312"/>
                  </a:lnTo>
                  <a:lnTo>
                    <a:pt x="1212" y="274"/>
                  </a:lnTo>
                  <a:lnTo>
                    <a:pt x="1296" y="242"/>
                  </a:lnTo>
                  <a:lnTo>
                    <a:pt x="1378" y="213"/>
                  </a:lnTo>
                  <a:lnTo>
                    <a:pt x="1459" y="187"/>
                  </a:lnTo>
                  <a:lnTo>
                    <a:pt x="1537" y="167"/>
                  </a:lnTo>
                  <a:lnTo>
                    <a:pt x="1612" y="149"/>
                  </a:lnTo>
                  <a:lnTo>
                    <a:pt x="1684" y="134"/>
                  </a:lnTo>
                  <a:lnTo>
                    <a:pt x="1751" y="121"/>
                  </a:lnTo>
                  <a:lnTo>
                    <a:pt x="1688" y="117"/>
                  </a:lnTo>
                  <a:lnTo>
                    <a:pt x="1624" y="116"/>
                  </a:lnTo>
                  <a:close/>
                  <a:moveTo>
                    <a:pt x="1624" y="0"/>
                  </a:moveTo>
                  <a:lnTo>
                    <a:pt x="1723" y="3"/>
                  </a:lnTo>
                  <a:lnTo>
                    <a:pt x="1820" y="13"/>
                  </a:lnTo>
                  <a:lnTo>
                    <a:pt x="1915" y="28"/>
                  </a:lnTo>
                  <a:lnTo>
                    <a:pt x="2008" y="49"/>
                  </a:lnTo>
                  <a:lnTo>
                    <a:pt x="2100" y="76"/>
                  </a:lnTo>
                  <a:lnTo>
                    <a:pt x="2189" y="109"/>
                  </a:lnTo>
                  <a:lnTo>
                    <a:pt x="2276" y="148"/>
                  </a:lnTo>
                  <a:lnTo>
                    <a:pt x="2359" y="191"/>
                  </a:lnTo>
                  <a:lnTo>
                    <a:pt x="2440" y="239"/>
                  </a:lnTo>
                  <a:lnTo>
                    <a:pt x="2517" y="291"/>
                  </a:lnTo>
                  <a:lnTo>
                    <a:pt x="2592" y="349"/>
                  </a:lnTo>
                  <a:lnTo>
                    <a:pt x="2663" y="411"/>
                  </a:lnTo>
                  <a:lnTo>
                    <a:pt x="2730" y="475"/>
                  </a:lnTo>
                  <a:lnTo>
                    <a:pt x="2793" y="546"/>
                  </a:lnTo>
                  <a:lnTo>
                    <a:pt x="2853" y="619"/>
                  </a:lnTo>
                  <a:lnTo>
                    <a:pt x="2908" y="696"/>
                  </a:lnTo>
                  <a:lnTo>
                    <a:pt x="2958" y="777"/>
                  </a:lnTo>
                  <a:lnTo>
                    <a:pt x="3005" y="861"/>
                  </a:lnTo>
                  <a:lnTo>
                    <a:pt x="3046" y="948"/>
                  </a:lnTo>
                  <a:lnTo>
                    <a:pt x="3083" y="1037"/>
                  </a:lnTo>
                  <a:lnTo>
                    <a:pt x="3114" y="1129"/>
                  </a:lnTo>
                  <a:lnTo>
                    <a:pt x="3140" y="1224"/>
                  </a:lnTo>
                  <a:lnTo>
                    <a:pt x="3161" y="1321"/>
                  </a:lnTo>
                  <a:lnTo>
                    <a:pt x="3176" y="1420"/>
                  </a:lnTo>
                  <a:lnTo>
                    <a:pt x="3186" y="1521"/>
                  </a:lnTo>
                  <a:lnTo>
                    <a:pt x="3189" y="1623"/>
                  </a:lnTo>
                  <a:lnTo>
                    <a:pt x="3189" y="1694"/>
                  </a:lnTo>
                  <a:lnTo>
                    <a:pt x="3188" y="1769"/>
                  </a:lnTo>
                  <a:lnTo>
                    <a:pt x="3187" y="1845"/>
                  </a:lnTo>
                  <a:lnTo>
                    <a:pt x="3186" y="1922"/>
                  </a:lnTo>
                  <a:lnTo>
                    <a:pt x="3182" y="2000"/>
                  </a:lnTo>
                  <a:lnTo>
                    <a:pt x="3180" y="2079"/>
                  </a:lnTo>
                  <a:lnTo>
                    <a:pt x="3176" y="2158"/>
                  </a:lnTo>
                  <a:lnTo>
                    <a:pt x="3171" y="2238"/>
                  </a:lnTo>
                  <a:lnTo>
                    <a:pt x="3166" y="2317"/>
                  </a:lnTo>
                  <a:lnTo>
                    <a:pt x="3158" y="2395"/>
                  </a:lnTo>
                  <a:lnTo>
                    <a:pt x="3150" y="2473"/>
                  </a:lnTo>
                  <a:lnTo>
                    <a:pt x="3140" y="2548"/>
                  </a:lnTo>
                  <a:lnTo>
                    <a:pt x="3130" y="2622"/>
                  </a:lnTo>
                  <a:lnTo>
                    <a:pt x="3117" y="2695"/>
                  </a:lnTo>
                  <a:lnTo>
                    <a:pt x="3104" y="2764"/>
                  </a:lnTo>
                  <a:lnTo>
                    <a:pt x="3088" y="2831"/>
                  </a:lnTo>
                  <a:lnTo>
                    <a:pt x="3071" y="2895"/>
                  </a:lnTo>
                  <a:lnTo>
                    <a:pt x="3051" y="2955"/>
                  </a:lnTo>
                  <a:lnTo>
                    <a:pt x="3031" y="3013"/>
                  </a:lnTo>
                  <a:lnTo>
                    <a:pt x="3008" y="3065"/>
                  </a:lnTo>
                  <a:lnTo>
                    <a:pt x="2982" y="3114"/>
                  </a:lnTo>
                  <a:lnTo>
                    <a:pt x="2955" y="3158"/>
                  </a:lnTo>
                  <a:lnTo>
                    <a:pt x="2926" y="3195"/>
                  </a:lnTo>
                  <a:lnTo>
                    <a:pt x="2913" y="3207"/>
                  </a:lnTo>
                  <a:lnTo>
                    <a:pt x="2899" y="3213"/>
                  </a:lnTo>
                  <a:lnTo>
                    <a:pt x="2882" y="3216"/>
                  </a:lnTo>
                  <a:lnTo>
                    <a:pt x="2881" y="3216"/>
                  </a:lnTo>
                  <a:lnTo>
                    <a:pt x="2369" y="3203"/>
                  </a:lnTo>
                  <a:lnTo>
                    <a:pt x="2367" y="3203"/>
                  </a:lnTo>
                  <a:lnTo>
                    <a:pt x="2363" y="3202"/>
                  </a:lnTo>
                  <a:lnTo>
                    <a:pt x="2302" y="3248"/>
                  </a:lnTo>
                  <a:lnTo>
                    <a:pt x="2236" y="3288"/>
                  </a:lnTo>
                  <a:lnTo>
                    <a:pt x="2169" y="3326"/>
                  </a:lnTo>
                  <a:lnTo>
                    <a:pt x="2098" y="3360"/>
                  </a:lnTo>
                  <a:lnTo>
                    <a:pt x="2024" y="3388"/>
                  </a:lnTo>
                  <a:lnTo>
                    <a:pt x="1950" y="3412"/>
                  </a:lnTo>
                  <a:lnTo>
                    <a:pt x="1872" y="3431"/>
                  </a:lnTo>
                  <a:lnTo>
                    <a:pt x="1793" y="3444"/>
                  </a:lnTo>
                  <a:lnTo>
                    <a:pt x="1712" y="3453"/>
                  </a:lnTo>
                  <a:lnTo>
                    <a:pt x="1629" y="3456"/>
                  </a:lnTo>
                  <a:lnTo>
                    <a:pt x="1588" y="3456"/>
                  </a:lnTo>
                  <a:lnTo>
                    <a:pt x="1499" y="3453"/>
                  </a:lnTo>
                  <a:lnTo>
                    <a:pt x="1413" y="3443"/>
                  </a:lnTo>
                  <a:lnTo>
                    <a:pt x="1328" y="3428"/>
                  </a:lnTo>
                  <a:lnTo>
                    <a:pt x="1246" y="3406"/>
                  </a:lnTo>
                  <a:lnTo>
                    <a:pt x="1167" y="3379"/>
                  </a:lnTo>
                  <a:lnTo>
                    <a:pt x="1089" y="3346"/>
                  </a:lnTo>
                  <a:lnTo>
                    <a:pt x="1015" y="3308"/>
                  </a:lnTo>
                  <a:lnTo>
                    <a:pt x="944" y="3266"/>
                  </a:lnTo>
                  <a:lnTo>
                    <a:pt x="875" y="3219"/>
                  </a:lnTo>
                  <a:lnTo>
                    <a:pt x="811" y="3167"/>
                  </a:lnTo>
                  <a:lnTo>
                    <a:pt x="811" y="3167"/>
                  </a:lnTo>
                  <a:lnTo>
                    <a:pt x="325" y="3155"/>
                  </a:lnTo>
                  <a:lnTo>
                    <a:pt x="309" y="3153"/>
                  </a:lnTo>
                  <a:lnTo>
                    <a:pt x="294" y="3146"/>
                  </a:lnTo>
                  <a:lnTo>
                    <a:pt x="282" y="3134"/>
                  </a:lnTo>
                  <a:lnTo>
                    <a:pt x="253" y="3095"/>
                  </a:lnTo>
                  <a:lnTo>
                    <a:pt x="227" y="3051"/>
                  </a:lnTo>
                  <a:lnTo>
                    <a:pt x="203" y="3000"/>
                  </a:lnTo>
                  <a:lnTo>
                    <a:pt x="182" y="2947"/>
                  </a:lnTo>
                  <a:lnTo>
                    <a:pt x="163" y="2889"/>
                  </a:lnTo>
                  <a:lnTo>
                    <a:pt x="147" y="2829"/>
                  </a:lnTo>
                  <a:lnTo>
                    <a:pt x="132" y="2764"/>
                  </a:lnTo>
                  <a:lnTo>
                    <a:pt x="118" y="2698"/>
                  </a:lnTo>
                  <a:lnTo>
                    <a:pt x="107" y="2629"/>
                  </a:lnTo>
                  <a:lnTo>
                    <a:pt x="97" y="2558"/>
                  </a:lnTo>
                  <a:lnTo>
                    <a:pt x="89" y="2486"/>
                  </a:lnTo>
                  <a:lnTo>
                    <a:pt x="82" y="2414"/>
                  </a:lnTo>
                  <a:lnTo>
                    <a:pt x="75" y="2341"/>
                  </a:lnTo>
                  <a:lnTo>
                    <a:pt x="71" y="2267"/>
                  </a:lnTo>
                  <a:lnTo>
                    <a:pt x="67" y="2195"/>
                  </a:lnTo>
                  <a:lnTo>
                    <a:pt x="65" y="2124"/>
                  </a:lnTo>
                  <a:lnTo>
                    <a:pt x="63" y="2054"/>
                  </a:lnTo>
                  <a:lnTo>
                    <a:pt x="61" y="1985"/>
                  </a:lnTo>
                  <a:lnTo>
                    <a:pt x="60" y="1919"/>
                  </a:lnTo>
                  <a:lnTo>
                    <a:pt x="39" y="1881"/>
                  </a:lnTo>
                  <a:lnTo>
                    <a:pt x="22" y="1841"/>
                  </a:lnTo>
                  <a:lnTo>
                    <a:pt x="10" y="1799"/>
                  </a:lnTo>
                  <a:lnTo>
                    <a:pt x="2" y="1755"/>
                  </a:lnTo>
                  <a:lnTo>
                    <a:pt x="0" y="1710"/>
                  </a:lnTo>
                  <a:lnTo>
                    <a:pt x="3" y="1663"/>
                  </a:lnTo>
                  <a:lnTo>
                    <a:pt x="12" y="1617"/>
                  </a:lnTo>
                  <a:lnTo>
                    <a:pt x="25" y="1573"/>
                  </a:lnTo>
                  <a:lnTo>
                    <a:pt x="44" y="1530"/>
                  </a:lnTo>
                  <a:lnTo>
                    <a:pt x="68" y="1490"/>
                  </a:lnTo>
                  <a:lnTo>
                    <a:pt x="71" y="1427"/>
                  </a:lnTo>
                  <a:lnTo>
                    <a:pt x="86" y="1327"/>
                  </a:lnTo>
                  <a:lnTo>
                    <a:pt x="107" y="1228"/>
                  </a:lnTo>
                  <a:lnTo>
                    <a:pt x="133" y="1132"/>
                  </a:lnTo>
                  <a:lnTo>
                    <a:pt x="164" y="1039"/>
                  </a:lnTo>
                  <a:lnTo>
                    <a:pt x="201" y="948"/>
                  </a:lnTo>
                  <a:lnTo>
                    <a:pt x="243" y="860"/>
                  </a:lnTo>
                  <a:lnTo>
                    <a:pt x="290" y="776"/>
                  </a:lnTo>
                  <a:lnTo>
                    <a:pt x="341" y="695"/>
                  </a:lnTo>
                  <a:lnTo>
                    <a:pt x="397" y="618"/>
                  </a:lnTo>
                  <a:lnTo>
                    <a:pt x="457" y="544"/>
                  </a:lnTo>
                  <a:lnTo>
                    <a:pt x="520" y="473"/>
                  </a:lnTo>
                  <a:lnTo>
                    <a:pt x="587" y="407"/>
                  </a:lnTo>
                  <a:lnTo>
                    <a:pt x="659" y="347"/>
                  </a:lnTo>
                  <a:lnTo>
                    <a:pt x="733" y="289"/>
                  </a:lnTo>
                  <a:lnTo>
                    <a:pt x="812" y="237"/>
                  </a:lnTo>
                  <a:lnTo>
                    <a:pt x="892" y="189"/>
                  </a:lnTo>
                  <a:lnTo>
                    <a:pt x="976" y="146"/>
                  </a:lnTo>
                  <a:lnTo>
                    <a:pt x="1062" y="108"/>
                  </a:lnTo>
                  <a:lnTo>
                    <a:pt x="1151" y="76"/>
                  </a:lnTo>
                  <a:lnTo>
                    <a:pt x="1242" y="49"/>
                  </a:lnTo>
                  <a:lnTo>
                    <a:pt x="1334" y="28"/>
                  </a:lnTo>
                  <a:lnTo>
                    <a:pt x="1429" y="13"/>
                  </a:lnTo>
                  <a:lnTo>
                    <a:pt x="1526" y="3"/>
                  </a:lnTo>
                  <a:lnTo>
                    <a:pt x="162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555A2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1B40D92-B411-4753-8FBD-9B01410DCEA6}"/>
              </a:ext>
            </a:extLst>
          </p:cNvPr>
          <p:cNvSpPr txBox="1"/>
          <p:nvPr/>
        </p:nvSpPr>
        <p:spPr>
          <a:xfrm>
            <a:off x="1217501" y="3630133"/>
            <a:ext cx="1613391" cy="300082"/>
          </a:xfrm>
          <a:prstGeom prst="rect">
            <a:avLst/>
          </a:prstGeom>
          <a:solidFill>
            <a:srgbClr val="1F1C49"/>
          </a:solidFill>
        </p:spPr>
        <p:txBody>
          <a:bodyPr wrap="none" rtlCol="0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we’ve learned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99582CA-126F-404F-9FC9-7ECDC03FC8CD}"/>
              </a:ext>
            </a:extLst>
          </p:cNvPr>
          <p:cNvGrpSpPr/>
          <p:nvPr/>
        </p:nvGrpSpPr>
        <p:grpSpPr>
          <a:xfrm>
            <a:off x="8752792" y="2656010"/>
            <a:ext cx="1070672" cy="203033"/>
            <a:chOff x="11104326" y="3541346"/>
            <a:chExt cx="1427563" cy="270711"/>
          </a:xfrm>
        </p:grpSpPr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989C2FD-4817-465F-BD19-699F48F069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104326" y="3676702"/>
              <a:ext cx="1427563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FF8D4D7E-308E-4BF7-81C5-57E5D0CBFEDD}"/>
                </a:ext>
              </a:extLst>
            </p:cNvPr>
            <p:cNvCxnSpPr/>
            <p:nvPr/>
          </p:nvCxnSpPr>
          <p:spPr>
            <a:xfrm>
              <a:off x="11107840" y="3541346"/>
              <a:ext cx="0" cy="270711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3D16DAC-D9E0-4EDE-AF15-4C11081FE0E8}"/>
              </a:ext>
            </a:extLst>
          </p:cNvPr>
          <p:cNvGrpSpPr/>
          <p:nvPr/>
        </p:nvGrpSpPr>
        <p:grpSpPr>
          <a:xfrm>
            <a:off x="-581025" y="2979118"/>
            <a:ext cx="2865766" cy="390232"/>
            <a:chOff x="-774700" y="3972157"/>
            <a:chExt cx="3821021" cy="520309"/>
          </a:xfrm>
        </p:grpSpPr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D36807A5-7122-4BD5-921D-D072A0A3DB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774700" y="4284268"/>
              <a:ext cx="3657600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5" name="Rounded Rectangle 207">
              <a:extLst>
                <a:ext uri="{FF2B5EF4-FFF2-40B4-BE49-F238E27FC236}">
                  <a16:creationId xmlns:a16="http://schemas.microsoft.com/office/drawing/2014/main" id="{57882A27-DA16-4836-9E22-297E1341CA22}"/>
                </a:ext>
              </a:extLst>
            </p:cNvPr>
            <p:cNvSpPr/>
            <p:nvPr/>
          </p:nvSpPr>
          <p:spPr>
            <a:xfrm>
              <a:off x="583657" y="4150620"/>
              <a:ext cx="1737360" cy="26729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NDERSTAND</a:t>
              </a:r>
            </a:p>
          </p:txBody>
        </p:sp>
        <p:sp>
          <p:nvSpPr>
            <p:cNvPr id="137" name="Arc 136">
              <a:extLst>
                <a:ext uri="{FF2B5EF4-FFF2-40B4-BE49-F238E27FC236}">
                  <a16:creationId xmlns:a16="http://schemas.microsoft.com/office/drawing/2014/main" id="{8F24AC9A-1DF1-4174-8040-94B16E5698A5}"/>
                </a:ext>
              </a:extLst>
            </p:cNvPr>
            <p:cNvSpPr/>
            <p:nvPr/>
          </p:nvSpPr>
          <p:spPr>
            <a:xfrm rot="19736199" flipH="1">
              <a:off x="2855788" y="3972157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BCC99B30-7AF5-4134-88FB-3DFBDD1B60E7}"/>
              </a:ext>
            </a:extLst>
          </p:cNvPr>
          <p:cNvSpPr txBox="1"/>
          <p:nvPr/>
        </p:nvSpPr>
        <p:spPr>
          <a:xfrm>
            <a:off x="6783721" y="2462127"/>
            <a:ext cx="416385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srgbClr val="00B0F0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=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58D2C56-05A6-4295-A1E8-A08B20940B9D}"/>
              </a:ext>
            </a:extLst>
          </p:cNvPr>
          <p:cNvSpPr txBox="1"/>
          <p:nvPr/>
        </p:nvSpPr>
        <p:spPr>
          <a:xfrm>
            <a:off x="7079531" y="2619027"/>
            <a:ext cx="1675267" cy="300082"/>
          </a:xfrm>
          <a:prstGeom prst="rect">
            <a:avLst/>
          </a:prstGeom>
          <a:solidFill>
            <a:srgbClr val="1F1C49"/>
          </a:solidFill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we understand.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790B4E8F-BDA5-40AF-9578-5493E6356BC6}"/>
              </a:ext>
            </a:extLst>
          </p:cNvPr>
          <p:cNvSpPr txBox="1"/>
          <p:nvPr/>
        </p:nvSpPr>
        <p:spPr>
          <a:xfrm>
            <a:off x="5129606" y="2619027"/>
            <a:ext cx="1798377" cy="300082"/>
          </a:xfrm>
          <a:prstGeom prst="rect">
            <a:avLst/>
          </a:prstGeom>
          <a:solidFill>
            <a:srgbClr val="1F1C49"/>
          </a:solidFill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hat we already know.</a:t>
            </a:r>
          </a:p>
        </p:txBody>
      </p:sp>
      <p:sp>
        <p:nvSpPr>
          <p:cNvPr id="76" name="Title 7">
            <a:extLst>
              <a:ext uri="{FF2B5EF4-FFF2-40B4-BE49-F238E27FC236}">
                <a16:creationId xmlns:a16="http://schemas.microsoft.com/office/drawing/2014/main" id="{0B062372-89BD-4FDF-8B26-553E48445C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BAE2F96-4183-488F-BA3B-BE9890422BAC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4ABF6A1C-755B-4F4D-8862-7D65DA0EA64D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1055495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4" grpId="0"/>
      <p:bldP spid="135" grpId="0" animBg="1"/>
      <p:bldP spid="1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CF2072AD-2792-4C89-97C7-313584F8B7C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3399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CF2072AD-2792-4C89-97C7-313584F8B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F35B49BF-D520-4B7D-8BD1-96A332F7413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50009" y="2435131"/>
            <a:ext cx="573356" cy="623114"/>
          </a:xfrm>
          <a:prstGeom prst="bentConnector2">
            <a:avLst/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B64296DE-EBB4-4263-8641-B7C8BD9983D1}"/>
              </a:ext>
            </a:extLst>
          </p:cNvPr>
          <p:cNvSpPr/>
          <p:nvPr/>
        </p:nvSpPr>
        <p:spPr>
          <a:xfrm>
            <a:off x="2762757" y="2241679"/>
            <a:ext cx="1031696" cy="1031696"/>
          </a:xfrm>
          <a:prstGeom prst="ellipse">
            <a:avLst/>
          </a:prstGeom>
          <a:solidFill>
            <a:srgbClr val="1F1C49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3" name="Oval 112" hidden="1">
            <a:extLst>
              <a:ext uri="{FF2B5EF4-FFF2-40B4-BE49-F238E27FC236}">
                <a16:creationId xmlns:a16="http://schemas.microsoft.com/office/drawing/2014/main" id="{2797C6C3-F633-4B96-80CE-B5E974318210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7" name="TextBox 136" hidden="1">
            <a:extLst>
              <a:ext uri="{FF2B5EF4-FFF2-40B4-BE49-F238E27FC236}">
                <a16:creationId xmlns:a16="http://schemas.microsoft.com/office/drawing/2014/main" id="{C43047CF-B5CA-4F44-BDA3-3DA9F1FCF113}"/>
              </a:ext>
            </a:extLst>
          </p:cNvPr>
          <p:cNvSpPr txBox="1"/>
          <p:nvPr/>
        </p:nvSpPr>
        <p:spPr>
          <a:xfrm rot="18797192">
            <a:off x="1314957" y="1985905"/>
            <a:ext cx="555610" cy="173802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30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CID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A30A57F-3D46-408C-8F28-836FFBCF5807}"/>
              </a:ext>
            </a:extLst>
          </p:cNvPr>
          <p:cNvSpPr/>
          <p:nvPr/>
        </p:nvSpPr>
        <p:spPr>
          <a:xfrm>
            <a:off x="3081774" y="2170312"/>
            <a:ext cx="189647" cy="194983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6C41C28-C482-4FED-AC0E-CA8D19855C13}"/>
              </a:ext>
            </a:extLst>
          </p:cNvPr>
          <p:cNvGrpSpPr/>
          <p:nvPr/>
        </p:nvGrpSpPr>
        <p:grpSpPr>
          <a:xfrm>
            <a:off x="2362699" y="1116728"/>
            <a:ext cx="1120043" cy="844467"/>
            <a:chOff x="3224529" y="1673289"/>
            <a:chExt cx="1493391" cy="1125956"/>
          </a:xfrm>
        </p:grpSpPr>
        <p:sp>
          <p:nvSpPr>
            <p:cNvPr id="12" name="Thought Bubble: Cloud 11">
              <a:extLst>
                <a:ext uri="{FF2B5EF4-FFF2-40B4-BE49-F238E27FC236}">
                  <a16:creationId xmlns:a16="http://schemas.microsoft.com/office/drawing/2014/main" id="{15A8F885-E51A-43AB-B7BF-99E2914F91E2}"/>
                </a:ext>
              </a:extLst>
            </p:cNvPr>
            <p:cNvSpPr/>
            <p:nvPr/>
          </p:nvSpPr>
          <p:spPr>
            <a:xfrm>
              <a:off x="3224529" y="1673289"/>
              <a:ext cx="1493391" cy="1125956"/>
            </a:xfrm>
            <a:prstGeom prst="cloudCallout">
              <a:avLst>
                <a:gd name="adj1" fmla="val 24080"/>
                <a:gd name="adj2" fmla="val 91172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4D9D2321-D4B4-4B0F-ACA5-631504E97B7F}"/>
                </a:ext>
              </a:extLst>
            </p:cNvPr>
            <p:cNvSpPr/>
            <p:nvPr/>
          </p:nvSpPr>
          <p:spPr>
            <a:xfrm>
              <a:off x="3434754" y="1829772"/>
              <a:ext cx="1145354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What’s our best, next action?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978A1D3-079F-4841-A322-81EECC433F90}"/>
              </a:ext>
            </a:extLst>
          </p:cNvPr>
          <p:cNvGrpSpPr/>
          <p:nvPr/>
        </p:nvGrpSpPr>
        <p:grpSpPr>
          <a:xfrm>
            <a:off x="-342901" y="2659287"/>
            <a:ext cx="2948940" cy="200472"/>
            <a:chOff x="-457201" y="3545716"/>
            <a:chExt cx="3931920" cy="267296"/>
          </a:xfrm>
          <a:solidFill>
            <a:schemeClr val="accent1"/>
          </a:solidFill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5EAADA0-A28B-4494-8040-F2119F67C6D7}"/>
                </a:ext>
              </a:extLst>
            </p:cNvPr>
            <p:cNvCxnSpPr>
              <a:cxnSpLocks/>
            </p:cNvCxnSpPr>
            <p:nvPr/>
          </p:nvCxnSpPr>
          <p:spPr>
            <a:xfrm>
              <a:off x="-457201" y="3676702"/>
              <a:ext cx="3931920" cy="0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7" name="Rounded Rectangle 207">
              <a:extLst>
                <a:ext uri="{FF2B5EF4-FFF2-40B4-BE49-F238E27FC236}">
                  <a16:creationId xmlns:a16="http://schemas.microsoft.com/office/drawing/2014/main" id="{2988ED35-CA7E-4C44-A2BD-9F6278962104}"/>
                </a:ext>
              </a:extLst>
            </p:cNvPr>
            <p:cNvSpPr/>
            <p:nvPr/>
          </p:nvSpPr>
          <p:spPr>
            <a:xfrm>
              <a:off x="544747" y="3545716"/>
              <a:ext cx="1737360" cy="267296"/>
            </a:xfrm>
            <a:prstGeom prst="roundRect">
              <a:avLst>
                <a:gd name="adj" fmla="val 50000"/>
              </a:avLst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CIDE</a:t>
              </a: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341AD86-DFA0-4AFB-B459-1D63C7581347}"/>
              </a:ext>
            </a:extLst>
          </p:cNvPr>
          <p:cNvSpPr/>
          <p:nvPr/>
        </p:nvSpPr>
        <p:spPr>
          <a:xfrm>
            <a:off x="5604497" y="1254967"/>
            <a:ext cx="1447800" cy="684909"/>
          </a:xfrm>
          <a:prstGeom prst="roundRect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2BA11A3A-7B64-46CF-83A4-311C07ED88BF}"/>
              </a:ext>
            </a:extLst>
          </p:cNvPr>
          <p:cNvSpPr/>
          <p:nvPr/>
        </p:nvSpPr>
        <p:spPr>
          <a:xfrm>
            <a:off x="5604497" y="2117556"/>
            <a:ext cx="1447800" cy="684909"/>
          </a:xfrm>
          <a:prstGeom prst="roundRect">
            <a:avLst/>
          </a:prstGeom>
          <a:solidFill>
            <a:srgbClr val="1F1C49"/>
          </a:solidFill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7F11B364-8C83-42EA-9F02-24103B6B5D53}"/>
              </a:ext>
            </a:extLst>
          </p:cNvPr>
          <p:cNvSpPr/>
          <p:nvPr/>
        </p:nvSpPr>
        <p:spPr>
          <a:xfrm>
            <a:off x="5604497" y="2980145"/>
            <a:ext cx="1447800" cy="684909"/>
          </a:xfrm>
          <a:prstGeom prst="roundRect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92E7FC16-664F-492F-8B98-3B2651445D8A}"/>
              </a:ext>
            </a:extLst>
          </p:cNvPr>
          <p:cNvSpPr/>
          <p:nvPr/>
        </p:nvSpPr>
        <p:spPr>
          <a:xfrm>
            <a:off x="5604497" y="3842734"/>
            <a:ext cx="1447800" cy="684909"/>
          </a:xfrm>
          <a:prstGeom prst="roundRect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7A38DD4-99D7-4466-828A-4A478520CF7D}"/>
              </a:ext>
            </a:extLst>
          </p:cNvPr>
          <p:cNvSpPr/>
          <p:nvPr/>
        </p:nvSpPr>
        <p:spPr>
          <a:xfrm>
            <a:off x="5823608" y="1389672"/>
            <a:ext cx="1009579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ather more data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38FA74-C720-4985-BB50-FAEA4E9F0C44}"/>
              </a:ext>
            </a:extLst>
          </p:cNvPr>
          <p:cNvSpPr/>
          <p:nvPr/>
        </p:nvSpPr>
        <p:spPr>
          <a:xfrm>
            <a:off x="5823607" y="2252261"/>
            <a:ext cx="1146285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fer them advic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1DAD4B-183D-4AB1-8E50-C8CAA177816D}"/>
              </a:ext>
            </a:extLst>
          </p:cNvPr>
          <p:cNvSpPr/>
          <p:nvPr/>
        </p:nvSpPr>
        <p:spPr>
          <a:xfrm>
            <a:off x="5823608" y="3114850"/>
            <a:ext cx="1146284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fer a compliment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44D2B27-0B4D-4AA2-8820-4FEC7CC8947C}"/>
              </a:ext>
            </a:extLst>
          </p:cNvPr>
          <p:cNvSpPr/>
          <p:nvPr/>
        </p:nvSpPr>
        <p:spPr>
          <a:xfrm>
            <a:off x="5823608" y="3977439"/>
            <a:ext cx="1032167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ffer a </a:t>
            </a:r>
            <a:b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</a:b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2AD1D1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kind word.</a:t>
            </a:r>
          </a:p>
        </p:txBody>
      </p:sp>
      <p:sp>
        <p:nvSpPr>
          <p:cNvPr id="21" name="Left Bracket 20">
            <a:extLst>
              <a:ext uri="{FF2B5EF4-FFF2-40B4-BE49-F238E27FC236}">
                <a16:creationId xmlns:a16="http://schemas.microsoft.com/office/drawing/2014/main" id="{FDCC9636-6345-4B82-B4B5-B834C147C89B}"/>
              </a:ext>
            </a:extLst>
          </p:cNvPr>
          <p:cNvSpPr/>
          <p:nvPr/>
        </p:nvSpPr>
        <p:spPr>
          <a:xfrm>
            <a:off x="5123638" y="3354859"/>
            <a:ext cx="447392" cy="857879"/>
          </a:xfrm>
          <a:prstGeom prst="leftBracket">
            <a:avLst/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B9A24279-2015-4156-ACF7-90F0D4313587}"/>
              </a:ext>
            </a:extLst>
          </p:cNvPr>
          <p:cNvCxnSpPr>
            <a:cxnSpLocks/>
            <a:stCxn id="6" idx="1"/>
            <a:endCxn id="8" idx="6"/>
          </p:cNvCxnSpPr>
          <p:nvPr/>
        </p:nvCxnSpPr>
        <p:spPr>
          <a:xfrm rot="10800000" flipV="1">
            <a:off x="3794453" y="1597421"/>
            <a:ext cx="1810044" cy="1160105"/>
          </a:xfrm>
          <a:prstGeom prst="bentConnector3">
            <a:avLst>
              <a:gd name="adj1" fmla="val 79469"/>
            </a:avLst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Box 134">
            <a:extLst>
              <a:ext uri="{FF2B5EF4-FFF2-40B4-BE49-F238E27FC236}">
                <a16:creationId xmlns:a16="http://schemas.microsoft.com/office/drawing/2014/main" id="{EE9A35FF-DEC5-4239-842B-B9E3A77E4C62}"/>
              </a:ext>
            </a:extLst>
          </p:cNvPr>
          <p:cNvSpPr txBox="1"/>
          <p:nvPr/>
        </p:nvSpPr>
        <p:spPr>
          <a:xfrm>
            <a:off x="4592873" y="1413972"/>
            <a:ext cx="712551" cy="415498"/>
          </a:xfrm>
          <a:prstGeom prst="rect">
            <a:avLst/>
          </a:prstGeom>
          <a:solidFill>
            <a:srgbClr val="1F1C49"/>
          </a:solidFill>
        </p:spPr>
        <p:txBody>
          <a:bodyPr wrap="square" rtlCol="0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ntinue to listen.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FD34DF85-CFD4-4093-AF0C-4F8D7632FA13}"/>
              </a:ext>
            </a:extLst>
          </p:cNvPr>
          <p:cNvSpPr txBox="1"/>
          <p:nvPr/>
        </p:nvSpPr>
        <p:spPr>
          <a:xfrm>
            <a:off x="4535622" y="3033366"/>
            <a:ext cx="973614" cy="577081"/>
          </a:xfrm>
          <a:prstGeom prst="rect">
            <a:avLst/>
          </a:prstGeom>
          <a:solidFill>
            <a:srgbClr val="1F1C49"/>
          </a:solidFill>
        </p:spPr>
        <p:txBody>
          <a:bodyPr wrap="square" rtlCol="0"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municate with the customer.</a:t>
            </a: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0515A05C-1664-490B-8098-B063B87729B4}"/>
              </a:ext>
            </a:extLst>
          </p:cNvPr>
          <p:cNvCxnSpPr>
            <a:cxnSpLocks/>
            <a:stCxn id="8" idx="6"/>
            <a:endCxn id="136" idx="1"/>
          </p:cNvCxnSpPr>
          <p:nvPr/>
        </p:nvCxnSpPr>
        <p:spPr>
          <a:xfrm>
            <a:off x="3794453" y="2757527"/>
            <a:ext cx="741169" cy="564380"/>
          </a:xfrm>
          <a:prstGeom prst="bentConnector3">
            <a:avLst>
              <a:gd name="adj1" fmla="val 50000"/>
            </a:avLst>
          </a:prstGeom>
          <a:ln w="19050">
            <a:solidFill>
              <a:schemeClr val="bg1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1556270C-5F16-4989-A7DA-AED5F0EDD353}"/>
              </a:ext>
            </a:extLst>
          </p:cNvPr>
          <p:cNvGrpSpPr/>
          <p:nvPr/>
        </p:nvGrpSpPr>
        <p:grpSpPr>
          <a:xfrm>
            <a:off x="7188791" y="2339386"/>
            <a:ext cx="2331720" cy="203033"/>
            <a:chOff x="9585055" y="3119180"/>
            <a:chExt cx="3108960" cy="270711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1A4C3952-B2F6-45F2-A8C1-19BB0958B9BC}"/>
                </a:ext>
              </a:extLst>
            </p:cNvPr>
            <p:cNvCxnSpPr>
              <a:cxnSpLocks/>
            </p:cNvCxnSpPr>
            <p:nvPr/>
          </p:nvCxnSpPr>
          <p:spPr>
            <a:xfrm>
              <a:off x="9585055" y="3257205"/>
              <a:ext cx="3108960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81C1AD48-8893-44AA-91B1-782AE0350BFD}"/>
                </a:ext>
              </a:extLst>
            </p:cNvPr>
            <p:cNvCxnSpPr/>
            <p:nvPr/>
          </p:nvCxnSpPr>
          <p:spPr>
            <a:xfrm>
              <a:off x="9594725" y="3119180"/>
              <a:ext cx="0" cy="270711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0" name="Arc 79">
            <a:extLst>
              <a:ext uri="{FF2B5EF4-FFF2-40B4-BE49-F238E27FC236}">
                <a16:creationId xmlns:a16="http://schemas.microsoft.com/office/drawing/2014/main" id="{48C9EAD3-3553-41F5-866B-D4BAD8CF44B5}"/>
              </a:ext>
            </a:extLst>
          </p:cNvPr>
          <p:cNvSpPr/>
          <p:nvPr/>
        </p:nvSpPr>
        <p:spPr>
          <a:xfrm rot="152703" flipH="1">
            <a:off x="2601222" y="2548328"/>
            <a:ext cx="142900" cy="390232"/>
          </a:xfrm>
          <a:prstGeom prst="arc">
            <a:avLst>
              <a:gd name="adj1" fmla="val 18274575"/>
              <a:gd name="adj2" fmla="val 3716135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4E61E89-7CFF-4526-9C2A-B087017D201D}"/>
              </a:ext>
            </a:extLst>
          </p:cNvPr>
          <p:cNvGrpSpPr/>
          <p:nvPr/>
        </p:nvGrpSpPr>
        <p:grpSpPr>
          <a:xfrm>
            <a:off x="2869171" y="2366606"/>
            <a:ext cx="830021" cy="830021"/>
            <a:chOff x="3825560" y="3155474"/>
            <a:chExt cx="1106695" cy="1106695"/>
          </a:xfrm>
          <a:solidFill>
            <a:srgbClr val="1F1C49"/>
          </a:solidFill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A7651A7-B28E-4BF8-B6F3-2873E1B6838A}"/>
                </a:ext>
              </a:extLst>
            </p:cNvPr>
            <p:cNvSpPr/>
            <p:nvPr/>
          </p:nvSpPr>
          <p:spPr>
            <a:xfrm>
              <a:off x="3825560" y="3155474"/>
              <a:ext cx="1106695" cy="11066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50" name="Group 4">
              <a:extLst>
                <a:ext uri="{FF2B5EF4-FFF2-40B4-BE49-F238E27FC236}">
                  <a16:creationId xmlns:a16="http://schemas.microsoft.com/office/drawing/2014/main" id="{D630F04A-997B-43F9-9ACC-283D3E90750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967341" y="3218891"/>
              <a:ext cx="815758" cy="884481"/>
              <a:chOff x="3497" y="1236"/>
              <a:chExt cx="2101" cy="2278"/>
            </a:xfrm>
            <a:grpFill/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4F11D6BC-EA9E-4057-B5AE-0D4E08DBC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0" y="1879"/>
                <a:ext cx="175" cy="248"/>
              </a:xfrm>
              <a:custGeom>
                <a:avLst/>
                <a:gdLst>
                  <a:gd name="T0" fmla="*/ 14 w 19"/>
                  <a:gd name="T1" fmla="*/ 27 h 27"/>
                  <a:gd name="T2" fmla="*/ 0 w 19"/>
                  <a:gd name="T3" fmla="*/ 14 h 27"/>
                  <a:gd name="T4" fmla="*/ 14 w 19"/>
                  <a:gd name="T5" fmla="*/ 0 h 27"/>
                  <a:gd name="T6" fmla="*/ 19 w 19"/>
                  <a:gd name="T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7">
                    <a:moveTo>
                      <a:pt x="14" y="27"/>
                    </a:moveTo>
                    <a:cubicBezTo>
                      <a:pt x="6" y="27"/>
                      <a:pt x="0" y="21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16" y="0"/>
                      <a:pt x="18" y="0"/>
                      <a:pt x="19" y="1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2" name="Freeform 6">
                <a:extLst>
                  <a:ext uri="{FF2B5EF4-FFF2-40B4-BE49-F238E27FC236}">
                    <a16:creationId xmlns:a16="http://schemas.microsoft.com/office/drawing/2014/main" id="{C9FCFA16-CF88-4AB7-939B-832054B4A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" y="1879"/>
                <a:ext cx="175" cy="248"/>
              </a:xfrm>
              <a:custGeom>
                <a:avLst/>
                <a:gdLst>
                  <a:gd name="T0" fmla="*/ 5 w 19"/>
                  <a:gd name="T1" fmla="*/ 27 h 27"/>
                  <a:gd name="T2" fmla="*/ 19 w 19"/>
                  <a:gd name="T3" fmla="*/ 14 h 27"/>
                  <a:gd name="T4" fmla="*/ 5 w 19"/>
                  <a:gd name="T5" fmla="*/ 0 h 27"/>
                  <a:gd name="T6" fmla="*/ 0 w 19"/>
                  <a:gd name="T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7">
                    <a:moveTo>
                      <a:pt x="5" y="27"/>
                    </a:moveTo>
                    <a:cubicBezTo>
                      <a:pt x="13" y="27"/>
                      <a:pt x="19" y="21"/>
                      <a:pt x="19" y="14"/>
                    </a:cubicBezTo>
                    <a:cubicBezTo>
                      <a:pt x="19" y="6"/>
                      <a:pt x="13" y="0"/>
                      <a:pt x="5" y="0"/>
                    </a:cubicBezTo>
                    <a:cubicBezTo>
                      <a:pt x="3" y="0"/>
                      <a:pt x="1" y="0"/>
                      <a:pt x="0" y="1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E43D56B0-71F2-48A3-BA0D-9A5F2ED1E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82" y="1925"/>
                <a:ext cx="64" cy="64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D4304772-571B-49D3-9490-DE93BBAA20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03" y="1916"/>
                <a:ext cx="55" cy="64"/>
              </a:xfrm>
              <a:prstGeom prst="ellipse">
                <a:avLst/>
              </a:pr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5" name="Freeform 9">
                <a:extLst>
                  <a:ext uri="{FF2B5EF4-FFF2-40B4-BE49-F238E27FC236}">
                    <a16:creationId xmlns:a16="http://schemas.microsoft.com/office/drawing/2014/main" id="{75BCFE06-2409-45B7-953F-34D95A751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9" y="1870"/>
                <a:ext cx="18" cy="321"/>
              </a:xfrm>
              <a:custGeom>
                <a:avLst/>
                <a:gdLst>
                  <a:gd name="T0" fmla="*/ 2 w 2"/>
                  <a:gd name="T1" fmla="*/ 35 h 35"/>
                  <a:gd name="T2" fmla="*/ 0 w 2"/>
                  <a:gd name="T3" fmla="*/ 21 h 35"/>
                  <a:gd name="T4" fmla="*/ 0 w 2"/>
                  <a:gd name="T5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5">
                    <a:moveTo>
                      <a:pt x="2" y="35"/>
                    </a:moveTo>
                    <a:cubicBezTo>
                      <a:pt x="0" y="31"/>
                      <a:pt x="0" y="26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6" name="Freeform 10">
                <a:extLst>
                  <a:ext uri="{FF2B5EF4-FFF2-40B4-BE49-F238E27FC236}">
                    <a16:creationId xmlns:a16="http://schemas.microsoft.com/office/drawing/2014/main" id="{674FC39B-21D8-4329-BF8C-D3161F5BA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" y="1870"/>
                <a:ext cx="19" cy="312"/>
              </a:xfrm>
              <a:custGeom>
                <a:avLst/>
                <a:gdLst>
                  <a:gd name="T0" fmla="*/ 2 w 2"/>
                  <a:gd name="T1" fmla="*/ 0 h 34"/>
                  <a:gd name="T2" fmla="*/ 2 w 2"/>
                  <a:gd name="T3" fmla="*/ 21 h 34"/>
                  <a:gd name="T4" fmla="*/ 0 w 2"/>
                  <a:gd name="T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4">
                    <a:moveTo>
                      <a:pt x="2" y="0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" y="26"/>
                      <a:pt x="2" y="30"/>
                      <a:pt x="0" y="34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7" name="Freeform 11">
                <a:extLst>
                  <a:ext uri="{FF2B5EF4-FFF2-40B4-BE49-F238E27FC236}">
                    <a16:creationId xmlns:a16="http://schemas.microsoft.com/office/drawing/2014/main" id="{9615DDCA-B8C3-49E9-8778-95264BF80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7" y="1236"/>
                <a:ext cx="1060" cy="680"/>
              </a:xfrm>
              <a:custGeom>
                <a:avLst/>
                <a:gdLst>
                  <a:gd name="T0" fmla="*/ 8 w 115"/>
                  <a:gd name="T1" fmla="*/ 68 h 74"/>
                  <a:gd name="T2" fmla="*/ 24 w 115"/>
                  <a:gd name="T3" fmla="*/ 22 h 74"/>
                  <a:gd name="T4" fmla="*/ 58 w 115"/>
                  <a:gd name="T5" fmla="*/ 5 h 74"/>
                  <a:gd name="T6" fmla="*/ 97 w 115"/>
                  <a:gd name="T7" fmla="*/ 4 h 74"/>
                  <a:gd name="T8" fmla="*/ 97 w 115"/>
                  <a:gd name="T9" fmla="*/ 18 h 74"/>
                  <a:gd name="T10" fmla="*/ 107 w 115"/>
                  <a:gd name="T11" fmla="*/ 68 h 74"/>
                  <a:gd name="T12" fmla="*/ 96 w 115"/>
                  <a:gd name="T13" fmla="*/ 73 h 74"/>
                  <a:gd name="T14" fmla="*/ 87 w 115"/>
                  <a:gd name="T15" fmla="*/ 54 h 74"/>
                  <a:gd name="T16" fmla="*/ 55 w 115"/>
                  <a:gd name="T17" fmla="*/ 50 h 74"/>
                  <a:gd name="T18" fmla="*/ 24 w 115"/>
                  <a:gd name="T19" fmla="*/ 60 h 74"/>
                  <a:gd name="T20" fmla="*/ 21 w 115"/>
                  <a:gd name="T21" fmla="*/ 73 h 74"/>
                  <a:gd name="T22" fmla="*/ 8 w 115"/>
                  <a:gd name="T23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5" h="74">
                    <a:moveTo>
                      <a:pt x="8" y="68"/>
                    </a:moveTo>
                    <a:cubicBezTo>
                      <a:pt x="0" y="20"/>
                      <a:pt x="24" y="22"/>
                      <a:pt x="24" y="22"/>
                    </a:cubicBezTo>
                    <a:cubicBezTo>
                      <a:pt x="24" y="22"/>
                      <a:pt x="32" y="0"/>
                      <a:pt x="58" y="5"/>
                    </a:cubicBezTo>
                    <a:cubicBezTo>
                      <a:pt x="83" y="9"/>
                      <a:pt x="97" y="4"/>
                      <a:pt x="97" y="4"/>
                    </a:cubicBezTo>
                    <a:cubicBezTo>
                      <a:pt x="97" y="4"/>
                      <a:pt x="94" y="14"/>
                      <a:pt x="97" y="18"/>
                    </a:cubicBezTo>
                    <a:cubicBezTo>
                      <a:pt x="99" y="21"/>
                      <a:pt x="115" y="33"/>
                      <a:pt x="107" y="68"/>
                    </a:cubicBezTo>
                    <a:cubicBezTo>
                      <a:pt x="107" y="68"/>
                      <a:pt x="97" y="72"/>
                      <a:pt x="96" y="73"/>
                    </a:cubicBezTo>
                    <a:cubicBezTo>
                      <a:pt x="95" y="74"/>
                      <a:pt x="99" y="53"/>
                      <a:pt x="87" y="54"/>
                    </a:cubicBezTo>
                    <a:cubicBezTo>
                      <a:pt x="76" y="54"/>
                      <a:pt x="64" y="54"/>
                      <a:pt x="55" y="50"/>
                    </a:cubicBezTo>
                    <a:cubicBezTo>
                      <a:pt x="45" y="47"/>
                      <a:pt x="32" y="41"/>
                      <a:pt x="24" y="60"/>
                    </a:cubicBezTo>
                    <a:cubicBezTo>
                      <a:pt x="24" y="60"/>
                      <a:pt x="21" y="70"/>
                      <a:pt x="21" y="73"/>
                    </a:cubicBezTo>
                    <a:lnTo>
                      <a:pt x="8" y="68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8" name="Freeform 12">
                <a:extLst>
                  <a:ext uri="{FF2B5EF4-FFF2-40B4-BE49-F238E27FC236}">
                    <a16:creationId xmlns:a16="http://schemas.microsoft.com/office/drawing/2014/main" id="{135EF650-6B3D-455E-9E5D-1D1E1CAF9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9" y="2577"/>
                <a:ext cx="203" cy="321"/>
              </a:xfrm>
              <a:custGeom>
                <a:avLst/>
                <a:gdLst>
                  <a:gd name="T0" fmla="*/ 0 w 22"/>
                  <a:gd name="T1" fmla="*/ 0 h 35"/>
                  <a:gd name="T2" fmla="*/ 22 w 22"/>
                  <a:gd name="T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" h="35">
                    <a:moveTo>
                      <a:pt x="0" y="0"/>
                    </a:moveTo>
                    <a:cubicBezTo>
                      <a:pt x="15" y="7"/>
                      <a:pt x="21" y="17"/>
                      <a:pt x="22" y="35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9" name="Freeform 13">
                <a:extLst>
                  <a:ext uri="{FF2B5EF4-FFF2-40B4-BE49-F238E27FC236}">
                    <a16:creationId xmlns:a16="http://schemas.microsoft.com/office/drawing/2014/main" id="{9B183FBD-406E-4B0D-8246-6C99053AB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6" y="3100"/>
                <a:ext cx="2082" cy="285"/>
              </a:xfrm>
              <a:custGeom>
                <a:avLst/>
                <a:gdLst>
                  <a:gd name="T0" fmla="*/ 193 w 226"/>
                  <a:gd name="T1" fmla="*/ 0 h 31"/>
                  <a:gd name="T2" fmla="*/ 226 w 226"/>
                  <a:gd name="T3" fmla="*/ 2 h 31"/>
                  <a:gd name="T4" fmla="*/ 156 w 226"/>
                  <a:gd name="T5" fmla="*/ 31 h 31"/>
                  <a:gd name="T6" fmla="*/ 1 w 226"/>
                  <a:gd name="T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" h="31">
                    <a:moveTo>
                      <a:pt x="193" y="0"/>
                    </a:moveTo>
                    <a:cubicBezTo>
                      <a:pt x="226" y="2"/>
                      <a:pt x="226" y="2"/>
                      <a:pt x="226" y="2"/>
                    </a:cubicBezTo>
                    <a:cubicBezTo>
                      <a:pt x="226" y="2"/>
                      <a:pt x="155" y="31"/>
                      <a:pt x="156" y="31"/>
                    </a:cubicBezTo>
                    <a:cubicBezTo>
                      <a:pt x="156" y="31"/>
                      <a:pt x="0" y="16"/>
                      <a:pt x="1" y="13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60" name="Freeform 14">
                <a:extLst>
                  <a:ext uri="{FF2B5EF4-FFF2-40B4-BE49-F238E27FC236}">
                    <a16:creationId xmlns:a16="http://schemas.microsoft.com/office/drawing/2014/main" id="{5CC5E023-0DB6-4260-A6B9-653AF4910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2182"/>
                <a:ext cx="1512" cy="1203"/>
              </a:xfrm>
              <a:custGeom>
                <a:avLst/>
                <a:gdLst>
                  <a:gd name="T0" fmla="*/ 160 w 164"/>
                  <a:gd name="T1" fmla="*/ 131 h 131"/>
                  <a:gd name="T2" fmla="*/ 7 w 164"/>
                  <a:gd name="T3" fmla="*/ 116 h 131"/>
                  <a:gd name="T4" fmla="*/ 0 w 164"/>
                  <a:gd name="T5" fmla="*/ 108 h 131"/>
                  <a:gd name="T6" fmla="*/ 1 w 164"/>
                  <a:gd name="T7" fmla="*/ 8 h 131"/>
                  <a:gd name="T8" fmla="*/ 8 w 164"/>
                  <a:gd name="T9" fmla="*/ 2 h 131"/>
                  <a:gd name="T10" fmla="*/ 157 w 164"/>
                  <a:gd name="T11" fmla="*/ 0 h 131"/>
                  <a:gd name="T12" fmla="*/ 164 w 164"/>
                  <a:gd name="T13" fmla="*/ 8 h 131"/>
                  <a:gd name="T14" fmla="*/ 163 w 164"/>
                  <a:gd name="T15" fmla="*/ 124 h 131"/>
                  <a:gd name="T16" fmla="*/ 160 w 164"/>
                  <a:gd name="T17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31">
                    <a:moveTo>
                      <a:pt x="160" y="131"/>
                    </a:moveTo>
                    <a:cubicBezTo>
                      <a:pt x="7" y="116"/>
                      <a:pt x="7" y="116"/>
                      <a:pt x="7" y="116"/>
                    </a:cubicBezTo>
                    <a:cubicBezTo>
                      <a:pt x="3" y="116"/>
                      <a:pt x="0" y="112"/>
                      <a:pt x="0" y="10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4"/>
                      <a:pt x="4" y="1"/>
                      <a:pt x="8" y="2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60" y="0"/>
                      <a:pt x="164" y="4"/>
                      <a:pt x="164" y="8"/>
                    </a:cubicBezTo>
                    <a:cubicBezTo>
                      <a:pt x="163" y="124"/>
                      <a:pt x="163" y="124"/>
                      <a:pt x="163" y="124"/>
                    </a:cubicBezTo>
                    <a:cubicBezTo>
                      <a:pt x="163" y="128"/>
                      <a:pt x="164" y="131"/>
                      <a:pt x="160" y="131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61" name="Freeform 15">
                <a:extLst>
                  <a:ext uri="{FF2B5EF4-FFF2-40B4-BE49-F238E27FC236}">
                    <a16:creationId xmlns:a16="http://schemas.microsoft.com/office/drawing/2014/main" id="{805DDE0C-A973-465A-AFE9-5C488F7A4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7" y="2852"/>
                <a:ext cx="120" cy="313"/>
              </a:xfrm>
              <a:custGeom>
                <a:avLst/>
                <a:gdLst>
                  <a:gd name="T0" fmla="*/ 8 w 13"/>
                  <a:gd name="T1" fmla="*/ 34 h 34"/>
                  <a:gd name="T2" fmla="*/ 5 w 13"/>
                  <a:gd name="T3" fmla="*/ 34 h 34"/>
                  <a:gd name="T4" fmla="*/ 0 w 13"/>
                  <a:gd name="T5" fmla="*/ 28 h 34"/>
                  <a:gd name="T6" fmla="*/ 0 w 13"/>
                  <a:gd name="T7" fmla="*/ 5 h 34"/>
                  <a:gd name="T8" fmla="*/ 5 w 13"/>
                  <a:gd name="T9" fmla="*/ 0 h 34"/>
                  <a:gd name="T10" fmla="*/ 8 w 13"/>
                  <a:gd name="T11" fmla="*/ 0 h 34"/>
                  <a:gd name="T12" fmla="*/ 13 w 13"/>
                  <a:gd name="T13" fmla="*/ 5 h 34"/>
                  <a:gd name="T14" fmla="*/ 13 w 13"/>
                  <a:gd name="T15" fmla="*/ 28 h 34"/>
                  <a:gd name="T16" fmla="*/ 8 w 13"/>
                  <a:gd name="T17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34">
                    <a:moveTo>
                      <a:pt x="8" y="34"/>
                    </a:moveTo>
                    <a:cubicBezTo>
                      <a:pt x="5" y="34"/>
                      <a:pt x="5" y="34"/>
                      <a:pt x="5" y="34"/>
                    </a:cubicBezTo>
                    <a:cubicBezTo>
                      <a:pt x="2" y="34"/>
                      <a:pt x="0" y="31"/>
                      <a:pt x="0" y="28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1" y="0"/>
                      <a:pt x="13" y="2"/>
                      <a:pt x="13" y="5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31"/>
                      <a:pt x="11" y="34"/>
                      <a:pt x="8" y="34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62" name="Freeform 16">
                <a:extLst>
                  <a:ext uri="{FF2B5EF4-FFF2-40B4-BE49-F238E27FC236}">
                    <a16:creationId xmlns:a16="http://schemas.microsoft.com/office/drawing/2014/main" id="{6366C4A4-6022-4385-9723-E1F959EF4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" y="2907"/>
                <a:ext cx="129" cy="258"/>
              </a:xfrm>
              <a:custGeom>
                <a:avLst/>
                <a:gdLst>
                  <a:gd name="T0" fmla="*/ 8 w 14"/>
                  <a:gd name="T1" fmla="*/ 28 h 28"/>
                  <a:gd name="T2" fmla="*/ 5 w 14"/>
                  <a:gd name="T3" fmla="*/ 28 h 28"/>
                  <a:gd name="T4" fmla="*/ 0 w 14"/>
                  <a:gd name="T5" fmla="*/ 22 h 28"/>
                  <a:gd name="T6" fmla="*/ 0 w 14"/>
                  <a:gd name="T7" fmla="*/ 5 h 28"/>
                  <a:gd name="T8" fmla="*/ 5 w 14"/>
                  <a:gd name="T9" fmla="*/ 0 h 28"/>
                  <a:gd name="T10" fmla="*/ 8 w 14"/>
                  <a:gd name="T11" fmla="*/ 0 h 28"/>
                  <a:gd name="T12" fmla="*/ 14 w 14"/>
                  <a:gd name="T13" fmla="*/ 5 h 28"/>
                  <a:gd name="T14" fmla="*/ 14 w 14"/>
                  <a:gd name="T15" fmla="*/ 22 h 28"/>
                  <a:gd name="T16" fmla="*/ 8 w 14"/>
                  <a:gd name="T1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28">
                    <a:moveTo>
                      <a:pt x="8" y="28"/>
                    </a:moveTo>
                    <a:cubicBezTo>
                      <a:pt x="5" y="28"/>
                      <a:pt x="5" y="28"/>
                      <a:pt x="5" y="28"/>
                    </a:cubicBezTo>
                    <a:cubicBezTo>
                      <a:pt x="2" y="28"/>
                      <a:pt x="0" y="25"/>
                      <a:pt x="0" y="2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1" y="0"/>
                      <a:pt x="14" y="2"/>
                      <a:pt x="14" y="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5"/>
                      <a:pt x="11" y="28"/>
                      <a:pt x="8" y="28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63" name="Freeform 17">
                <a:extLst>
                  <a:ext uri="{FF2B5EF4-FFF2-40B4-BE49-F238E27FC236}">
                    <a16:creationId xmlns:a16="http://schemas.microsoft.com/office/drawing/2014/main" id="{7A4821AC-C130-4855-B2F0-7AEC35CC4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3174"/>
                <a:ext cx="1502" cy="340"/>
              </a:xfrm>
              <a:custGeom>
                <a:avLst/>
                <a:gdLst>
                  <a:gd name="T0" fmla="*/ 163 w 163"/>
                  <a:gd name="T1" fmla="*/ 18 h 37"/>
                  <a:gd name="T2" fmla="*/ 163 w 163"/>
                  <a:gd name="T3" fmla="*/ 33 h 37"/>
                  <a:gd name="T4" fmla="*/ 159 w 163"/>
                  <a:gd name="T5" fmla="*/ 37 h 37"/>
                  <a:gd name="T6" fmla="*/ 4 w 163"/>
                  <a:gd name="T7" fmla="*/ 17 h 37"/>
                  <a:gd name="T8" fmla="*/ 0 w 163"/>
                  <a:gd name="T9" fmla="*/ 13 h 37"/>
                  <a:gd name="T10" fmla="*/ 0 w 163"/>
                  <a:gd name="T11" fmla="*/ 12 h 37"/>
                  <a:gd name="T12" fmla="*/ 0 w 163"/>
                  <a:gd name="T1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3" h="37">
                    <a:moveTo>
                      <a:pt x="163" y="18"/>
                    </a:moveTo>
                    <a:cubicBezTo>
                      <a:pt x="163" y="33"/>
                      <a:pt x="163" y="33"/>
                      <a:pt x="163" y="33"/>
                    </a:cubicBezTo>
                    <a:cubicBezTo>
                      <a:pt x="163" y="35"/>
                      <a:pt x="161" y="37"/>
                      <a:pt x="159" y="3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2" y="17"/>
                      <a:pt x="0" y="15"/>
                      <a:pt x="0" y="1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64" name="Line 18">
                <a:extLst>
                  <a:ext uri="{FF2B5EF4-FFF2-40B4-BE49-F238E27FC236}">
                    <a16:creationId xmlns:a16="http://schemas.microsoft.com/office/drawing/2014/main" id="{734585F7-187A-4DA2-A62D-88DAAD63F0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981" y="3119"/>
                <a:ext cx="617" cy="395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ED2741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1ACC51-A46C-452B-BCB2-5FF8A380582E}"/>
              </a:ext>
            </a:extLst>
          </p:cNvPr>
          <p:cNvGrpSpPr/>
          <p:nvPr/>
        </p:nvGrpSpPr>
        <p:grpSpPr>
          <a:xfrm>
            <a:off x="2304157" y="2884753"/>
            <a:ext cx="825832" cy="886026"/>
            <a:chOff x="3072209" y="3846337"/>
            <a:chExt cx="1101109" cy="1181368"/>
          </a:xfrm>
        </p:grpSpPr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2E86051E-727C-48BE-920F-2EE2CF18F37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157677" y="4359286"/>
              <a:ext cx="634083" cy="554584"/>
            </a:xfrm>
            <a:custGeom>
              <a:avLst/>
              <a:gdLst>
                <a:gd name="T0" fmla="*/ 3221 w 4800"/>
                <a:gd name="T1" fmla="*/ 2938 h 4192"/>
                <a:gd name="T2" fmla="*/ 1970 w 4800"/>
                <a:gd name="T3" fmla="*/ 3507 h 4192"/>
                <a:gd name="T4" fmla="*/ 2056 w 4800"/>
                <a:gd name="T5" fmla="*/ 3741 h 4192"/>
                <a:gd name="T6" fmla="*/ 2853 w 4800"/>
                <a:gd name="T7" fmla="*/ 1386 h 4192"/>
                <a:gd name="T8" fmla="*/ 3277 w 4800"/>
                <a:gd name="T9" fmla="*/ 891 h 4192"/>
                <a:gd name="T10" fmla="*/ 1735 w 4800"/>
                <a:gd name="T11" fmla="*/ 1152 h 4192"/>
                <a:gd name="T12" fmla="*/ 1785 w 4800"/>
                <a:gd name="T13" fmla="*/ 590 h 4192"/>
                <a:gd name="T14" fmla="*/ 1817 w 4800"/>
                <a:gd name="T15" fmla="*/ 1033 h 4192"/>
                <a:gd name="T16" fmla="*/ 1692 w 4800"/>
                <a:gd name="T17" fmla="*/ 1333 h 4192"/>
                <a:gd name="T18" fmla="*/ 2688 w 4800"/>
                <a:gd name="T19" fmla="*/ 670 h 4192"/>
                <a:gd name="T20" fmla="*/ 2929 w 4800"/>
                <a:gd name="T21" fmla="*/ 458 h 4192"/>
                <a:gd name="T22" fmla="*/ 3741 w 4800"/>
                <a:gd name="T23" fmla="*/ 3166 h 4192"/>
                <a:gd name="T24" fmla="*/ 2435 w 4800"/>
                <a:gd name="T25" fmla="*/ 4132 h 4192"/>
                <a:gd name="T26" fmla="*/ 917 w 4800"/>
                <a:gd name="T27" fmla="*/ 2686 h 4192"/>
                <a:gd name="T28" fmla="*/ 1756 w 4800"/>
                <a:gd name="T29" fmla="*/ 3554 h 4192"/>
                <a:gd name="T30" fmla="*/ 2496 w 4800"/>
                <a:gd name="T31" fmla="*/ 4025 h 4192"/>
                <a:gd name="T32" fmla="*/ 3626 w 4800"/>
                <a:gd name="T33" fmla="*/ 3115 h 4192"/>
                <a:gd name="T34" fmla="*/ 3668 w 4800"/>
                <a:gd name="T35" fmla="*/ 2876 h 4192"/>
                <a:gd name="T36" fmla="*/ 1123 w 4800"/>
                <a:gd name="T37" fmla="*/ 1065 h 4192"/>
                <a:gd name="T38" fmla="*/ 4077 w 4800"/>
                <a:gd name="T39" fmla="*/ 1602 h 4192"/>
                <a:gd name="T40" fmla="*/ 2979 w 4800"/>
                <a:gd name="T41" fmla="*/ 210 h 4192"/>
                <a:gd name="T42" fmla="*/ 1853 w 4800"/>
                <a:gd name="T43" fmla="*/ 175 h 4192"/>
                <a:gd name="T44" fmla="*/ 738 w 4800"/>
                <a:gd name="T45" fmla="*/ 1618 h 4192"/>
                <a:gd name="T46" fmla="*/ 2156 w 4800"/>
                <a:gd name="T47" fmla="*/ 2512 h 4192"/>
                <a:gd name="T48" fmla="*/ 149 w 4800"/>
                <a:gd name="T49" fmla="*/ 2130 h 4192"/>
                <a:gd name="T50" fmla="*/ 201 w 4800"/>
                <a:gd name="T51" fmla="*/ 2078 h 4192"/>
                <a:gd name="T52" fmla="*/ 149 w 4800"/>
                <a:gd name="T53" fmla="*/ 1929 h 4192"/>
                <a:gd name="T54" fmla="*/ 1581 w 4800"/>
                <a:gd name="T55" fmla="*/ 2123 h 4192"/>
                <a:gd name="T56" fmla="*/ 431 w 4800"/>
                <a:gd name="T57" fmla="*/ 2758 h 4192"/>
                <a:gd name="T58" fmla="*/ 1535 w 4800"/>
                <a:gd name="T59" fmla="*/ 2504 h 4192"/>
                <a:gd name="T60" fmla="*/ 282 w 4800"/>
                <a:gd name="T61" fmla="*/ 2809 h 4192"/>
                <a:gd name="T62" fmla="*/ 4289 w 4800"/>
                <a:gd name="T63" fmla="*/ 1278 h 4192"/>
                <a:gd name="T64" fmla="*/ 4289 w 4800"/>
                <a:gd name="T65" fmla="*/ 1286 h 4192"/>
                <a:gd name="T66" fmla="*/ 3262 w 4800"/>
                <a:gd name="T67" fmla="*/ 1739 h 4192"/>
                <a:gd name="T68" fmla="*/ 4490 w 4800"/>
                <a:gd name="T69" fmla="*/ 1278 h 4192"/>
                <a:gd name="T70" fmla="*/ 4368 w 4800"/>
                <a:gd name="T71" fmla="*/ 2837 h 4192"/>
                <a:gd name="T72" fmla="*/ 4368 w 4800"/>
                <a:gd name="T73" fmla="*/ 2837 h 4192"/>
                <a:gd name="T74" fmla="*/ 3145 w 4800"/>
                <a:gd name="T75" fmla="*/ 2476 h 4192"/>
                <a:gd name="T76" fmla="*/ 4309 w 4800"/>
                <a:gd name="T77" fmla="*/ 2979 h 4192"/>
                <a:gd name="T78" fmla="*/ 4658 w 4800"/>
                <a:gd name="T79" fmla="*/ 2211 h 4192"/>
                <a:gd name="T80" fmla="*/ 4709 w 4800"/>
                <a:gd name="T81" fmla="*/ 2159 h 4192"/>
                <a:gd name="T82" fmla="*/ 3105 w 4800"/>
                <a:gd name="T83" fmla="*/ 2273 h 4192"/>
                <a:gd name="T84" fmla="*/ 4658 w 4800"/>
                <a:gd name="T85" fmla="*/ 2010 h 4192"/>
                <a:gd name="T86" fmla="*/ 360 w 4800"/>
                <a:gd name="T87" fmla="*/ 1864 h 4192"/>
                <a:gd name="T88" fmla="*/ 1474 w 4800"/>
                <a:gd name="T89" fmla="*/ 1857 h 4192"/>
                <a:gd name="T90" fmla="*/ 218 w 4800"/>
                <a:gd name="T91" fmla="*/ 1805 h 4192"/>
                <a:gd name="T92" fmla="*/ 2181 w 4800"/>
                <a:gd name="T93" fmla="*/ 1191 h 4192"/>
                <a:gd name="T94" fmla="*/ 2450 w 4800"/>
                <a:gd name="T95" fmla="*/ 1153 h 4192"/>
                <a:gd name="T96" fmla="*/ 2368 w 4800"/>
                <a:gd name="T97" fmla="*/ 1250 h 4192"/>
                <a:gd name="T98" fmla="*/ 2565 w 4800"/>
                <a:gd name="T99" fmla="*/ 1269 h 4192"/>
                <a:gd name="T100" fmla="*/ 1396 w 4800"/>
                <a:gd name="T101" fmla="*/ 3043 h 4192"/>
                <a:gd name="T102" fmla="*/ 1715 w 4800"/>
                <a:gd name="T103" fmla="*/ 2998 h 4192"/>
                <a:gd name="T104" fmla="*/ 1589 w 4800"/>
                <a:gd name="T105" fmla="*/ 3095 h 4192"/>
                <a:gd name="T106" fmla="*/ 1734 w 4800"/>
                <a:gd name="T107" fmla="*/ 2979 h 4192"/>
                <a:gd name="T108" fmla="*/ 2832 w 4800"/>
                <a:gd name="T109" fmla="*/ 1791 h 4192"/>
                <a:gd name="T110" fmla="*/ 2946 w 4800"/>
                <a:gd name="T111" fmla="*/ 1791 h 4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00" h="4192">
                  <a:moveTo>
                    <a:pt x="2924" y="3359"/>
                  </a:moveTo>
                  <a:lnTo>
                    <a:pt x="2924" y="3359"/>
                  </a:lnTo>
                  <a:cubicBezTo>
                    <a:pt x="2929" y="3393"/>
                    <a:pt x="2905" y="3425"/>
                    <a:pt x="2871" y="3430"/>
                  </a:cubicBezTo>
                  <a:cubicBezTo>
                    <a:pt x="2868" y="3430"/>
                    <a:pt x="2865" y="3430"/>
                    <a:pt x="2862" y="3430"/>
                  </a:cubicBezTo>
                  <a:cubicBezTo>
                    <a:pt x="2831" y="3430"/>
                    <a:pt x="2804" y="3407"/>
                    <a:pt x="2800" y="3376"/>
                  </a:cubicBezTo>
                  <a:cubicBezTo>
                    <a:pt x="2775" y="3195"/>
                    <a:pt x="2839" y="3028"/>
                    <a:pt x="2967" y="2941"/>
                  </a:cubicBezTo>
                  <a:cubicBezTo>
                    <a:pt x="3021" y="2905"/>
                    <a:pt x="3084" y="2884"/>
                    <a:pt x="3155" y="2879"/>
                  </a:cubicBezTo>
                  <a:cubicBezTo>
                    <a:pt x="3188" y="2877"/>
                    <a:pt x="3219" y="2903"/>
                    <a:pt x="3221" y="2938"/>
                  </a:cubicBezTo>
                  <a:cubicBezTo>
                    <a:pt x="3223" y="2972"/>
                    <a:pt x="3197" y="3002"/>
                    <a:pt x="3163" y="3004"/>
                  </a:cubicBezTo>
                  <a:cubicBezTo>
                    <a:pt x="3115" y="3007"/>
                    <a:pt x="3073" y="3021"/>
                    <a:pt x="3037" y="3045"/>
                  </a:cubicBezTo>
                  <a:cubicBezTo>
                    <a:pt x="2949" y="3105"/>
                    <a:pt x="2906" y="3225"/>
                    <a:pt x="2924" y="3359"/>
                  </a:cubicBezTo>
                  <a:lnTo>
                    <a:pt x="2924" y="3359"/>
                  </a:lnTo>
                  <a:close/>
                  <a:moveTo>
                    <a:pt x="2090" y="3684"/>
                  </a:moveTo>
                  <a:lnTo>
                    <a:pt x="2090" y="3684"/>
                  </a:lnTo>
                  <a:cubicBezTo>
                    <a:pt x="2112" y="3612"/>
                    <a:pt x="2071" y="3535"/>
                    <a:pt x="1998" y="3512"/>
                  </a:cubicBezTo>
                  <a:cubicBezTo>
                    <a:pt x="1989" y="3510"/>
                    <a:pt x="1979" y="3508"/>
                    <a:pt x="1970" y="3507"/>
                  </a:cubicBezTo>
                  <a:cubicBezTo>
                    <a:pt x="1935" y="3504"/>
                    <a:pt x="1910" y="3474"/>
                    <a:pt x="1913" y="3439"/>
                  </a:cubicBezTo>
                  <a:cubicBezTo>
                    <a:pt x="1916" y="3405"/>
                    <a:pt x="1946" y="3380"/>
                    <a:pt x="1981" y="3382"/>
                  </a:cubicBezTo>
                  <a:cubicBezTo>
                    <a:pt x="1999" y="3384"/>
                    <a:pt x="2017" y="3388"/>
                    <a:pt x="2034" y="3393"/>
                  </a:cubicBezTo>
                  <a:cubicBezTo>
                    <a:pt x="2173" y="3435"/>
                    <a:pt x="2252" y="3582"/>
                    <a:pt x="2210" y="3721"/>
                  </a:cubicBezTo>
                  <a:cubicBezTo>
                    <a:pt x="2197" y="3761"/>
                    <a:pt x="2175" y="3799"/>
                    <a:pt x="2145" y="3829"/>
                  </a:cubicBezTo>
                  <a:cubicBezTo>
                    <a:pt x="2133" y="3841"/>
                    <a:pt x="2117" y="3847"/>
                    <a:pt x="2101" y="3847"/>
                  </a:cubicBezTo>
                  <a:cubicBezTo>
                    <a:pt x="2085" y="3847"/>
                    <a:pt x="2069" y="3841"/>
                    <a:pt x="2057" y="3829"/>
                  </a:cubicBezTo>
                  <a:cubicBezTo>
                    <a:pt x="2032" y="3805"/>
                    <a:pt x="2032" y="3766"/>
                    <a:pt x="2056" y="3741"/>
                  </a:cubicBezTo>
                  <a:cubicBezTo>
                    <a:pt x="2072" y="3725"/>
                    <a:pt x="2083" y="3706"/>
                    <a:pt x="2090" y="3684"/>
                  </a:cubicBezTo>
                  <a:lnTo>
                    <a:pt x="2090" y="3684"/>
                  </a:lnTo>
                  <a:close/>
                  <a:moveTo>
                    <a:pt x="3049" y="1449"/>
                  </a:moveTo>
                  <a:lnTo>
                    <a:pt x="3049" y="1449"/>
                  </a:lnTo>
                  <a:cubicBezTo>
                    <a:pt x="2995" y="1485"/>
                    <a:pt x="2932" y="1506"/>
                    <a:pt x="2861" y="1511"/>
                  </a:cubicBezTo>
                  <a:cubicBezTo>
                    <a:pt x="2860" y="1511"/>
                    <a:pt x="2859" y="1511"/>
                    <a:pt x="2857" y="1511"/>
                  </a:cubicBezTo>
                  <a:cubicBezTo>
                    <a:pt x="2825" y="1511"/>
                    <a:pt x="2797" y="1485"/>
                    <a:pt x="2795" y="1452"/>
                  </a:cubicBezTo>
                  <a:cubicBezTo>
                    <a:pt x="2793" y="1418"/>
                    <a:pt x="2819" y="1388"/>
                    <a:pt x="2853" y="1386"/>
                  </a:cubicBezTo>
                  <a:cubicBezTo>
                    <a:pt x="2901" y="1383"/>
                    <a:pt x="2943" y="1369"/>
                    <a:pt x="2979" y="1345"/>
                  </a:cubicBezTo>
                  <a:cubicBezTo>
                    <a:pt x="3062" y="1289"/>
                    <a:pt x="3105" y="1178"/>
                    <a:pt x="3094" y="1052"/>
                  </a:cubicBezTo>
                  <a:cubicBezTo>
                    <a:pt x="3061" y="1042"/>
                    <a:pt x="3030" y="1026"/>
                    <a:pt x="3002" y="1003"/>
                  </a:cubicBezTo>
                  <a:cubicBezTo>
                    <a:pt x="2988" y="991"/>
                    <a:pt x="2976" y="978"/>
                    <a:pt x="2964" y="964"/>
                  </a:cubicBezTo>
                  <a:cubicBezTo>
                    <a:pt x="2943" y="936"/>
                    <a:pt x="2948" y="897"/>
                    <a:pt x="2975" y="876"/>
                  </a:cubicBezTo>
                  <a:cubicBezTo>
                    <a:pt x="3002" y="855"/>
                    <a:pt x="3042" y="859"/>
                    <a:pt x="3063" y="887"/>
                  </a:cubicBezTo>
                  <a:cubicBezTo>
                    <a:pt x="3069" y="894"/>
                    <a:pt x="3076" y="901"/>
                    <a:pt x="3083" y="908"/>
                  </a:cubicBezTo>
                  <a:cubicBezTo>
                    <a:pt x="3141" y="956"/>
                    <a:pt x="3228" y="949"/>
                    <a:pt x="3277" y="891"/>
                  </a:cubicBezTo>
                  <a:cubicBezTo>
                    <a:pt x="3292" y="874"/>
                    <a:pt x="3302" y="854"/>
                    <a:pt x="3307" y="832"/>
                  </a:cubicBezTo>
                  <a:cubicBezTo>
                    <a:pt x="3314" y="799"/>
                    <a:pt x="3347" y="777"/>
                    <a:pt x="3381" y="785"/>
                  </a:cubicBezTo>
                  <a:cubicBezTo>
                    <a:pt x="3415" y="792"/>
                    <a:pt x="3436" y="826"/>
                    <a:pt x="3429" y="859"/>
                  </a:cubicBezTo>
                  <a:cubicBezTo>
                    <a:pt x="3419" y="901"/>
                    <a:pt x="3400" y="939"/>
                    <a:pt x="3373" y="972"/>
                  </a:cubicBezTo>
                  <a:cubicBezTo>
                    <a:pt x="3332" y="1020"/>
                    <a:pt x="3277" y="1049"/>
                    <a:pt x="3220" y="1060"/>
                  </a:cubicBezTo>
                  <a:cubicBezTo>
                    <a:pt x="3229" y="1223"/>
                    <a:pt x="3166" y="1369"/>
                    <a:pt x="3049" y="1449"/>
                  </a:cubicBezTo>
                  <a:lnTo>
                    <a:pt x="3049" y="1449"/>
                  </a:lnTo>
                  <a:close/>
                  <a:moveTo>
                    <a:pt x="1735" y="1152"/>
                  </a:moveTo>
                  <a:lnTo>
                    <a:pt x="1735" y="1152"/>
                  </a:lnTo>
                  <a:cubicBezTo>
                    <a:pt x="1718" y="1126"/>
                    <a:pt x="1703" y="1096"/>
                    <a:pt x="1695" y="1062"/>
                  </a:cubicBezTo>
                  <a:cubicBezTo>
                    <a:pt x="1673" y="969"/>
                    <a:pt x="1694" y="859"/>
                    <a:pt x="1751" y="766"/>
                  </a:cubicBezTo>
                  <a:cubicBezTo>
                    <a:pt x="1706" y="728"/>
                    <a:pt x="1673" y="675"/>
                    <a:pt x="1662" y="613"/>
                  </a:cubicBezTo>
                  <a:cubicBezTo>
                    <a:pt x="1654" y="571"/>
                    <a:pt x="1657" y="527"/>
                    <a:pt x="1669" y="487"/>
                  </a:cubicBezTo>
                  <a:cubicBezTo>
                    <a:pt x="1679" y="454"/>
                    <a:pt x="1714" y="436"/>
                    <a:pt x="1747" y="446"/>
                  </a:cubicBezTo>
                  <a:cubicBezTo>
                    <a:pt x="1780" y="456"/>
                    <a:pt x="1799" y="491"/>
                    <a:pt x="1789" y="524"/>
                  </a:cubicBezTo>
                  <a:cubicBezTo>
                    <a:pt x="1782" y="546"/>
                    <a:pt x="1781" y="568"/>
                    <a:pt x="1785" y="590"/>
                  </a:cubicBezTo>
                  <a:cubicBezTo>
                    <a:pt x="1798" y="665"/>
                    <a:pt x="1870" y="715"/>
                    <a:pt x="1945" y="701"/>
                  </a:cubicBezTo>
                  <a:cubicBezTo>
                    <a:pt x="1955" y="699"/>
                    <a:pt x="1964" y="696"/>
                    <a:pt x="1973" y="693"/>
                  </a:cubicBezTo>
                  <a:cubicBezTo>
                    <a:pt x="2005" y="680"/>
                    <a:pt x="2041" y="695"/>
                    <a:pt x="2054" y="727"/>
                  </a:cubicBezTo>
                  <a:cubicBezTo>
                    <a:pt x="2067" y="759"/>
                    <a:pt x="2052" y="796"/>
                    <a:pt x="2020" y="809"/>
                  </a:cubicBezTo>
                  <a:cubicBezTo>
                    <a:pt x="2003" y="815"/>
                    <a:pt x="1986" y="821"/>
                    <a:pt x="1968" y="824"/>
                  </a:cubicBezTo>
                  <a:cubicBezTo>
                    <a:pt x="1952" y="827"/>
                    <a:pt x="1936" y="828"/>
                    <a:pt x="1920" y="828"/>
                  </a:cubicBezTo>
                  <a:cubicBezTo>
                    <a:pt x="1901" y="828"/>
                    <a:pt x="1882" y="825"/>
                    <a:pt x="1864" y="821"/>
                  </a:cubicBezTo>
                  <a:cubicBezTo>
                    <a:pt x="1820" y="888"/>
                    <a:pt x="1802" y="969"/>
                    <a:pt x="1817" y="1033"/>
                  </a:cubicBezTo>
                  <a:cubicBezTo>
                    <a:pt x="1827" y="1079"/>
                    <a:pt x="1860" y="1118"/>
                    <a:pt x="1885" y="1134"/>
                  </a:cubicBezTo>
                  <a:cubicBezTo>
                    <a:pt x="1894" y="1140"/>
                    <a:pt x="1900" y="1148"/>
                    <a:pt x="1905" y="1157"/>
                  </a:cubicBezTo>
                  <a:cubicBezTo>
                    <a:pt x="1918" y="1162"/>
                    <a:pt x="1931" y="1168"/>
                    <a:pt x="1944" y="1175"/>
                  </a:cubicBezTo>
                  <a:cubicBezTo>
                    <a:pt x="1980" y="1196"/>
                    <a:pt x="2012" y="1226"/>
                    <a:pt x="2034" y="1262"/>
                  </a:cubicBezTo>
                  <a:cubicBezTo>
                    <a:pt x="2053" y="1291"/>
                    <a:pt x="2044" y="1330"/>
                    <a:pt x="2015" y="1348"/>
                  </a:cubicBezTo>
                  <a:cubicBezTo>
                    <a:pt x="1985" y="1367"/>
                    <a:pt x="1947" y="1358"/>
                    <a:pt x="1928" y="1329"/>
                  </a:cubicBezTo>
                  <a:cubicBezTo>
                    <a:pt x="1917" y="1310"/>
                    <a:pt x="1901" y="1294"/>
                    <a:pt x="1881" y="1283"/>
                  </a:cubicBezTo>
                  <a:cubicBezTo>
                    <a:pt x="1815" y="1245"/>
                    <a:pt x="1731" y="1267"/>
                    <a:pt x="1692" y="1333"/>
                  </a:cubicBezTo>
                  <a:cubicBezTo>
                    <a:pt x="1688" y="1342"/>
                    <a:pt x="1684" y="1350"/>
                    <a:pt x="1681" y="1359"/>
                  </a:cubicBezTo>
                  <a:cubicBezTo>
                    <a:pt x="1672" y="1386"/>
                    <a:pt x="1648" y="1402"/>
                    <a:pt x="1621" y="1402"/>
                  </a:cubicBezTo>
                  <a:cubicBezTo>
                    <a:pt x="1615" y="1402"/>
                    <a:pt x="1608" y="1401"/>
                    <a:pt x="1602" y="1399"/>
                  </a:cubicBezTo>
                  <a:cubicBezTo>
                    <a:pt x="1569" y="1389"/>
                    <a:pt x="1551" y="1353"/>
                    <a:pt x="1562" y="1320"/>
                  </a:cubicBezTo>
                  <a:cubicBezTo>
                    <a:pt x="1568" y="1303"/>
                    <a:pt x="1575" y="1287"/>
                    <a:pt x="1584" y="1271"/>
                  </a:cubicBezTo>
                  <a:cubicBezTo>
                    <a:pt x="1619" y="1211"/>
                    <a:pt x="1674" y="1171"/>
                    <a:pt x="1735" y="1152"/>
                  </a:cubicBezTo>
                  <a:lnTo>
                    <a:pt x="1735" y="1152"/>
                  </a:lnTo>
                  <a:close/>
                  <a:moveTo>
                    <a:pt x="2688" y="670"/>
                  </a:moveTo>
                  <a:lnTo>
                    <a:pt x="2688" y="670"/>
                  </a:lnTo>
                  <a:cubicBezTo>
                    <a:pt x="2684" y="692"/>
                    <a:pt x="2684" y="715"/>
                    <a:pt x="2691" y="736"/>
                  </a:cubicBezTo>
                  <a:cubicBezTo>
                    <a:pt x="2700" y="769"/>
                    <a:pt x="2681" y="804"/>
                    <a:pt x="2647" y="813"/>
                  </a:cubicBezTo>
                  <a:cubicBezTo>
                    <a:pt x="2642" y="815"/>
                    <a:pt x="2636" y="816"/>
                    <a:pt x="2630" y="816"/>
                  </a:cubicBezTo>
                  <a:cubicBezTo>
                    <a:pt x="2603" y="816"/>
                    <a:pt x="2578" y="798"/>
                    <a:pt x="2570" y="770"/>
                  </a:cubicBezTo>
                  <a:cubicBezTo>
                    <a:pt x="2559" y="730"/>
                    <a:pt x="2557" y="686"/>
                    <a:pt x="2566" y="645"/>
                  </a:cubicBezTo>
                  <a:cubicBezTo>
                    <a:pt x="2596" y="503"/>
                    <a:pt x="2735" y="412"/>
                    <a:pt x="2877" y="441"/>
                  </a:cubicBezTo>
                  <a:cubicBezTo>
                    <a:pt x="2895" y="445"/>
                    <a:pt x="2912" y="450"/>
                    <a:pt x="2929" y="458"/>
                  </a:cubicBezTo>
                  <a:cubicBezTo>
                    <a:pt x="2961" y="472"/>
                    <a:pt x="2975" y="509"/>
                    <a:pt x="2961" y="540"/>
                  </a:cubicBezTo>
                  <a:cubicBezTo>
                    <a:pt x="2947" y="572"/>
                    <a:pt x="2910" y="586"/>
                    <a:pt x="2879" y="572"/>
                  </a:cubicBezTo>
                  <a:cubicBezTo>
                    <a:pt x="2870" y="568"/>
                    <a:pt x="2861" y="565"/>
                    <a:pt x="2851" y="564"/>
                  </a:cubicBezTo>
                  <a:cubicBezTo>
                    <a:pt x="2777" y="548"/>
                    <a:pt x="2704" y="596"/>
                    <a:pt x="2688" y="670"/>
                  </a:cubicBezTo>
                  <a:lnTo>
                    <a:pt x="2688" y="670"/>
                  </a:lnTo>
                  <a:close/>
                  <a:moveTo>
                    <a:pt x="3867" y="2836"/>
                  </a:moveTo>
                  <a:lnTo>
                    <a:pt x="3867" y="2836"/>
                  </a:lnTo>
                  <a:cubicBezTo>
                    <a:pt x="3842" y="2954"/>
                    <a:pt x="3799" y="3065"/>
                    <a:pt x="3741" y="3166"/>
                  </a:cubicBezTo>
                  <a:cubicBezTo>
                    <a:pt x="3740" y="3171"/>
                    <a:pt x="3738" y="3175"/>
                    <a:pt x="3737" y="3180"/>
                  </a:cubicBezTo>
                  <a:cubicBezTo>
                    <a:pt x="3733" y="3188"/>
                    <a:pt x="3727" y="3194"/>
                    <a:pt x="3721" y="3200"/>
                  </a:cubicBezTo>
                  <a:cubicBezTo>
                    <a:pt x="3606" y="3387"/>
                    <a:pt x="3437" y="3539"/>
                    <a:pt x="3233" y="3634"/>
                  </a:cubicBezTo>
                  <a:cubicBezTo>
                    <a:pt x="3229" y="3747"/>
                    <a:pt x="3192" y="3856"/>
                    <a:pt x="3124" y="3949"/>
                  </a:cubicBezTo>
                  <a:cubicBezTo>
                    <a:pt x="3034" y="4072"/>
                    <a:pt x="2902" y="4153"/>
                    <a:pt x="2752" y="4176"/>
                  </a:cubicBezTo>
                  <a:cubicBezTo>
                    <a:pt x="2723" y="4181"/>
                    <a:pt x="2693" y="4183"/>
                    <a:pt x="2664" y="4183"/>
                  </a:cubicBezTo>
                  <a:cubicBezTo>
                    <a:pt x="2590" y="4183"/>
                    <a:pt x="2516" y="4168"/>
                    <a:pt x="2447" y="4140"/>
                  </a:cubicBezTo>
                  <a:cubicBezTo>
                    <a:pt x="2442" y="4138"/>
                    <a:pt x="2439" y="4135"/>
                    <a:pt x="2435" y="4132"/>
                  </a:cubicBezTo>
                  <a:cubicBezTo>
                    <a:pt x="2429" y="4139"/>
                    <a:pt x="2422" y="4145"/>
                    <a:pt x="2412" y="4148"/>
                  </a:cubicBezTo>
                  <a:cubicBezTo>
                    <a:pt x="2343" y="4177"/>
                    <a:pt x="2270" y="4192"/>
                    <a:pt x="2195" y="4192"/>
                  </a:cubicBezTo>
                  <a:cubicBezTo>
                    <a:pt x="2166" y="4192"/>
                    <a:pt x="2137" y="4189"/>
                    <a:pt x="2108" y="4185"/>
                  </a:cubicBezTo>
                  <a:cubicBezTo>
                    <a:pt x="1957" y="4161"/>
                    <a:pt x="1825" y="4081"/>
                    <a:pt x="1735" y="3958"/>
                  </a:cubicBezTo>
                  <a:cubicBezTo>
                    <a:pt x="1669" y="3867"/>
                    <a:pt x="1631" y="3760"/>
                    <a:pt x="1626" y="3649"/>
                  </a:cubicBezTo>
                  <a:cubicBezTo>
                    <a:pt x="1626" y="3649"/>
                    <a:pt x="1625" y="3649"/>
                    <a:pt x="1625" y="3649"/>
                  </a:cubicBezTo>
                  <a:lnTo>
                    <a:pt x="1399" y="3525"/>
                  </a:lnTo>
                  <a:cubicBezTo>
                    <a:pt x="1090" y="3364"/>
                    <a:pt x="901" y="3035"/>
                    <a:pt x="917" y="2686"/>
                  </a:cubicBezTo>
                  <a:cubicBezTo>
                    <a:pt x="918" y="2651"/>
                    <a:pt x="947" y="2625"/>
                    <a:pt x="982" y="2626"/>
                  </a:cubicBezTo>
                  <a:cubicBezTo>
                    <a:pt x="1016" y="2628"/>
                    <a:pt x="1043" y="2657"/>
                    <a:pt x="1042" y="2692"/>
                  </a:cubicBezTo>
                  <a:cubicBezTo>
                    <a:pt x="1028" y="2992"/>
                    <a:pt x="1191" y="3276"/>
                    <a:pt x="1458" y="3415"/>
                  </a:cubicBezTo>
                  <a:lnTo>
                    <a:pt x="1637" y="3513"/>
                  </a:lnTo>
                  <a:cubicBezTo>
                    <a:pt x="1650" y="3445"/>
                    <a:pt x="1675" y="3381"/>
                    <a:pt x="1711" y="3322"/>
                  </a:cubicBezTo>
                  <a:cubicBezTo>
                    <a:pt x="1729" y="3293"/>
                    <a:pt x="1768" y="3284"/>
                    <a:pt x="1797" y="3302"/>
                  </a:cubicBezTo>
                  <a:cubicBezTo>
                    <a:pt x="1826" y="3320"/>
                    <a:pt x="1835" y="3359"/>
                    <a:pt x="1817" y="3388"/>
                  </a:cubicBezTo>
                  <a:cubicBezTo>
                    <a:pt x="1786" y="3439"/>
                    <a:pt x="1765" y="3494"/>
                    <a:pt x="1756" y="3554"/>
                  </a:cubicBezTo>
                  <a:cubicBezTo>
                    <a:pt x="1738" y="3671"/>
                    <a:pt x="1766" y="3788"/>
                    <a:pt x="1836" y="3884"/>
                  </a:cubicBezTo>
                  <a:cubicBezTo>
                    <a:pt x="1906" y="3980"/>
                    <a:pt x="2010" y="4043"/>
                    <a:pt x="2127" y="4061"/>
                  </a:cubicBezTo>
                  <a:cubicBezTo>
                    <a:pt x="2208" y="4074"/>
                    <a:pt x="2290" y="4064"/>
                    <a:pt x="2365" y="4033"/>
                  </a:cubicBezTo>
                  <a:cubicBezTo>
                    <a:pt x="2367" y="4032"/>
                    <a:pt x="2369" y="4032"/>
                    <a:pt x="2371" y="4032"/>
                  </a:cubicBezTo>
                  <a:lnTo>
                    <a:pt x="2371" y="3014"/>
                  </a:lnTo>
                  <a:cubicBezTo>
                    <a:pt x="2371" y="2980"/>
                    <a:pt x="2399" y="2952"/>
                    <a:pt x="2434" y="2952"/>
                  </a:cubicBezTo>
                  <a:cubicBezTo>
                    <a:pt x="2468" y="2952"/>
                    <a:pt x="2496" y="2980"/>
                    <a:pt x="2496" y="3014"/>
                  </a:cubicBezTo>
                  <a:lnTo>
                    <a:pt x="2496" y="4025"/>
                  </a:lnTo>
                  <a:cubicBezTo>
                    <a:pt x="2571" y="4055"/>
                    <a:pt x="2652" y="4065"/>
                    <a:pt x="2733" y="4053"/>
                  </a:cubicBezTo>
                  <a:cubicBezTo>
                    <a:pt x="2850" y="4034"/>
                    <a:pt x="2953" y="3971"/>
                    <a:pt x="3023" y="3876"/>
                  </a:cubicBezTo>
                  <a:cubicBezTo>
                    <a:pt x="3093" y="3780"/>
                    <a:pt x="3122" y="3662"/>
                    <a:pt x="3103" y="3545"/>
                  </a:cubicBezTo>
                  <a:cubicBezTo>
                    <a:pt x="3094" y="3486"/>
                    <a:pt x="3074" y="3430"/>
                    <a:pt x="3042" y="3380"/>
                  </a:cubicBezTo>
                  <a:cubicBezTo>
                    <a:pt x="3024" y="3350"/>
                    <a:pt x="3033" y="3312"/>
                    <a:pt x="3063" y="3294"/>
                  </a:cubicBezTo>
                  <a:cubicBezTo>
                    <a:pt x="3092" y="3275"/>
                    <a:pt x="3130" y="3284"/>
                    <a:pt x="3149" y="3314"/>
                  </a:cubicBezTo>
                  <a:cubicBezTo>
                    <a:pt x="3184" y="3371"/>
                    <a:pt x="3208" y="3434"/>
                    <a:pt x="3222" y="3501"/>
                  </a:cubicBezTo>
                  <a:cubicBezTo>
                    <a:pt x="3391" y="3412"/>
                    <a:pt x="3531" y="3278"/>
                    <a:pt x="3626" y="3115"/>
                  </a:cubicBezTo>
                  <a:cubicBezTo>
                    <a:pt x="3631" y="3099"/>
                    <a:pt x="3634" y="3082"/>
                    <a:pt x="3633" y="3065"/>
                  </a:cubicBezTo>
                  <a:cubicBezTo>
                    <a:pt x="3631" y="3028"/>
                    <a:pt x="3614" y="2994"/>
                    <a:pt x="3586" y="2970"/>
                  </a:cubicBezTo>
                  <a:cubicBezTo>
                    <a:pt x="3558" y="2946"/>
                    <a:pt x="3522" y="2935"/>
                    <a:pt x="3486" y="2937"/>
                  </a:cubicBezTo>
                  <a:cubicBezTo>
                    <a:pt x="3476" y="2938"/>
                    <a:pt x="3467" y="2939"/>
                    <a:pt x="3458" y="2942"/>
                  </a:cubicBezTo>
                  <a:cubicBezTo>
                    <a:pt x="3425" y="2951"/>
                    <a:pt x="3390" y="2932"/>
                    <a:pt x="3380" y="2899"/>
                  </a:cubicBezTo>
                  <a:cubicBezTo>
                    <a:pt x="3371" y="2866"/>
                    <a:pt x="3390" y="2831"/>
                    <a:pt x="3423" y="2822"/>
                  </a:cubicBezTo>
                  <a:cubicBezTo>
                    <a:pt x="3441" y="2817"/>
                    <a:pt x="3459" y="2814"/>
                    <a:pt x="3477" y="2812"/>
                  </a:cubicBezTo>
                  <a:cubicBezTo>
                    <a:pt x="3547" y="2807"/>
                    <a:pt x="3615" y="2830"/>
                    <a:pt x="3668" y="2876"/>
                  </a:cubicBezTo>
                  <a:cubicBezTo>
                    <a:pt x="3685" y="2891"/>
                    <a:pt x="3700" y="2909"/>
                    <a:pt x="3712" y="2928"/>
                  </a:cubicBezTo>
                  <a:cubicBezTo>
                    <a:pt x="3725" y="2890"/>
                    <a:pt x="3736" y="2851"/>
                    <a:pt x="3744" y="2811"/>
                  </a:cubicBezTo>
                  <a:cubicBezTo>
                    <a:pt x="3751" y="2777"/>
                    <a:pt x="3784" y="2755"/>
                    <a:pt x="3818" y="2762"/>
                  </a:cubicBezTo>
                  <a:cubicBezTo>
                    <a:pt x="3852" y="2770"/>
                    <a:pt x="3874" y="2803"/>
                    <a:pt x="3867" y="2836"/>
                  </a:cubicBezTo>
                  <a:lnTo>
                    <a:pt x="3867" y="2836"/>
                  </a:lnTo>
                  <a:close/>
                  <a:moveTo>
                    <a:pt x="684" y="1549"/>
                  </a:moveTo>
                  <a:lnTo>
                    <a:pt x="684" y="1549"/>
                  </a:lnTo>
                  <a:cubicBezTo>
                    <a:pt x="714" y="1311"/>
                    <a:pt x="890" y="1118"/>
                    <a:pt x="1123" y="1065"/>
                  </a:cubicBezTo>
                  <a:cubicBezTo>
                    <a:pt x="1053" y="598"/>
                    <a:pt x="1359" y="150"/>
                    <a:pt x="1827" y="52"/>
                  </a:cubicBezTo>
                  <a:cubicBezTo>
                    <a:pt x="2018" y="13"/>
                    <a:pt x="2255" y="0"/>
                    <a:pt x="2440" y="224"/>
                  </a:cubicBezTo>
                  <a:cubicBezTo>
                    <a:pt x="2579" y="99"/>
                    <a:pt x="2797" y="44"/>
                    <a:pt x="3005" y="87"/>
                  </a:cubicBezTo>
                  <a:cubicBezTo>
                    <a:pt x="3240" y="136"/>
                    <a:pt x="3442" y="274"/>
                    <a:pt x="3573" y="475"/>
                  </a:cubicBezTo>
                  <a:cubicBezTo>
                    <a:pt x="3695" y="662"/>
                    <a:pt x="3742" y="882"/>
                    <a:pt x="3709" y="1100"/>
                  </a:cubicBezTo>
                  <a:cubicBezTo>
                    <a:pt x="3921" y="1148"/>
                    <a:pt x="4088" y="1314"/>
                    <a:pt x="4138" y="1526"/>
                  </a:cubicBezTo>
                  <a:cubicBezTo>
                    <a:pt x="4146" y="1559"/>
                    <a:pt x="4125" y="1593"/>
                    <a:pt x="4091" y="1601"/>
                  </a:cubicBezTo>
                  <a:cubicBezTo>
                    <a:pt x="4086" y="1602"/>
                    <a:pt x="4081" y="1602"/>
                    <a:pt x="4077" y="1602"/>
                  </a:cubicBezTo>
                  <a:cubicBezTo>
                    <a:pt x="4048" y="1603"/>
                    <a:pt x="4023" y="1583"/>
                    <a:pt x="4016" y="1554"/>
                  </a:cubicBezTo>
                  <a:cubicBezTo>
                    <a:pt x="3977" y="1386"/>
                    <a:pt x="3843" y="1255"/>
                    <a:pt x="3674" y="1220"/>
                  </a:cubicBezTo>
                  <a:cubicBezTo>
                    <a:pt x="3615" y="1207"/>
                    <a:pt x="3556" y="1207"/>
                    <a:pt x="3498" y="1218"/>
                  </a:cubicBezTo>
                  <a:cubicBezTo>
                    <a:pt x="3463" y="1225"/>
                    <a:pt x="3431" y="1203"/>
                    <a:pt x="3424" y="1169"/>
                  </a:cubicBezTo>
                  <a:cubicBezTo>
                    <a:pt x="3417" y="1135"/>
                    <a:pt x="3440" y="1102"/>
                    <a:pt x="3473" y="1096"/>
                  </a:cubicBezTo>
                  <a:cubicBezTo>
                    <a:pt x="3510" y="1089"/>
                    <a:pt x="3548" y="1085"/>
                    <a:pt x="3585" y="1085"/>
                  </a:cubicBezTo>
                  <a:cubicBezTo>
                    <a:pt x="3614" y="896"/>
                    <a:pt x="3574" y="705"/>
                    <a:pt x="3469" y="544"/>
                  </a:cubicBezTo>
                  <a:cubicBezTo>
                    <a:pt x="3355" y="371"/>
                    <a:pt x="3181" y="252"/>
                    <a:pt x="2979" y="210"/>
                  </a:cubicBezTo>
                  <a:cubicBezTo>
                    <a:pt x="2797" y="171"/>
                    <a:pt x="2600" y="227"/>
                    <a:pt x="2495" y="345"/>
                  </a:cubicBezTo>
                  <a:cubicBezTo>
                    <a:pt x="2495" y="346"/>
                    <a:pt x="2496" y="348"/>
                    <a:pt x="2496" y="349"/>
                  </a:cubicBezTo>
                  <a:lnTo>
                    <a:pt x="2496" y="954"/>
                  </a:lnTo>
                  <a:cubicBezTo>
                    <a:pt x="2496" y="988"/>
                    <a:pt x="2468" y="1016"/>
                    <a:pt x="2434" y="1016"/>
                  </a:cubicBezTo>
                  <a:cubicBezTo>
                    <a:pt x="2399" y="1016"/>
                    <a:pt x="2371" y="988"/>
                    <a:pt x="2371" y="954"/>
                  </a:cubicBezTo>
                  <a:lnTo>
                    <a:pt x="2371" y="349"/>
                  </a:lnTo>
                  <a:cubicBezTo>
                    <a:pt x="2371" y="347"/>
                    <a:pt x="2372" y="345"/>
                    <a:pt x="2372" y="342"/>
                  </a:cubicBezTo>
                  <a:cubicBezTo>
                    <a:pt x="2226" y="130"/>
                    <a:pt x="2036" y="136"/>
                    <a:pt x="1853" y="175"/>
                  </a:cubicBezTo>
                  <a:cubicBezTo>
                    <a:pt x="1449" y="259"/>
                    <a:pt x="1185" y="647"/>
                    <a:pt x="1247" y="1050"/>
                  </a:cubicBezTo>
                  <a:cubicBezTo>
                    <a:pt x="1284" y="1050"/>
                    <a:pt x="1322" y="1054"/>
                    <a:pt x="1359" y="1061"/>
                  </a:cubicBezTo>
                  <a:cubicBezTo>
                    <a:pt x="1392" y="1067"/>
                    <a:pt x="1415" y="1100"/>
                    <a:pt x="1408" y="1134"/>
                  </a:cubicBezTo>
                  <a:cubicBezTo>
                    <a:pt x="1401" y="1168"/>
                    <a:pt x="1369" y="1190"/>
                    <a:pt x="1334" y="1183"/>
                  </a:cubicBezTo>
                  <a:cubicBezTo>
                    <a:pt x="1276" y="1172"/>
                    <a:pt x="1217" y="1172"/>
                    <a:pt x="1158" y="1185"/>
                  </a:cubicBezTo>
                  <a:cubicBezTo>
                    <a:pt x="972" y="1223"/>
                    <a:pt x="832" y="1376"/>
                    <a:pt x="808" y="1564"/>
                  </a:cubicBezTo>
                  <a:cubicBezTo>
                    <a:pt x="804" y="1596"/>
                    <a:pt x="777" y="1619"/>
                    <a:pt x="746" y="1619"/>
                  </a:cubicBezTo>
                  <a:cubicBezTo>
                    <a:pt x="743" y="1619"/>
                    <a:pt x="741" y="1619"/>
                    <a:pt x="738" y="1618"/>
                  </a:cubicBezTo>
                  <a:cubicBezTo>
                    <a:pt x="704" y="1614"/>
                    <a:pt x="680" y="1583"/>
                    <a:pt x="684" y="1549"/>
                  </a:cubicBezTo>
                  <a:lnTo>
                    <a:pt x="684" y="1549"/>
                  </a:lnTo>
                  <a:close/>
                  <a:moveTo>
                    <a:pt x="2701" y="1921"/>
                  </a:moveTo>
                  <a:lnTo>
                    <a:pt x="2701" y="1921"/>
                  </a:lnTo>
                  <a:lnTo>
                    <a:pt x="2701" y="2512"/>
                  </a:lnTo>
                  <a:cubicBezTo>
                    <a:pt x="2701" y="2547"/>
                    <a:pt x="2673" y="2576"/>
                    <a:pt x="2638" y="2576"/>
                  </a:cubicBezTo>
                  <a:lnTo>
                    <a:pt x="2219" y="2576"/>
                  </a:lnTo>
                  <a:cubicBezTo>
                    <a:pt x="2184" y="2576"/>
                    <a:pt x="2156" y="2547"/>
                    <a:pt x="2156" y="2512"/>
                  </a:cubicBezTo>
                  <a:lnTo>
                    <a:pt x="2156" y="1921"/>
                  </a:lnTo>
                  <a:cubicBezTo>
                    <a:pt x="2156" y="1886"/>
                    <a:pt x="2184" y="1857"/>
                    <a:pt x="2219" y="1857"/>
                  </a:cubicBezTo>
                  <a:lnTo>
                    <a:pt x="2638" y="1857"/>
                  </a:lnTo>
                  <a:cubicBezTo>
                    <a:pt x="2673" y="1857"/>
                    <a:pt x="2701" y="1886"/>
                    <a:pt x="2701" y="1921"/>
                  </a:cubicBezTo>
                  <a:lnTo>
                    <a:pt x="2701" y="1921"/>
                  </a:lnTo>
                  <a:close/>
                  <a:moveTo>
                    <a:pt x="201" y="2078"/>
                  </a:moveTo>
                  <a:lnTo>
                    <a:pt x="201" y="2078"/>
                  </a:lnTo>
                  <a:cubicBezTo>
                    <a:pt x="201" y="2107"/>
                    <a:pt x="177" y="2130"/>
                    <a:pt x="149" y="2130"/>
                  </a:cubicBezTo>
                  <a:lnTo>
                    <a:pt x="141" y="2130"/>
                  </a:lnTo>
                  <a:cubicBezTo>
                    <a:pt x="113" y="2130"/>
                    <a:pt x="90" y="2107"/>
                    <a:pt x="90" y="2078"/>
                  </a:cubicBezTo>
                  <a:lnTo>
                    <a:pt x="90" y="2070"/>
                  </a:lnTo>
                  <a:cubicBezTo>
                    <a:pt x="90" y="2042"/>
                    <a:pt x="113" y="2019"/>
                    <a:pt x="141" y="2019"/>
                  </a:cubicBezTo>
                  <a:lnTo>
                    <a:pt x="149" y="2019"/>
                  </a:lnTo>
                  <a:cubicBezTo>
                    <a:pt x="177" y="2019"/>
                    <a:pt x="201" y="2042"/>
                    <a:pt x="201" y="2070"/>
                  </a:cubicBezTo>
                  <a:lnTo>
                    <a:pt x="201" y="2078"/>
                  </a:lnTo>
                  <a:lnTo>
                    <a:pt x="201" y="2078"/>
                  </a:lnTo>
                  <a:close/>
                  <a:moveTo>
                    <a:pt x="1581" y="2123"/>
                  </a:moveTo>
                  <a:lnTo>
                    <a:pt x="1581" y="2123"/>
                  </a:lnTo>
                  <a:cubicBezTo>
                    <a:pt x="1600" y="2164"/>
                    <a:pt x="1641" y="2192"/>
                    <a:pt x="1688" y="2192"/>
                  </a:cubicBezTo>
                  <a:cubicBezTo>
                    <a:pt x="1753" y="2192"/>
                    <a:pt x="1806" y="2139"/>
                    <a:pt x="1806" y="2074"/>
                  </a:cubicBezTo>
                  <a:cubicBezTo>
                    <a:pt x="1806" y="2009"/>
                    <a:pt x="1753" y="1957"/>
                    <a:pt x="1688" y="1957"/>
                  </a:cubicBezTo>
                  <a:cubicBezTo>
                    <a:pt x="1640" y="1957"/>
                    <a:pt x="1599" y="1985"/>
                    <a:pt x="1581" y="2027"/>
                  </a:cubicBezTo>
                  <a:lnTo>
                    <a:pt x="283" y="2027"/>
                  </a:lnTo>
                  <a:cubicBezTo>
                    <a:pt x="265" y="1970"/>
                    <a:pt x="212" y="1929"/>
                    <a:pt x="149" y="1929"/>
                  </a:cubicBezTo>
                  <a:lnTo>
                    <a:pt x="141" y="1929"/>
                  </a:lnTo>
                  <a:cubicBezTo>
                    <a:pt x="63" y="1929"/>
                    <a:pt x="0" y="1992"/>
                    <a:pt x="0" y="2070"/>
                  </a:cubicBezTo>
                  <a:lnTo>
                    <a:pt x="0" y="2078"/>
                  </a:lnTo>
                  <a:cubicBezTo>
                    <a:pt x="0" y="2157"/>
                    <a:pt x="63" y="2220"/>
                    <a:pt x="141" y="2220"/>
                  </a:cubicBezTo>
                  <a:lnTo>
                    <a:pt x="149" y="2220"/>
                  </a:lnTo>
                  <a:cubicBezTo>
                    <a:pt x="212" y="2220"/>
                    <a:pt x="264" y="2179"/>
                    <a:pt x="283" y="2123"/>
                  </a:cubicBezTo>
                  <a:lnTo>
                    <a:pt x="1581" y="2123"/>
                  </a:lnTo>
                  <a:lnTo>
                    <a:pt x="1581" y="2123"/>
                  </a:lnTo>
                  <a:close/>
                  <a:moveTo>
                    <a:pt x="483" y="2817"/>
                  </a:moveTo>
                  <a:lnTo>
                    <a:pt x="483" y="2817"/>
                  </a:lnTo>
                  <a:cubicBezTo>
                    <a:pt x="483" y="2845"/>
                    <a:pt x="460" y="2868"/>
                    <a:pt x="431" y="2868"/>
                  </a:cubicBezTo>
                  <a:lnTo>
                    <a:pt x="423" y="2868"/>
                  </a:lnTo>
                  <a:cubicBezTo>
                    <a:pt x="395" y="2868"/>
                    <a:pt x="372" y="2845"/>
                    <a:pt x="372" y="2817"/>
                  </a:cubicBezTo>
                  <a:lnTo>
                    <a:pt x="372" y="2809"/>
                  </a:lnTo>
                  <a:cubicBezTo>
                    <a:pt x="372" y="2781"/>
                    <a:pt x="395" y="2758"/>
                    <a:pt x="423" y="2758"/>
                  </a:cubicBezTo>
                  <a:lnTo>
                    <a:pt x="431" y="2758"/>
                  </a:lnTo>
                  <a:cubicBezTo>
                    <a:pt x="460" y="2758"/>
                    <a:pt x="483" y="2781"/>
                    <a:pt x="483" y="2809"/>
                  </a:cubicBezTo>
                  <a:lnTo>
                    <a:pt x="483" y="2817"/>
                  </a:lnTo>
                  <a:lnTo>
                    <a:pt x="483" y="2817"/>
                  </a:lnTo>
                  <a:close/>
                  <a:moveTo>
                    <a:pt x="476" y="2675"/>
                  </a:moveTo>
                  <a:lnTo>
                    <a:pt x="476" y="2675"/>
                  </a:lnTo>
                  <a:lnTo>
                    <a:pt x="476" y="2523"/>
                  </a:lnTo>
                  <a:cubicBezTo>
                    <a:pt x="476" y="2513"/>
                    <a:pt x="484" y="2504"/>
                    <a:pt x="495" y="2504"/>
                  </a:cubicBezTo>
                  <a:lnTo>
                    <a:pt x="1535" y="2504"/>
                  </a:lnTo>
                  <a:cubicBezTo>
                    <a:pt x="1554" y="2545"/>
                    <a:pt x="1595" y="2574"/>
                    <a:pt x="1643" y="2574"/>
                  </a:cubicBezTo>
                  <a:cubicBezTo>
                    <a:pt x="1708" y="2574"/>
                    <a:pt x="1760" y="2521"/>
                    <a:pt x="1760" y="2456"/>
                  </a:cubicBezTo>
                  <a:cubicBezTo>
                    <a:pt x="1760" y="2391"/>
                    <a:pt x="1708" y="2338"/>
                    <a:pt x="1643" y="2338"/>
                  </a:cubicBezTo>
                  <a:cubicBezTo>
                    <a:pt x="1595" y="2338"/>
                    <a:pt x="1554" y="2367"/>
                    <a:pt x="1535" y="2408"/>
                  </a:cubicBezTo>
                  <a:lnTo>
                    <a:pt x="495" y="2408"/>
                  </a:lnTo>
                  <a:cubicBezTo>
                    <a:pt x="431" y="2408"/>
                    <a:pt x="379" y="2460"/>
                    <a:pt x="379" y="2523"/>
                  </a:cubicBezTo>
                  <a:lnTo>
                    <a:pt x="379" y="2675"/>
                  </a:lnTo>
                  <a:cubicBezTo>
                    <a:pt x="323" y="2693"/>
                    <a:pt x="282" y="2746"/>
                    <a:pt x="282" y="2809"/>
                  </a:cubicBezTo>
                  <a:lnTo>
                    <a:pt x="282" y="2817"/>
                  </a:lnTo>
                  <a:cubicBezTo>
                    <a:pt x="282" y="2895"/>
                    <a:pt x="345" y="2959"/>
                    <a:pt x="423" y="2959"/>
                  </a:cubicBezTo>
                  <a:lnTo>
                    <a:pt x="431" y="2959"/>
                  </a:lnTo>
                  <a:cubicBezTo>
                    <a:pt x="509" y="2959"/>
                    <a:pt x="573" y="2895"/>
                    <a:pt x="573" y="2817"/>
                  </a:cubicBezTo>
                  <a:lnTo>
                    <a:pt x="573" y="2809"/>
                  </a:lnTo>
                  <a:cubicBezTo>
                    <a:pt x="573" y="2746"/>
                    <a:pt x="532" y="2693"/>
                    <a:pt x="476" y="2675"/>
                  </a:cubicBezTo>
                  <a:lnTo>
                    <a:pt x="476" y="2675"/>
                  </a:lnTo>
                  <a:close/>
                  <a:moveTo>
                    <a:pt x="4289" y="1278"/>
                  </a:moveTo>
                  <a:lnTo>
                    <a:pt x="4289" y="1278"/>
                  </a:lnTo>
                  <a:cubicBezTo>
                    <a:pt x="4289" y="1250"/>
                    <a:pt x="4312" y="1227"/>
                    <a:pt x="4340" y="1227"/>
                  </a:cubicBezTo>
                  <a:lnTo>
                    <a:pt x="4348" y="1227"/>
                  </a:lnTo>
                  <a:cubicBezTo>
                    <a:pt x="4376" y="1227"/>
                    <a:pt x="4399" y="1250"/>
                    <a:pt x="4399" y="1278"/>
                  </a:cubicBezTo>
                  <a:lnTo>
                    <a:pt x="4399" y="1286"/>
                  </a:lnTo>
                  <a:cubicBezTo>
                    <a:pt x="4399" y="1314"/>
                    <a:pt x="4376" y="1337"/>
                    <a:pt x="4348" y="1337"/>
                  </a:cubicBezTo>
                  <a:lnTo>
                    <a:pt x="4340" y="1337"/>
                  </a:lnTo>
                  <a:cubicBezTo>
                    <a:pt x="4312" y="1337"/>
                    <a:pt x="4289" y="1314"/>
                    <a:pt x="4289" y="1286"/>
                  </a:cubicBezTo>
                  <a:lnTo>
                    <a:pt x="4289" y="1278"/>
                  </a:lnTo>
                  <a:lnTo>
                    <a:pt x="4289" y="1278"/>
                  </a:lnTo>
                  <a:close/>
                  <a:moveTo>
                    <a:pt x="4295" y="1420"/>
                  </a:moveTo>
                  <a:lnTo>
                    <a:pt x="4295" y="1420"/>
                  </a:lnTo>
                  <a:lnTo>
                    <a:pt x="4295" y="1790"/>
                  </a:lnTo>
                  <a:cubicBezTo>
                    <a:pt x="4295" y="1800"/>
                    <a:pt x="4287" y="1809"/>
                    <a:pt x="4276" y="1809"/>
                  </a:cubicBezTo>
                  <a:lnTo>
                    <a:pt x="3370" y="1809"/>
                  </a:lnTo>
                  <a:cubicBezTo>
                    <a:pt x="3351" y="1768"/>
                    <a:pt x="3310" y="1739"/>
                    <a:pt x="3262" y="1739"/>
                  </a:cubicBezTo>
                  <a:cubicBezTo>
                    <a:pt x="3197" y="1739"/>
                    <a:pt x="3145" y="1792"/>
                    <a:pt x="3145" y="1857"/>
                  </a:cubicBezTo>
                  <a:cubicBezTo>
                    <a:pt x="3145" y="1922"/>
                    <a:pt x="3197" y="1975"/>
                    <a:pt x="3262" y="1975"/>
                  </a:cubicBezTo>
                  <a:cubicBezTo>
                    <a:pt x="3310" y="1975"/>
                    <a:pt x="3351" y="1946"/>
                    <a:pt x="3370" y="1905"/>
                  </a:cubicBezTo>
                  <a:lnTo>
                    <a:pt x="4276" y="1905"/>
                  </a:lnTo>
                  <a:cubicBezTo>
                    <a:pt x="4340" y="1905"/>
                    <a:pt x="4392" y="1854"/>
                    <a:pt x="4392" y="1790"/>
                  </a:cubicBezTo>
                  <a:lnTo>
                    <a:pt x="4392" y="1420"/>
                  </a:lnTo>
                  <a:cubicBezTo>
                    <a:pt x="4448" y="1402"/>
                    <a:pt x="4490" y="1349"/>
                    <a:pt x="4490" y="1286"/>
                  </a:cubicBezTo>
                  <a:lnTo>
                    <a:pt x="4490" y="1278"/>
                  </a:lnTo>
                  <a:cubicBezTo>
                    <a:pt x="4490" y="1200"/>
                    <a:pt x="4426" y="1136"/>
                    <a:pt x="4348" y="1136"/>
                  </a:cubicBezTo>
                  <a:lnTo>
                    <a:pt x="4340" y="1136"/>
                  </a:lnTo>
                  <a:cubicBezTo>
                    <a:pt x="4262" y="1136"/>
                    <a:pt x="4198" y="1200"/>
                    <a:pt x="4198" y="1278"/>
                  </a:cubicBezTo>
                  <a:lnTo>
                    <a:pt x="4198" y="1286"/>
                  </a:lnTo>
                  <a:cubicBezTo>
                    <a:pt x="4198" y="1349"/>
                    <a:pt x="4239" y="1402"/>
                    <a:pt x="4295" y="1420"/>
                  </a:cubicBezTo>
                  <a:lnTo>
                    <a:pt x="4295" y="1420"/>
                  </a:lnTo>
                  <a:close/>
                  <a:moveTo>
                    <a:pt x="4368" y="2837"/>
                  </a:moveTo>
                  <a:lnTo>
                    <a:pt x="4368" y="2837"/>
                  </a:lnTo>
                  <a:cubicBezTo>
                    <a:pt x="4368" y="2865"/>
                    <a:pt x="4345" y="2888"/>
                    <a:pt x="4317" y="2888"/>
                  </a:cubicBezTo>
                  <a:lnTo>
                    <a:pt x="4309" y="2888"/>
                  </a:lnTo>
                  <a:cubicBezTo>
                    <a:pt x="4281" y="2888"/>
                    <a:pt x="4258" y="2865"/>
                    <a:pt x="4258" y="2837"/>
                  </a:cubicBezTo>
                  <a:lnTo>
                    <a:pt x="4258" y="2829"/>
                  </a:lnTo>
                  <a:cubicBezTo>
                    <a:pt x="4258" y="2801"/>
                    <a:pt x="4281" y="2778"/>
                    <a:pt x="4309" y="2778"/>
                  </a:cubicBezTo>
                  <a:lnTo>
                    <a:pt x="4317" y="2778"/>
                  </a:lnTo>
                  <a:cubicBezTo>
                    <a:pt x="4345" y="2778"/>
                    <a:pt x="4368" y="2801"/>
                    <a:pt x="4368" y="2829"/>
                  </a:cubicBezTo>
                  <a:lnTo>
                    <a:pt x="4368" y="2837"/>
                  </a:lnTo>
                  <a:lnTo>
                    <a:pt x="4368" y="2837"/>
                  </a:lnTo>
                  <a:close/>
                  <a:moveTo>
                    <a:pt x="4361" y="2695"/>
                  </a:moveTo>
                  <a:lnTo>
                    <a:pt x="4361" y="2695"/>
                  </a:lnTo>
                  <a:lnTo>
                    <a:pt x="4361" y="2544"/>
                  </a:lnTo>
                  <a:cubicBezTo>
                    <a:pt x="4361" y="2480"/>
                    <a:pt x="4309" y="2428"/>
                    <a:pt x="4246" y="2428"/>
                  </a:cubicBezTo>
                  <a:lnTo>
                    <a:pt x="3370" y="2428"/>
                  </a:lnTo>
                  <a:cubicBezTo>
                    <a:pt x="3351" y="2387"/>
                    <a:pt x="3310" y="2358"/>
                    <a:pt x="3262" y="2358"/>
                  </a:cubicBezTo>
                  <a:cubicBezTo>
                    <a:pt x="3197" y="2358"/>
                    <a:pt x="3145" y="2411"/>
                    <a:pt x="3145" y="2476"/>
                  </a:cubicBezTo>
                  <a:cubicBezTo>
                    <a:pt x="3145" y="2541"/>
                    <a:pt x="3197" y="2594"/>
                    <a:pt x="3262" y="2594"/>
                  </a:cubicBezTo>
                  <a:cubicBezTo>
                    <a:pt x="3310" y="2594"/>
                    <a:pt x="3351" y="2566"/>
                    <a:pt x="3370" y="2525"/>
                  </a:cubicBezTo>
                  <a:lnTo>
                    <a:pt x="4246" y="2525"/>
                  </a:lnTo>
                  <a:cubicBezTo>
                    <a:pt x="4256" y="2525"/>
                    <a:pt x="4265" y="2533"/>
                    <a:pt x="4265" y="2544"/>
                  </a:cubicBezTo>
                  <a:lnTo>
                    <a:pt x="4265" y="2695"/>
                  </a:lnTo>
                  <a:cubicBezTo>
                    <a:pt x="4208" y="2714"/>
                    <a:pt x="4167" y="2766"/>
                    <a:pt x="4167" y="2829"/>
                  </a:cubicBezTo>
                  <a:lnTo>
                    <a:pt x="4167" y="2837"/>
                  </a:lnTo>
                  <a:cubicBezTo>
                    <a:pt x="4167" y="2915"/>
                    <a:pt x="4231" y="2979"/>
                    <a:pt x="4309" y="2979"/>
                  </a:cubicBezTo>
                  <a:lnTo>
                    <a:pt x="4317" y="2979"/>
                  </a:lnTo>
                  <a:cubicBezTo>
                    <a:pt x="4395" y="2979"/>
                    <a:pt x="4459" y="2915"/>
                    <a:pt x="4459" y="2837"/>
                  </a:cubicBezTo>
                  <a:lnTo>
                    <a:pt x="4459" y="2829"/>
                  </a:lnTo>
                  <a:cubicBezTo>
                    <a:pt x="4459" y="2766"/>
                    <a:pt x="4418" y="2714"/>
                    <a:pt x="4361" y="2695"/>
                  </a:cubicBezTo>
                  <a:lnTo>
                    <a:pt x="4361" y="2695"/>
                  </a:lnTo>
                  <a:close/>
                  <a:moveTo>
                    <a:pt x="4709" y="2159"/>
                  </a:moveTo>
                  <a:lnTo>
                    <a:pt x="4709" y="2159"/>
                  </a:lnTo>
                  <a:cubicBezTo>
                    <a:pt x="4709" y="2188"/>
                    <a:pt x="4686" y="2211"/>
                    <a:pt x="4658" y="2211"/>
                  </a:cubicBezTo>
                  <a:lnTo>
                    <a:pt x="4650" y="2211"/>
                  </a:lnTo>
                  <a:cubicBezTo>
                    <a:pt x="4622" y="2211"/>
                    <a:pt x="4599" y="2188"/>
                    <a:pt x="4599" y="2159"/>
                  </a:cubicBezTo>
                  <a:lnTo>
                    <a:pt x="4599" y="2151"/>
                  </a:lnTo>
                  <a:cubicBezTo>
                    <a:pt x="4599" y="2123"/>
                    <a:pt x="4622" y="2100"/>
                    <a:pt x="4650" y="2100"/>
                  </a:cubicBezTo>
                  <a:lnTo>
                    <a:pt x="4658" y="2100"/>
                  </a:lnTo>
                  <a:cubicBezTo>
                    <a:pt x="4686" y="2100"/>
                    <a:pt x="4709" y="2123"/>
                    <a:pt x="4709" y="2151"/>
                  </a:cubicBezTo>
                  <a:lnTo>
                    <a:pt x="4709" y="2159"/>
                  </a:lnTo>
                  <a:lnTo>
                    <a:pt x="4709" y="2159"/>
                  </a:lnTo>
                  <a:close/>
                  <a:moveTo>
                    <a:pt x="4658" y="2010"/>
                  </a:moveTo>
                  <a:lnTo>
                    <a:pt x="4658" y="2010"/>
                  </a:lnTo>
                  <a:lnTo>
                    <a:pt x="4650" y="2010"/>
                  </a:lnTo>
                  <a:cubicBezTo>
                    <a:pt x="4586" y="2010"/>
                    <a:pt x="4532" y="2053"/>
                    <a:pt x="4514" y="2111"/>
                  </a:cubicBezTo>
                  <a:lnTo>
                    <a:pt x="3214" y="2111"/>
                  </a:lnTo>
                  <a:cubicBezTo>
                    <a:pt x="3197" y="2068"/>
                    <a:pt x="3154" y="2037"/>
                    <a:pt x="3105" y="2037"/>
                  </a:cubicBezTo>
                  <a:cubicBezTo>
                    <a:pt x="3040" y="2037"/>
                    <a:pt x="2987" y="2090"/>
                    <a:pt x="2987" y="2155"/>
                  </a:cubicBezTo>
                  <a:cubicBezTo>
                    <a:pt x="2987" y="2220"/>
                    <a:pt x="3040" y="2273"/>
                    <a:pt x="3105" y="2273"/>
                  </a:cubicBezTo>
                  <a:cubicBezTo>
                    <a:pt x="3151" y="2273"/>
                    <a:pt x="3191" y="2246"/>
                    <a:pt x="3210" y="2208"/>
                  </a:cubicBezTo>
                  <a:lnTo>
                    <a:pt x="4517" y="2208"/>
                  </a:lnTo>
                  <a:cubicBezTo>
                    <a:pt x="4537" y="2262"/>
                    <a:pt x="4589" y="2301"/>
                    <a:pt x="4650" y="2301"/>
                  </a:cubicBezTo>
                  <a:lnTo>
                    <a:pt x="4658" y="2301"/>
                  </a:lnTo>
                  <a:cubicBezTo>
                    <a:pt x="4736" y="2301"/>
                    <a:pt x="4800" y="2238"/>
                    <a:pt x="4800" y="2159"/>
                  </a:cubicBezTo>
                  <a:lnTo>
                    <a:pt x="4800" y="2151"/>
                  </a:lnTo>
                  <a:cubicBezTo>
                    <a:pt x="4800" y="2073"/>
                    <a:pt x="4736" y="2010"/>
                    <a:pt x="4658" y="2010"/>
                  </a:cubicBezTo>
                  <a:lnTo>
                    <a:pt x="4658" y="2010"/>
                  </a:lnTo>
                  <a:close/>
                  <a:moveTo>
                    <a:pt x="309" y="1805"/>
                  </a:moveTo>
                  <a:lnTo>
                    <a:pt x="309" y="1805"/>
                  </a:lnTo>
                  <a:cubicBezTo>
                    <a:pt x="309" y="1777"/>
                    <a:pt x="332" y="1754"/>
                    <a:pt x="360" y="1754"/>
                  </a:cubicBezTo>
                  <a:lnTo>
                    <a:pt x="368" y="1754"/>
                  </a:lnTo>
                  <a:cubicBezTo>
                    <a:pt x="396" y="1754"/>
                    <a:pt x="419" y="1777"/>
                    <a:pt x="419" y="1805"/>
                  </a:cubicBezTo>
                  <a:lnTo>
                    <a:pt x="419" y="1813"/>
                  </a:lnTo>
                  <a:cubicBezTo>
                    <a:pt x="419" y="1841"/>
                    <a:pt x="396" y="1864"/>
                    <a:pt x="368" y="1864"/>
                  </a:cubicBezTo>
                  <a:lnTo>
                    <a:pt x="360" y="1864"/>
                  </a:lnTo>
                  <a:cubicBezTo>
                    <a:pt x="332" y="1864"/>
                    <a:pt x="309" y="1841"/>
                    <a:pt x="309" y="1813"/>
                  </a:cubicBezTo>
                  <a:lnTo>
                    <a:pt x="309" y="1805"/>
                  </a:lnTo>
                  <a:lnTo>
                    <a:pt x="309" y="1805"/>
                  </a:lnTo>
                  <a:close/>
                  <a:moveTo>
                    <a:pt x="360" y="1955"/>
                  </a:moveTo>
                  <a:lnTo>
                    <a:pt x="360" y="1955"/>
                  </a:lnTo>
                  <a:lnTo>
                    <a:pt x="368" y="1955"/>
                  </a:lnTo>
                  <a:cubicBezTo>
                    <a:pt x="431" y="1955"/>
                    <a:pt x="484" y="1914"/>
                    <a:pt x="502" y="1857"/>
                  </a:cubicBezTo>
                  <a:lnTo>
                    <a:pt x="1474" y="1857"/>
                  </a:lnTo>
                  <a:cubicBezTo>
                    <a:pt x="1492" y="1898"/>
                    <a:pt x="1533" y="1927"/>
                    <a:pt x="1581" y="1927"/>
                  </a:cubicBezTo>
                  <a:cubicBezTo>
                    <a:pt x="1646" y="1927"/>
                    <a:pt x="1699" y="1874"/>
                    <a:pt x="1699" y="1809"/>
                  </a:cubicBezTo>
                  <a:cubicBezTo>
                    <a:pt x="1699" y="1744"/>
                    <a:pt x="1646" y="1691"/>
                    <a:pt x="1581" y="1691"/>
                  </a:cubicBezTo>
                  <a:cubicBezTo>
                    <a:pt x="1533" y="1691"/>
                    <a:pt x="1492" y="1720"/>
                    <a:pt x="1473" y="1761"/>
                  </a:cubicBezTo>
                  <a:lnTo>
                    <a:pt x="502" y="1761"/>
                  </a:lnTo>
                  <a:cubicBezTo>
                    <a:pt x="484" y="1705"/>
                    <a:pt x="431" y="1663"/>
                    <a:pt x="368" y="1663"/>
                  </a:cubicBezTo>
                  <a:lnTo>
                    <a:pt x="360" y="1663"/>
                  </a:lnTo>
                  <a:cubicBezTo>
                    <a:pt x="282" y="1663"/>
                    <a:pt x="218" y="1727"/>
                    <a:pt x="218" y="1805"/>
                  </a:cubicBezTo>
                  <a:lnTo>
                    <a:pt x="218" y="1813"/>
                  </a:lnTo>
                  <a:cubicBezTo>
                    <a:pt x="218" y="1891"/>
                    <a:pt x="282" y="1955"/>
                    <a:pt x="360" y="1955"/>
                  </a:cubicBezTo>
                  <a:lnTo>
                    <a:pt x="360" y="1955"/>
                  </a:lnTo>
                  <a:close/>
                  <a:moveTo>
                    <a:pt x="2291" y="1191"/>
                  </a:moveTo>
                  <a:lnTo>
                    <a:pt x="2291" y="1191"/>
                  </a:lnTo>
                  <a:cubicBezTo>
                    <a:pt x="2291" y="1219"/>
                    <a:pt x="2268" y="1242"/>
                    <a:pt x="2240" y="1242"/>
                  </a:cubicBezTo>
                  <a:lnTo>
                    <a:pt x="2232" y="1242"/>
                  </a:lnTo>
                  <a:cubicBezTo>
                    <a:pt x="2204" y="1242"/>
                    <a:pt x="2181" y="1219"/>
                    <a:pt x="2181" y="1191"/>
                  </a:cubicBezTo>
                  <a:lnTo>
                    <a:pt x="2181" y="1183"/>
                  </a:lnTo>
                  <a:cubicBezTo>
                    <a:pt x="2181" y="1154"/>
                    <a:pt x="2204" y="1131"/>
                    <a:pt x="2232" y="1131"/>
                  </a:cubicBezTo>
                  <a:lnTo>
                    <a:pt x="2240" y="1131"/>
                  </a:lnTo>
                  <a:cubicBezTo>
                    <a:pt x="2268" y="1131"/>
                    <a:pt x="2291" y="1154"/>
                    <a:pt x="2291" y="1183"/>
                  </a:cubicBezTo>
                  <a:lnTo>
                    <a:pt x="2291" y="1191"/>
                  </a:lnTo>
                  <a:lnTo>
                    <a:pt x="2291" y="1191"/>
                  </a:lnTo>
                  <a:close/>
                  <a:moveTo>
                    <a:pt x="2450" y="1153"/>
                  </a:moveTo>
                  <a:lnTo>
                    <a:pt x="2450" y="1153"/>
                  </a:lnTo>
                  <a:lnTo>
                    <a:pt x="2379" y="1153"/>
                  </a:lnTo>
                  <a:cubicBezTo>
                    <a:pt x="2365" y="1089"/>
                    <a:pt x="2308" y="1041"/>
                    <a:pt x="2240" y="1041"/>
                  </a:cubicBezTo>
                  <a:lnTo>
                    <a:pt x="2232" y="1041"/>
                  </a:lnTo>
                  <a:cubicBezTo>
                    <a:pt x="2154" y="1041"/>
                    <a:pt x="2090" y="1104"/>
                    <a:pt x="2090" y="1183"/>
                  </a:cubicBezTo>
                  <a:lnTo>
                    <a:pt x="2090" y="1191"/>
                  </a:lnTo>
                  <a:cubicBezTo>
                    <a:pt x="2090" y="1269"/>
                    <a:pt x="2154" y="1332"/>
                    <a:pt x="2232" y="1332"/>
                  </a:cubicBezTo>
                  <a:lnTo>
                    <a:pt x="2240" y="1332"/>
                  </a:lnTo>
                  <a:cubicBezTo>
                    <a:pt x="2297" y="1332"/>
                    <a:pt x="2346" y="1298"/>
                    <a:pt x="2368" y="1250"/>
                  </a:cubicBezTo>
                  <a:lnTo>
                    <a:pt x="2450" y="1250"/>
                  </a:lnTo>
                  <a:cubicBezTo>
                    <a:pt x="2460" y="1250"/>
                    <a:pt x="2469" y="1259"/>
                    <a:pt x="2469" y="1269"/>
                  </a:cubicBezTo>
                  <a:lnTo>
                    <a:pt x="2469" y="1341"/>
                  </a:lnTo>
                  <a:cubicBezTo>
                    <a:pt x="2428" y="1359"/>
                    <a:pt x="2399" y="1400"/>
                    <a:pt x="2399" y="1448"/>
                  </a:cubicBezTo>
                  <a:cubicBezTo>
                    <a:pt x="2399" y="1513"/>
                    <a:pt x="2452" y="1566"/>
                    <a:pt x="2517" y="1566"/>
                  </a:cubicBezTo>
                  <a:cubicBezTo>
                    <a:pt x="2582" y="1566"/>
                    <a:pt x="2635" y="1513"/>
                    <a:pt x="2635" y="1448"/>
                  </a:cubicBezTo>
                  <a:cubicBezTo>
                    <a:pt x="2635" y="1400"/>
                    <a:pt x="2606" y="1359"/>
                    <a:pt x="2565" y="1341"/>
                  </a:cubicBezTo>
                  <a:lnTo>
                    <a:pt x="2565" y="1269"/>
                  </a:lnTo>
                  <a:cubicBezTo>
                    <a:pt x="2565" y="1205"/>
                    <a:pt x="2514" y="1153"/>
                    <a:pt x="2450" y="1153"/>
                  </a:cubicBezTo>
                  <a:lnTo>
                    <a:pt x="2450" y="1153"/>
                  </a:lnTo>
                  <a:close/>
                  <a:moveTo>
                    <a:pt x="1505" y="3056"/>
                  </a:moveTo>
                  <a:lnTo>
                    <a:pt x="1505" y="3056"/>
                  </a:lnTo>
                  <a:cubicBezTo>
                    <a:pt x="1502" y="3081"/>
                    <a:pt x="1481" y="3102"/>
                    <a:pt x="1455" y="3102"/>
                  </a:cubicBezTo>
                  <a:lnTo>
                    <a:pt x="1447" y="3102"/>
                  </a:lnTo>
                  <a:cubicBezTo>
                    <a:pt x="1419" y="3102"/>
                    <a:pt x="1396" y="3079"/>
                    <a:pt x="1396" y="3050"/>
                  </a:cubicBezTo>
                  <a:lnTo>
                    <a:pt x="1396" y="3043"/>
                  </a:lnTo>
                  <a:cubicBezTo>
                    <a:pt x="1396" y="3014"/>
                    <a:pt x="1419" y="2991"/>
                    <a:pt x="1447" y="2991"/>
                  </a:cubicBezTo>
                  <a:lnTo>
                    <a:pt x="1455" y="2991"/>
                  </a:lnTo>
                  <a:cubicBezTo>
                    <a:pt x="1481" y="2991"/>
                    <a:pt x="1502" y="3012"/>
                    <a:pt x="1505" y="3037"/>
                  </a:cubicBezTo>
                  <a:cubicBezTo>
                    <a:pt x="1504" y="3040"/>
                    <a:pt x="1503" y="3043"/>
                    <a:pt x="1503" y="3046"/>
                  </a:cubicBezTo>
                  <a:cubicBezTo>
                    <a:pt x="1503" y="3050"/>
                    <a:pt x="1504" y="3053"/>
                    <a:pt x="1505" y="3056"/>
                  </a:cubicBezTo>
                  <a:lnTo>
                    <a:pt x="1505" y="3056"/>
                  </a:lnTo>
                  <a:close/>
                  <a:moveTo>
                    <a:pt x="1715" y="2998"/>
                  </a:moveTo>
                  <a:lnTo>
                    <a:pt x="1715" y="2998"/>
                  </a:lnTo>
                  <a:lnTo>
                    <a:pt x="1589" y="2998"/>
                  </a:lnTo>
                  <a:cubicBezTo>
                    <a:pt x="1570" y="2942"/>
                    <a:pt x="1517" y="2901"/>
                    <a:pt x="1455" y="2901"/>
                  </a:cubicBezTo>
                  <a:lnTo>
                    <a:pt x="1447" y="2901"/>
                  </a:lnTo>
                  <a:cubicBezTo>
                    <a:pt x="1369" y="2901"/>
                    <a:pt x="1305" y="2964"/>
                    <a:pt x="1305" y="3043"/>
                  </a:cubicBezTo>
                  <a:lnTo>
                    <a:pt x="1305" y="3050"/>
                  </a:lnTo>
                  <a:cubicBezTo>
                    <a:pt x="1305" y="3129"/>
                    <a:pt x="1369" y="3192"/>
                    <a:pt x="1447" y="3192"/>
                  </a:cubicBezTo>
                  <a:lnTo>
                    <a:pt x="1455" y="3192"/>
                  </a:lnTo>
                  <a:cubicBezTo>
                    <a:pt x="1517" y="3192"/>
                    <a:pt x="1570" y="3151"/>
                    <a:pt x="1589" y="3095"/>
                  </a:cubicBezTo>
                  <a:lnTo>
                    <a:pt x="1715" y="3095"/>
                  </a:lnTo>
                  <a:cubicBezTo>
                    <a:pt x="1779" y="3095"/>
                    <a:pt x="1831" y="3043"/>
                    <a:pt x="1831" y="2979"/>
                  </a:cubicBezTo>
                  <a:lnTo>
                    <a:pt x="1831" y="2918"/>
                  </a:lnTo>
                  <a:cubicBezTo>
                    <a:pt x="1870" y="2899"/>
                    <a:pt x="1897" y="2859"/>
                    <a:pt x="1897" y="2813"/>
                  </a:cubicBezTo>
                  <a:cubicBezTo>
                    <a:pt x="1897" y="2748"/>
                    <a:pt x="1844" y="2695"/>
                    <a:pt x="1779" y="2695"/>
                  </a:cubicBezTo>
                  <a:cubicBezTo>
                    <a:pt x="1714" y="2695"/>
                    <a:pt x="1662" y="2748"/>
                    <a:pt x="1662" y="2813"/>
                  </a:cubicBezTo>
                  <a:cubicBezTo>
                    <a:pt x="1662" y="2862"/>
                    <a:pt x="1692" y="2904"/>
                    <a:pt x="1734" y="2922"/>
                  </a:cubicBezTo>
                  <a:lnTo>
                    <a:pt x="1734" y="2979"/>
                  </a:lnTo>
                  <a:cubicBezTo>
                    <a:pt x="1734" y="2990"/>
                    <a:pt x="1726" y="2998"/>
                    <a:pt x="1715" y="2998"/>
                  </a:cubicBezTo>
                  <a:lnTo>
                    <a:pt x="1715" y="2998"/>
                  </a:lnTo>
                  <a:close/>
                  <a:moveTo>
                    <a:pt x="2009" y="2652"/>
                  </a:moveTo>
                  <a:lnTo>
                    <a:pt x="2009" y="2652"/>
                  </a:lnTo>
                  <a:lnTo>
                    <a:pt x="2009" y="1791"/>
                  </a:lnTo>
                  <a:cubicBezTo>
                    <a:pt x="2009" y="1749"/>
                    <a:pt x="2043" y="1715"/>
                    <a:pt x="2084" y="1715"/>
                  </a:cubicBezTo>
                  <a:lnTo>
                    <a:pt x="2757" y="1715"/>
                  </a:lnTo>
                  <a:cubicBezTo>
                    <a:pt x="2799" y="1715"/>
                    <a:pt x="2832" y="1749"/>
                    <a:pt x="2832" y="1791"/>
                  </a:cubicBezTo>
                  <a:lnTo>
                    <a:pt x="2832" y="2652"/>
                  </a:lnTo>
                  <a:cubicBezTo>
                    <a:pt x="2832" y="2693"/>
                    <a:pt x="2799" y="2727"/>
                    <a:pt x="2757" y="2727"/>
                  </a:cubicBezTo>
                  <a:lnTo>
                    <a:pt x="2084" y="2727"/>
                  </a:lnTo>
                  <a:cubicBezTo>
                    <a:pt x="2043" y="2727"/>
                    <a:pt x="2009" y="2693"/>
                    <a:pt x="2009" y="2652"/>
                  </a:cubicBezTo>
                  <a:lnTo>
                    <a:pt x="2009" y="2652"/>
                  </a:lnTo>
                  <a:close/>
                  <a:moveTo>
                    <a:pt x="2946" y="2652"/>
                  </a:moveTo>
                  <a:lnTo>
                    <a:pt x="2946" y="2652"/>
                  </a:lnTo>
                  <a:lnTo>
                    <a:pt x="2946" y="1791"/>
                  </a:lnTo>
                  <a:cubicBezTo>
                    <a:pt x="2946" y="1686"/>
                    <a:pt x="2861" y="1601"/>
                    <a:pt x="2757" y="1601"/>
                  </a:cubicBezTo>
                  <a:lnTo>
                    <a:pt x="2084" y="1601"/>
                  </a:lnTo>
                  <a:cubicBezTo>
                    <a:pt x="1980" y="1601"/>
                    <a:pt x="1895" y="1686"/>
                    <a:pt x="1895" y="1791"/>
                  </a:cubicBezTo>
                  <a:lnTo>
                    <a:pt x="1895" y="2652"/>
                  </a:lnTo>
                  <a:cubicBezTo>
                    <a:pt x="1895" y="2756"/>
                    <a:pt x="1980" y="2841"/>
                    <a:pt x="2084" y="2841"/>
                  </a:cubicBezTo>
                  <a:lnTo>
                    <a:pt x="2757" y="2841"/>
                  </a:lnTo>
                  <a:cubicBezTo>
                    <a:pt x="2861" y="2841"/>
                    <a:pt x="2946" y="2756"/>
                    <a:pt x="2946" y="265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BF24D65-17AC-46D2-8A57-B161216A2EDF}"/>
                </a:ext>
              </a:extLst>
            </p:cNvPr>
            <p:cNvSpPr/>
            <p:nvPr/>
          </p:nvSpPr>
          <p:spPr>
            <a:xfrm>
              <a:off x="3072209" y="4202471"/>
              <a:ext cx="825234" cy="825234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75C1AE5-C55D-431F-894C-578E97A6FE2C}"/>
                </a:ext>
              </a:extLst>
            </p:cNvPr>
            <p:cNvCxnSpPr>
              <a:stCxn id="10" idx="7"/>
            </p:cNvCxnSpPr>
            <p:nvPr/>
          </p:nvCxnSpPr>
          <p:spPr>
            <a:xfrm flipV="1">
              <a:off x="3776590" y="3846337"/>
              <a:ext cx="396728" cy="476987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90180675-2D81-45E0-9DF0-17A02B099092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itle 4">
            <a:extLst>
              <a:ext uri="{FF2B5EF4-FFF2-40B4-BE49-F238E27FC236}">
                <a16:creationId xmlns:a16="http://schemas.microsoft.com/office/drawing/2014/main" id="{805535D8-DA20-424D-87D1-5379F6443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3F29D52-A70E-455A-89AD-46DB8FF6BC15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9758514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1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2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2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7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3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11E33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4C1205D-C5E6-46CB-8267-0E50777015D1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2239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4C1205D-C5E6-46CB-8267-0E5077701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F6FB2C4-3F7B-4D38-B1B9-7A0ADC987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75928E0-2731-4DDB-A25D-6B42F0EDD038}"/>
              </a:ext>
            </a:extLst>
          </p:cNvPr>
          <p:cNvSpPr/>
          <p:nvPr/>
        </p:nvSpPr>
        <p:spPr>
          <a:xfrm>
            <a:off x="5151507" y="1817756"/>
            <a:ext cx="1418233" cy="1418233"/>
          </a:xfrm>
          <a:prstGeom prst="ellipse">
            <a:avLst/>
          </a:prstGeom>
          <a:gradFill>
            <a:gsLst>
              <a:gs pos="100000">
                <a:srgbClr val="881D80"/>
              </a:gs>
              <a:gs pos="0">
                <a:srgbClr val="36277F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9709A0A-FE35-4E13-9BD3-03AB3501490D}"/>
              </a:ext>
            </a:extLst>
          </p:cNvPr>
          <p:cNvSpPr/>
          <p:nvPr/>
        </p:nvSpPr>
        <p:spPr>
          <a:xfrm>
            <a:off x="4867207" y="1552559"/>
            <a:ext cx="1958003" cy="1958003"/>
          </a:xfrm>
          <a:prstGeom prst="ellipse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7" name="Speech Bubble: Rectangle with Corners Rounded 66">
            <a:extLst>
              <a:ext uri="{FF2B5EF4-FFF2-40B4-BE49-F238E27FC236}">
                <a16:creationId xmlns:a16="http://schemas.microsoft.com/office/drawing/2014/main" id="{4F96A276-F8BD-4FCE-B1AB-C6796B560D36}"/>
              </a:ext>
            </a:extLst>
          </p:cNvPr>
          <p:cNvSpPr/>
          <p:nvPr/>
        </p:nvSpPr>
        <p:spPr>
          <a:xfrm flipH="1">
            <a:off x="4609137" y="1218982"/>
            <a:ext cx="1538070" cy="700638"/>
          </a:xfrm>
          <a:prstGeom prst="wedgeRoundRectCallout">
            <a:avLst>
              <a:gd name="adj1" fmla="val -20833"/>
              <a:gd name="adj2" fmla="val 76095"/>
              <a:gd name="adj3" fmla="val 16667"/>
            </a:avLst>
          </a:prstGeom>
          <a:solidFill>
            <a:srgbClr val="1F1C49"/>
          </a:solidFill>
          <a:ln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FB88CA4A-7CD6-4CB9-BCAA-2C6DE8C6AB13}"/>
              </a:ext>
            </a:extLst>
          </p:cNvPr>
          <p:cNvSpPr/>
          <p:nvPr/>
        </p:nvSpPr>
        <p:spPr>
          <a:xfrm>
            <a:off x="2305865" y="1552559"/>
            <a:ext cx="1958003" cy="195800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020BCFFB-1626-4159-8639-B992C5449156}"/>
              </a:ext>
            </a:extLst>
          </p:cNvPr>
          <p:cNvSpPr/>
          <p:nvPr/>
        </p:nvSpPr>
        <p:spPr>
          <a:xfrm>
            <a:off x="3059883" y="1299233"/>
            <a:ext cx="1066544" cy="659714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0" name="Oval 109" hidden="1">
            <a:extLst>
              <a:ext uri="{FF2B5EF4-FFF2-40B4-BE49-F238E27FC236}">
                <a16:creationId xmlns:a16="http://schemas.microsoft.com/office/drawing/2014/main" id="{0763C921-E894-45C1-8C9B-1C0F60003DB5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5" name="TextBox 134" hidden="1">
            <a:extLst>
              <a:ext uri="{FF2B5EF4-FFF2-40B4-BE49-F238E27FC236}">
                <a16:creationId xmlns:a16="http://schemas.microsoft.com/office/drawing/2014/main" id="{B56E7DED-A4B1-4BF2-B6A4-AC44E1322685}"/>
              </a:ext>
            </a:extLst>
          </p:cNvPr>
          <p:cNvSpPr txBox="1"/>
          <p:nvPr/>
        </p:nvSpPr>
        <p:spPr>
          <a:xfrm rot="2858951">
            <a:off x="301620" y="2070479"/>
            <a:ext cx="555498" cy="144018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30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2F02BC24-AEFD-467B-BE4F-79EDE64C4CA4}"/>
              </a:ext>
            </a:extLst>
          </p:cNvPr>
          <p:cNvSpPr/>
          <p:nvPr/>
        </p:nvSpPr>
        <p:spPr>
          <a:xfrm>
            <a:off x="2315979" y="2390713"/>
            <a:ext cx="348518" cy="348518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D0A41144-3893-440A-A836-AD4B96450B61}"/>
              </a:ext>
            </a:extLst>
          </p:cNvPr>
          <p:cNvSpPr/>
          <p:nvPr/>
        </p:nvSpPr>
        <p:spPr>
          <a:xfrm>
            <a:off x="7997257" y="3863497"/>
            <a:ext cx="348518" cy="348518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C9A0E50-5EBD-44AC-91A6-62B6C0DB5A9C}"/>
              </a:ext>
            </a:extLst>
          </p:cNvPr>
          <p:cNvCxnSpPr>
            <a:cxnSpLocks/>
          </p:cNvCxnSpPr>
          <p:nvPr/>
        </p:nvCxnSpPr>
        <p:spPr>
          <a:xfrm>
            <a:off x="3977125" y="3222726"/>
            <a:ext cx="286743" cy="685800"/>
          </a:xfrm>
          <a:prstGeom prst="lin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A49FB08-2D8E-47F3-9796-AE0E334306E1}"/>
              </a:ext>
            </a:extLst>
          </p:cNvPr>
          <p:cNvCxnSpPr>
            <a:cxnSpLocks/>
          </p:cNvCxnSpPr>
          <p:nvPr/>
        </p:nvCxnSpPr>
        <p:spPr>
          <a:xfrm flipV="1">
            <a:off x="4855478" y="3222726"/>
            <a:ext cx="286743" cy="685800"/>
          </a:xfrm>
          <a:prstGeom prst="line">
            <a:avLst/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1" name="Group 4">
            <a:extLst>
              <a:ext uri="{FF2B5EF4-FFF2-40B4-BE49-F238E27FC236}">
                <a16:creationId xmlns:a16="http://schemas.microsoft.com/office/drawing/2014/main" id="{B2D8B668-FC77-41C1-A5F9-BF279CE21C3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49147" y="1923518"/>
            <a:ext cx="1067462" cy="1157391"/>
            <a:chOff x="3497" y="1236"/>
            <a:chExt cx="2101" cy="2278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3460DE6B-0604-43BE-AA02-C984678CD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" y="1879"/>
              <a:ext cx="175" cy="248"/>
            </a:xfrm>
            <a:custGeom>
              <a:avLst/>
              <a:gdLst>
                <a:gd name="T0" fmla="*/ 14 w 19"/>
                <a:gd name="T1" fmla="*/ 27 h 27"/>
                <a:gd name="T2" fmla="*/ 0 w 19"/>
                <a:gd name="T3" fmla="*/ 14 h 27"/>
                <a:gd name="T4" fmla="*/ 14 w 19"/>
                <a:gd name="T5" fmla="*/ 0 h 27"/>
                <a:gd name="T6" fmla="*/ 19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14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6" y="0"/>
                    <a:pt x="18" y="0"/>
                    <a:pt x="19" y="1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CFFE2679-88DB-471A-85EF-DB0E08807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9" y="1879"/>
              <a:ext cx="175" cy="248"/>
            </a:xfrm>
            <a:custGeom>
              <a:avLst/>
              <a:gdLst>
                <a:gd name="T0" fmla="*/ 5 w 19"/>
                <a:gd name="T1" fmla="*/ 27 h 27"/>
                <a:gd name="T2" fmla="*/ 19 w 19"/>
                <a:gd name="T3" fmla="*/ 14 h 27"/>
                <a:gd name="T4" fmla="*/ 5 w 19"/>
                <a:gd name="T5" fmla="*/ 0 h 27"/>
                <a:gd name="T6" fmla="*/ 0 w 19"/>
                <a:gd name="T7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7">
                  <a:moveTo>
                    <a:pt x="5" y="27"/>
                  </a:moveTo>
                  <a:cubicBezTo>
                    <a:pt x="13" y="27"/>
                    <a:pt x="19" y="21"/>
                    <a:pt x="19" y="14"/>
                  </a:cubicBezTo>
                  <a:cubicBezTo>
                    <a:pt x="19" y="6"/>
                    <a:pt x="13" y="0"/>
                    <a:pt x="5" y="0"/>
                  </a:cubicBezTo>
                  <a:cubicBezTo>
                    <a:pt x="3" y="0"/>
                    <a:pt x="1" y="0"/>
                    <a:pt x="0" y="1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10CD1DB-F204-484C-8BC4-45D8049089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2" y="1925"/>
              <a:ext cx="64" cy="64"/>
            </a:xfrm>
            <a:prstGeom prst="ellipse">
              <a:avLst/>
            </a:prstGeom>
            <a:solidFill>
              <a:srgbClr val="231F20"/>
            </a:solidFill>
            <a:ln w="381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FF021FF-46C9-4E64-ACB4-B26F07D71C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1916"/>
              <a:ext cx="55" cy="64"/>
            </a:xfrm>
            <a:prstGeom prst="ellipse">
              <a:avLst/>
            </a:prstGeom>
            <a:solidFill>
              <a:srgbClr val="231F20"/>
            </a:solidFill>
            <a:ln w="381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7B1A7428-86B2-4B49-A457-2C6D20DCE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1870"/>
              <a:ext cx="18" cy="321"/>
            </a:xfrm>
            <a:custGeom>
              <a:avLst/>
              <a:gdLst>
                <a:gd name="T0" fmla="*/ 2 w 2"/>
                <a:gd name="T1" fmla="*/ 35 h 35"/>
                <a:gd name="T2" fmla="*/ 0 w 2"/>
                <a:gd name="T3" fmla="*/ 21 h 35"/>
                <a:gd name="T4" fmla="*/ 0 w 2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5">
                  <a:moveTo>
                    <a:pt x="2" y="35"/>
                  </a:moveTo>
                  <a:cubicBezTo>
                    <a:pt x="0" y="31"/>
                    <a:pt x="0" y="26"/>
                    <a:pt x="0" y="2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4A500951-7D59-4E77-BD92-EDA667041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" y="1870"/>
              <a:ext cx="19" cy="312"/>
            </a:xfrm>
            <a:custGeom>
              <a:avLst/>
              <a:gdLst>
                <a:gd name="T0" fmla="*/ 2 w 2"/>
                <a:gd name="T1" fmla="*/ 0 h 34"/>
                <a:gd name="T2" fmla="*/ 2 w 2"/>
                <a:gd name="T3" fmla="*/ 21 h 34"/>
                <a:gd name="T4" fmla="*/ 0 w 2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4">
                  <a:moveTo>
                    <a:pt x="2" y="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2" y="26"/>
                    <a:pt x="2" y="30"/>
                    <a:pt x="0" y="34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4C073EBC-9CE5-4A71-9D2B-33BF76FF5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236"/>
              <a:ext cx="1060" cy="680"/>
            </a:xfrm>
            <a:custGeom>
              <a:avLst/>
              <a:gdLst>
                <a:gd name="T0" fmla="*/ 8 w 115"/>
                <a:gd name="T1" fmla="*/ 68 h 74"/>
                <a:gd name="T2" fmla="*/ 24 w 115"/>
                <a:gd name="T3" fmla="*/ 22 h 74"/>
                <a:gd name="T4" fmla="*/ 58 w 115"/>
                <a:gd name="T5" fmla="*/ 5 h 74"/>
                <a:gd name="T6" fmla="*/ 97 w 115"/>
                <a:gd name="T7" fmla="*/ 4 h 74"/>
                <a:gd name="T8" fmla="*/ 97 w 115"/>
                <a:gd name="T9" fmla="*/ 18 h 74"/>
                <a:gd name="T10" fmla="*/ 107 w 115"/>
                <a:gd name="T11" fmla="*/ 68 h 74"/>
                <a:gd name="T12" fmla="*/ 96 w 115"/>
                <a:gd name="T13" fmla="*/ 73 h 74"/>
                <a:gd name="T14" fmla="*/ 87 w 115"/>
                <a:gd name="T15" fmla="*/ 54 h 74"/>
                <a:gd name="T16" fmla="*/ 55 w 115"/>
                <a:gd name="T17" fmla="*/ 50 h 74"/>
                <a:gd name="T18" fmla="*/ 24 w 115"/>
                <a:gd name="T19" fmla="*/ 60 h 74"/>
                <a:gd name="T20" fmla="*/ 21 w 115"/>
                <a:gd name="T21" fmla="*/ 73 h 74"/>
                <a:gd name="T22" fmla="*/ 8 w 115"/>
                <a:gd name="T23" fmla="*/ 6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74">
                  <a:moveTo>
                    <a:pt x="8" y="68"/>
                  </a:moveTo>
                  <a:cubicBezTo>
                    <a:pt x="0" y="20"/>
                    <a:pt x="24" y="22"/>
                    <a:pt x="24" y="22"/>
                  </a:cubicBezTo>
                  <a:cubicBezTo>
                    <a:pt x="24" y="22"/>
                    <a:pt x="32" y="0"/>
                    <a:pt x="58" y="5"/>
                  </a:cubicBezTo>
                  <a:cubicBezTo>
                    <a:pt x="83" y="9"/>
                    <a:pt x="97" y="4"/>
                    <a:pt x="97" y="4"/>
                  </a:cubicBezTo>
                  <a:cubicBezTo>
                    <a:pt x="97" y="4"/>
                    <a:pt x="94" y="14"/>
                    <a:pt x="97" y="18"/>
                  </a:cubicBezTo>
                  <a:cubicBezTo>
                    <a:pt x="99" y="21"/>
                    <a:pt x="115" y="33"/>
                    <a:pt x="107" y="68"/>
                  </a:cubicBezTo>
                  <a:cubicBezTo>
                    <a:pt x="107" y="68"/>
                    <a:pt x="97" y="72"/>
                    <a:pt x="96" y="73"/>
                  </a:cubicBezTo>
                  <a:cubicBezTo>
                    <a:pt x="95" y="74"/>
                    <a:pt x="99" y="53"/>
                    <a:pt x="87" y="54"/>
                  </a:cubicBezTo>
                  <a:cubicBezTo>
                    <a:pt x="76" y="54"/>
                    <a:pt x="64" y="54"/>
                    <a:pt x="55" y="50"/>
                  </a:cubicBezTo>
                  <a:cubicBezTo>
                    <a:pt x="45" y="47"/>
                    <a:pt x="32" y="41"/>
                    <a:pt x="24" y="60"/>
                  </a:cubicBezTo>
                  <a:cubicBezTo>
                    <a:pt x="24" y="60"/>
                    <a:pt x="21" y="70"/>
                    <a:pt x="21" y="73"/>
                  </a:cubicBezTo>
                  <a:lnTo>
                    <a:pt x="8" y="68"/>
                  </a:ln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id="{79B423F1-74FD-4138-958A-F7A124A2C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9" y="2577"/>
              <a:ext cx="203" cy="321"/>
            </a:xfrm>
            <a:custGeom>
              <a:avLst/>
              <a:gdLst>
                <a:gd name="T0" fmla="*/ 0 w 22"/>
                <a:gd name="T1" fmla="*/ 0 h 35"/>
                <a:gd name="T2" fmla="*/ 22 w 22"/>
                <a:gd name="T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35">
                  <a:moveTo>
                    <a:pt x="0" y="0"/>
                  </a:moveTo>
                  <a:cubicBezTo>
                    <a:pt x="15" y="7"/>
                    <a:pt x="21" y="17"/>
                    <a:pt x="22" y="35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91624327-A02F-47E9-AEEF-91F486E00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6" y="3100"/>
              <a:ext cx="2082" cy="285"/>
            </a:xfrm>
            <a:custGeom>
              <a:avLst/>
              <a:gdLst>
                <a:gd name="T0" fmla="*/ 193 w 226"/>
                <a:gd name="T1" fmla="*/ 0 h 31"/>
                <a:gd name="T2" fmla="*/ 226 w 226"/>
                <a:gd name="T3" fmla="*/ 2 h 31"/>
                <a:gd name="T4" fmla="*/ 156 w 226"/>
                <a:gd name="T5" fmla="*/ 31 h 31"/>
                <a:gd name="T6" fmla="*/ 1 w 226"/>
                <a:gd name="T7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6" h="31">
                  <a:moveTo>
                    <a:pt x="193" y="0"/>
                  </a:moveTo>
                  <a:cubicBezTo>
                    <a:pt x="226" y="2"/>
                    <a:pt x="226" y="2"/>
                    <a:pt x="226" y="2"/>
                  </a:cubicBezTo>
                  <a:cubicBezTo>
                    <a:pt x="226" y="2"/>
                    <a:pt x="155" y="31"/>
                    <a:pt x="156" y="31"/>
                  </a:cubicBezTo>
                  <a:cubicBezTo>
                    <a:pt x="156" y="31"/>
                    <a:pt x="0" y="16"/>
                    <a:pt x="1" y="13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id="{713FEB91-4EDA-4B14-89CA-B2D302B01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2182"/>
              <a:ext cx="1512" cy="1203"/>
            </a:xfrm>
            <a:custGeom>
              <a:avLst/>
              <a:gdLst>
                <a:gd name="T0" fmla="*/ 160 w 164"/>
                <a:gd name="T1" fmla="*/ 131 h 131"/>
                <a:gd name="T2" fmla="*/ 7 w 164"/>
                <a:gd name="T3" fmla="*/ 116 h 131"/>
                <a:gd name="T4" fmla="*/ 0 w 164"/>
                <a:gd name="T5" fmla="*/ 108 h 131"/>
                <a:gd name="T6" fmla="*/ 1 w 164"/>
                <a:gd name="T7" fmla="*/ 8 h 131"/>
                <a:gd name="T8" fmla="*/ 8 w 164"/>
                <a:gd name="T9" fmla="*/ 2 h 131"/>
                <a:gd name="T10" fmla="*/ 157 w 164"/>
                <a:gd name="T11" fmla="*/ 0 h 131"/>
                <a:gd name="T12" fmla="*/ 164 w 164"/>
                <a:gd name="T13" fmla="*/ 8 h 131"/>
                <a:gd name="T14" fmla="*/ 163 w 164"/>
                <a:gd name="T15" fmla="*/ 124 h 131"/>
                <a:gd name="T16" fmla="*/ 160 w 164"/>
                <a:gd name="T1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31">
                  <a:moveTo>
                    <a:pt x="160" y="131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3" y="116"/>
                    <a:pt x="0" y="112"/>
                    <a:pt x="0" y="10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4"/>
                    <a:pt x="4" y="1"/>
                    <a:pt x="8" y="2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60" y="0"/>
                    <a:pt x="164" y="4"/>
                    <a:pt x="164" y="8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63" y="128"/>
                    <a:pt x="164" y="131"/>
                    <a:pt x="160" y="131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id="{2AEE5097-525A-42A2-9F0D-EDB7BD47D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" y="2852"/>
              <a:ext cx="120" cy="313"/>
            </a:xfrm>
            <a:custGeom>
              <a:avLst/>
              <a:gdLst>
                <a:gd name="T0" fmla="*/ 8 w 13"/>
                <a:gd name="T1" fmla="*/ 34 h 34"/>
                <a:gd name="T2" fmla="*/ 5 w 13"/>
                <a:gd name="T3" fmla="*/ 34 h 34"/>
                <a:gd name="T4" fmla="*/ 0 w 13"/>
                <a:gd name="T5" fmla="*/ 28 h 34"/>
                <a:gd name="T6" fmla="*/ 0 w 13"/>
                <a:gd name="T7" fmla="*/ 5 h 34"/>
                <a:gd name="T8" fmla="*/ 5 w 13"/>
                <a:gd name="T9" fmla="*/ 0 h 34"/>
                <a:gd name="T10" fmla="*/ 8 w 13"/>
                <a:gd name="T11" fmla="*/ 0 h 34"/>
                <a:gd name="T12" fmla="*/ 13 w 13"/>
                <a:gd name="T13" fmla="*/ 5 h 34"/>
                <a:gd name="T14" fmla="*/ 13 w 13"/>
                <a:gd name="T15" fmla="*/ 28 h 34"/>
                <a:gd name="T16" fmla="*/ 8 w 13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4">
                  <a:moveTo>
                    <a:pt x="8" y="34"/>
                  </a:moveTo>
                  <a:cubicBezTo>
                    <a:pt x="5" y="34"/>
                    <a:pt x="5" y="34"/>
                    <a:pt x="5" y="34"/>
                  </a:cubicBezTo>
                  <a:cubicBezTo>
                    <a:pt x="2" y="34"/>
                    <a:pt x="0" y="31"/>
                    <a:pt x="0" y="2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5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31"/>
                    <a:pt x="11" y="34"/>
                    <a:pt x="8" y="34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58AD1710-3A7F-4BE0-B0DD-B76DD4E26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" y="2907"/>
              <a:ext cx="129" cy="258"/>
            </a:xfrm>
            <a:custGeom>
              <a:avLst/>
              <a:gdLst>
                <a:gd name="T0" fmla="*/ 8 w 14"/>
                <a:gd name="T1" fmla="*/ 28 h 28"/>
                <a:gd name="T2" fmla="*/ 5 w 14"/>
                <a:gd name="T3" fmla="*/ 28 h 28"/>
                <a:gd name="T4" fmla="*/ 0 w 14"/>
                <a:gd name="T5" fmla="*/ 22 h 28"/>
                <a:gd name="T6" fmla="*/ 0 w 14"/>
                <a:gd name="T7" fmla="*/ 5 h 28"/>
                <a:gd name="T8" fmla="*/ 5 w 14"/>
                <a:gd name="T9" fmla="*/ 0 h 28"/>
                <a:gd name="T10" fmla="*/ 8 w 14"/>
                <a:gd name="T11" fmla="*/ 0 h 28"/>
                <a:gd name="T12" fmla="*/ 14 w 14"/>
                <a:gd name="T13" fmla="*/ 5 h 28"/>
                <a:gd name="T14" fmla="*/ 14 w 14"/>
                <a:gd name="T15" fmla="*/ 22 h 28"/>
                <a:gd name="T16" fmla="*/ 8 w 14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8">
                  <a:moveTo>
                    <a:pt x="8" y="28"/>
                  </a:moveTo>
                  <a:cubicBezTo>
                    <a:pt x="5" y="28"/>
                    <a:pt x="5" y="28"/>
                    <a:pt x="5" y="28"/>
                  </a:cubicBezTo>
                  <a:cubicBezTo>
                    <a:pt x="2" y="28"/>
                    <a:pt x="0" y="25"/>
                    <a:pt x="0" y="2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4" y="2"/>
                    <a:pt x="14" y="5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5"/>
                    <a:pt x="11" y="28"/>
                    <a:pt x="8" y="28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id="{3CC89675-8533-4943-A5B4-71EF73909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" y="3174"/>
              <a:ext cx="1502" cy="340"/>
            </a:xfrm>
            <a:custGeom>
              <a:avLst/>
              <a:gdLst>
                <a:gd name="T0" fmla="*/ 163 w 163"/>
                <a:gd name="T1" fmla="*/ 18 h 37"/>
                <a:gd name="T2" fmla="*/ 163 w 163"/>
                <a:gd name="T3" fmla="*/ 33 h 37"/>
                <a:gd name="T4" fmla="*/ 159 w 163"/>
                <a:gd name="T5" fmla="*/ 37 h 37"/>
                <a:gd name="T6" fmla="*/ 4 w 163"/>
                <a:gd name="T7" fmla="*/ 17 h 37"/>
                <a:gd name="T8" fmla="*/ 0 w 163"/>
                <a:gd name="T9" fmla="*/ 13 h 37"/>
                <a:gd name="T10" fmla="*/ 0 w 163"/>
                <a:gd name="T11" fmla="*/ 12 h 37"/>
                <a:gd name="T12" fmla="*/ 0 w 16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37">
                  <a:moveTo>
                    <a:pt x="163" y="18"/>
                  </a:moveTo>
                  <a:cubicBezTo>
                    <a:pt x="163" y="33"/>
                    <a:pt x="163" y="33"/>
                    <a:pt x="163" y="33"/>
                  </a:cubicBezTo>
                  <a:cubicBezTo>
                    <a:pt x="163" y="35"/>
                    <a:pt x="161" y="37"/>
                    <a:pt x="159" y="3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0" y="15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5" name="Line 18">
              <a:extLst>
                <a:ext uri="{FF2B5EF4-FFF2-40B4-BE49-F238E27FC236}">
                  <a16:creationId xmlns:a16="http://schemas.microsoft.com/office/drawing/2014/main" id="{E75AB119-76FF-475B-8025-808CD1A58A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1" y="3119"/>
              <a:ext cx="617" cy="395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50" name="Freeform 16">
            <a:extLst>
              <a:ext uri="{FF2B5EF4-FFF2-40B4-BE49-F238E27FC236}">
                <a16:creationId xmlns:a16="http://schemas.microsoft.com/office/drawing/2014/main" id="{F7E5FBAB-21F6-478D-A648-FB37EE83E34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47922" y="2123837"/>
            <a:ext cx="796572" cy="858949"/>
          </a:xfrm>
          <a:custGeom>
            <a:avLst/>
            <a:gdLst>
              <a:gd name="T0" fmla="*/ 215 w 3189"/>
              <a:gd name="T1" fmla="*/ 2567 h 3456"/>
              <a:gd name="T2" fmla="*/ 691 w 3189"/>
              <a:gd name="T3" fmla="*/ 3049 h 3456"/>
              <a:gd name="T4" fmla="*/ 394 w 3189"/>
              <a:gd name="T5" fmla="*/ 2262 h 3456"/>
              <a:gd name="T6" fmla="*/ 2995 w 3189"/>
              <a:gd name="T7" fmla="*/ 2038 h 3456"/>
              <a:gd name="T8" fmla="*/ 2748 w 3189"/>
              <a:gd name="T9" fmla="*/ 2678 h 3456"/>
              <a:gd name="T10" fmla="*/ 2926 w 3189"/>
              <a:gd name="T11" fmla="*/ 2965 h 3456"/>
              <a:gd name="T12" fmla="*/ 3062 w 3189"/>
              <a:gd name="T13" fmla="*/ 2106 h 3456"/>
              <a:gd name="T14" fmla="*/ 2114 w 3189"/>
              <a:gd name="T15" fmla="*/ 1812 h 3456"/>
              <a:gd name="T16" fmla="*/ 1919 w 3189"/>
              <a:gd name="T17" fmla="*/ 1941 h 3456"/>
              <a:gd name="T18" fmla="*/ 1876 w 3189"/>
              <a:gd name="T19" fmla="*/ 1712 h 3456"/>
              <a:gd name="T20" fmla="*/ 1445 w 3189"/>
              <a:gd name="T21" fmla="*/ 1733 h 3456"/>
              <a:gd name="T22" fmla="*/ 1357 w 3189"/>
              <a:gd name="T23" fmla="*/ 1949 h 3456"/>
              <a:gd name="T24" fmla="*/ 1192 w 3189"/>
              <a:gd name="T25" fmla="*/ 1784 h 3456"/>
              <a:gd name="T26" fmla="*/ 138 w 3189"/>
              <a:gd name="T27" fmla="*/ 1603 h 3456"/>
              <a:gd name="T28" fmla="*/ 242 w 3189"/>
              <a:gd name="T29" fmla="*/ 1943 h 3456"/>
              <a:gd name="T30" fmla="*/ 207 w 3189"/>
              <a:gd name="T31" fmla="*/ 1550 h 3456"/>
              <a:gd name="T32" fmla="*/ 3044 w 3189"/>
              <a:gd name="T33" fmla="*/ 1826 h 3456"/>
              <a:gd name="T34" fmla="*/ 2937 w 3189"/>
              <a:gd name="T35" fmla="*/ 1483 h 3456"/>
              <a:gd name="T36" fmla="*/ 2295 w 3189"/>
              <a:gd name="T37" fmla="*/ 1128 h 3456"/>
              <a:gd name="T38" fmla="*/ 1495 w 3189"/>
              <a:gd name="T39" fmla="*/ 1580 h 3456"/>
              <a:gd name="T40" fmla="*/ 583 w 3189"/>
              <a:gd name="T41" fmla="*/ 1635 h 3456"/>
              <a:gd name="T42" fmla="*/ 700 w 3189"/>
              <a:gd name="T43" fmla="*/ 2873 h 3456"/>
              <a:gd name="T44" fmla="*/ 1340 w 3189"/>
              <a:gd name="T45" fmla="*/ 3311 h 3456"/>
              <a:gd name="T46" fmla="*/ 2103 w 3189"/>
              <a:gd name="T47" fmla="*/ 3231 h 3456"/>
              <a:gd name="T48" fmla="*/ 2629 w 3189"/>
              <a:gd name="T49" fmla="*/ 2663 h 3456"/>
              <a:gd name="T50" fmla="*/ 2667 w 3189"/>
              <a:gd name="T51" fmla="*/ 946 h 3456"/>
              <a:gd name="T52" fmla="*/ 2757 w 3189"/>
              <a:gd name="T53" fmla="*/ 866 h 3456"/>
              <a:gd name="T54" fmla="*/ 2991 w 3189"/>
              <a:gd name="T55" fmla="*/ 1380 h 3456"/>
              <a:gd name="T56" fmla="*/ 2780 w 3189"/>
              <a:gd name="T57" fmla="*/ 716 h 3456"/>
              <a:gd name="T58" fmla="*/ 1481 w 3189"/>
              <a:gd name="T59" fmla="*/ 925 h 3456"/>
              <a:gd name="T60" fmla="*/ 650 w 3189"/>
              <a:gd name="T61" fmla="*/ 1281 h 3456"/>
              <a:gd name="T62" fmla="*/ 223 w 3189"/>
              <a:gd name="T63" fmla="*/ 1433 h 3456"/>
              <a:gd name="T64" fmla="*/ 781 w 3189"/>
              <a:gd name="T65" fmla="*/ 1537 h 3456"/>
              <a:gd name="T66" fmla="*/ 1639 w 3189"/>
              <a:gd name="T67" fmla="*/ 1408 h 3456"/>
              <a:gd name="T68" fmla="*/ 2288 w 3189"/>
              <a:gd name="T69" fmla="*/ 975 h 3456"/>
              <a:gd name="T70" fmla="*/ 2622 w 3189"/>
              <a:gd name="T71" fmla="*/ 583 h 3456"/>
              <a:gd name="T72" fmla="*/ 2046 w 3189"/>
              <a:gd name="T73" fmla="*/ 484 h 3456"/>
              <a:gd name="T74" fmla="*/ 2036 w 3189"/>
              <a:gd name="T75" fmla="*/ 368 h 3456"/>
              <a:gd name="T76" fmla="*/ 2218 w 3189"/>
              <a:gd name="T77" fmla="*/ 249 h 3456"/>
              <a:gd name="T78" fmla="*/ 1508 w 3189"/>
              <a:gd name="T79" fmla="*/ 295 h 3456"/>
              <a:gd name="T80" fmla="*/ 733 w 3189"/>
              <a:gd name="T81" fmla="*/ 700 h 3456"/>
              <a:gd name="T82" fmla="*/ 312 w 3189"/>
              <a:gd name="T83" fmla="*/ 1176 h 3456"/>
              <a:gd name="T84" fmla="*/ 849 w 3189"/>
              <a:gd name="T85" fmla="*/ 1109 h 3456"/>
              <a:gd name="T86" fmla="*/ 1585 w 3189"/>
              <a:gd name="T87" fmla="*/ 692 h 3456"/>
              <a:gd name="T88" fmla="*/ 1982 w 3189"/>
              <a:gd name="T89" fmla="*/ 242 h 3456"/>
              <a:gd name="T90" fmla="*/ 927 w 3189"/>
              <a:gd name="T91" fmla="*/ 303 h 3456"/>
              <a:gd name="T92" fmla="*/ 323 w 3189"/>
              <a:gd name="T93" fmla="*/ 960 h 3456"/>
              <a:gd name="T94" fmla="*/ 955 w 3189"/>
              <a:gd name="T95" fmla="*/ 401 h 3456"/>
              <a:gd name="T96" fmla="*/ 1751 w 3189"/>
              <a:gd name="T97" fmla="*/ 121 h 3456"/>
              <a:gd name="T98" fmla="*/ 2276 w 3189"/>
              <a:gd name="T99" fmla="*/ 148 h 3456"/>
              <a:gd name="T100" fmla="*/ 2958 w 3189"/>
              <a:gd name="T101" fmla="*/ 777 h 3456"/>
              <a:gd name="T102" fmla="*/ 3189 w 3189"/>
              <a:gd name="T103" fmla="*/ 1694 h 3456"/>
              <a:gd name="T104" fmla="*/ 3150 w 3189"/>
              <a:gd name="T105" fmla="*/ 2473 h 3456"/>
              <a:gd name="T106" fmla="*/ 2982 w 3189"/>
              <a:gd name="T107" fmla="*/ 3114 h 3456"/>
              <a:gd name="T108" fmla="*/ 2302 w 3189"/>
              <a:gd name="T109" fmla="*/ 3248 h 3456"/>
              <a:gd name="T110" fmla="*/ 1588 w 3189"/>
              <a:gd name="T111" fmla="*/ 3456 h 3456"/>
              <a:gd name="T112" fmla="*/ 811 w 3189"/>
              <a:gd name="T113" fmla="*/ 3167 h 3456"/>
              <a:gd name="T114" fmla="*/ 163 w 3189"/>
              <a:gd name="T115" fmla="*/ 2889 h 3456"/>
              <a:gd name="T116" fmla="*/ 67 w 3189"/>
              <a:gd name="T117" fmla="*/ 2195 h 3456"/>
              <a:gd name="T118" fmla="*/ 3 w 3189"/>
              <a:gd name="T119" fmla="*/ 1663 h 3456"/>
              <a:gd name="T120" fmla="*/ 201 w 3189"/>
              <a:gd name="T121" fmla="*/ 948 h 3456"/>
              <a:gd name="T122" fmla="*/ 812 w 3189"/>
              <a:gd name="T123" fmla="*/ 237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89" h="3456">
                <a:moveTo>
                  <a:pt x="178" y="2039"/>
                </a:moveTo>
                <a:lnTo>
                  <a:pt x="179" y="2088"/>
                </a:lnTo>
                <a:lnTo>
                  <a:pt x="181" y="2141"/>
                </a:lnTo>
                <a:lnTo>
                  <a:pt x="183" y="2196"/>
                </a:lnTo>
                <a:lnTo>
                  <a:pt x="186" y="2255"/>
                </a:lnTo>
                <a:lnTo>
                  <a:pt x="190" y="2316"/>
                </a:lnTo>
                <a:lnTo>
                  <a:pt x="195" y="2377"/>
                </a:lnTo>
                <a:lnTo>
                  <a:pt x="200" y="2440"/>
                </a:lnTo>
                <a:lnTo>
                  <a:pt x="207" y="2503"/>
                </a:lnTo>
                <a:lnTo>
                  <a:pt x="215" y="2567"/>
                </a:lnTo>
                <a:lnTo>
                  <a:pt x="224" y="2629"/>
                </a:lnTo>
                <a:lnTo>
                  <a:pt x="235" y="2690"/>
                </a:lnTo>
                <a:lnTo>
                  <a:pt x="246" y="2750"/>
                </a:lnTo>
                <a:lnTo>
                  <a:pt x="260" y="2808"/>
                </a:lnTo>
                <a:lnTo>
                  <a:pt x="275" y="2862"/>
                </a:lnTo>
                <a:lnTo>
                  <a:pt x="292" y="2912"/>
                </a:lnTo>
                <a:lnTo>
                  <a:pt x="312" y="2960"/>
                </a:lnTo>
                <a:lnTo>
                  <a:pt x="333" y="3003"/>
                </a:lnTo>
                <a:lnTo>
                  <a:pt x="356" y="3040"/>
                </a:lnTo>
                <a:lnTo>
                  <a:pt x="691" y="3049"/>
                </a:lnTo>
                <a:lnTo>
                  <a:pt x="638" y="2984"/>
                </a:lnTo>
                <a:lnTo>
                  <a:pt x="590" y="2915"/>
                </a:lnTo>
                <a:lnTo>
                  <a:pt x="546" y="2842"/>
                </a:lnTo>
                <a:lnTo>
                  <a:pt x="507" y="2768"/>
                </a:lnTo>
                <a:lnTo>
                  <a:pt x="473" y="2689"/>
                </a:lnTo>
                <a:lnTo>
                  <a:pt x="445" y="2609"/>
                </a:lnTo>
                <a:lnTo>
                  <a:pt x="423" y="2525"/>
                </a:lnTo>
                <a:lnTo>
                  <a:pt x="406" y="2439"/>
                </a:lnTo>
                <a:lnTo>
                  <a:pt x="397" y="2351"/>
                </a:lnTo>
                <a:lnTo>
                  <a:pt x="394" y="2262"/>
                </a:lnTo>
                <a:lnTo>
                  <a:pt x="394" y="2103"/>
                </a:lnTo>
                <a:lnTo>
                  <a:pt x="393" y="2103"/>
                </a:lnTo>
                <a:lnTo>
                  <a:pt x="346" y="2101"/>
                </a:lnTo>
                <a:lnTo>
                  <a:pt x="301" y="2092"/>
                </a:lnTo>
                <a:lnTo>
                  <a:pt x="258" y="2079"/>
                </a:lnTo>
                <a:lnTo>
                  <a:pt x="217" y="2061"/>
                </a:lnTo>
                <a:lnTo>
                  <a:pt x="178" y="2039"/>
                </a:lnTo>
                <a:close/>
                <a:moveTo>
                  <a:pt x="3066" y="1986"/>
                </a:moveTo>
                <a:lnTo>
                  <a:pt x="3033" y="2014"/>
                </a:lnTo>
                <a:lnTo>
                  <a:pt x="2995" y="2038"/>
                </a:lnTo>
                <a:lnTo>
                  <a:pt x="2955" y="2058"/>
                </a:lnTo>
                <a:lnTo>
                  <a:pt x="2913" y="2073"/>
                </a:lnTo>
                <a:lnTo>
                  <a:pt x="2868" y="2082"/>
                </a:lnTo>
                <a:lnTo>
                  <a:pt x="2822" y="2086"/>
                </a:lnTo>
                <a:lnTo>
                  <a:pt x="2822" y="2263"/>
                </a:lnTo>
                <a:lnTo>
                  <a:pt x="2819" y="2350"/>
                </a:lnTo>
                <a:lnTo>
                  <a:pt x="2810" y="2435"/>
                </a:lnTo>
                <a:lnTo>
                  <a:pt x="2795" y="2519"/>
                </a:lnTo>
                <a:lnTo>
                  <a:pt x="2774" y="2599"/>
                </a:lnTo>
                <a:lnTo>
                  <a:pt x="2748" y="2678"/>
                </a:lnTo>
                <a:lnTo>
                  <a:pt x="2716" y="2754"/>
                </a:lnTo>
                <a:lnTo>
                  <a:pt x="2680" y="2828"/>
                </a:lnTo>
                <a:lnTo>
                  <a:pt x="2638" y="2898"/>
                </a:lnTo>
                <a:lnTo>
                  <a:pt x="2593" y="2966"/>
                </a:lnTo>
                <a:lnTo>
                  <a:pt x="2543" y="3030"/>
                </a:lnTo>
                <a:lnTo>
                  <a:pt x="2488" y="3089"/>
                </a:lnTo>
                <a:lnTo>
                  <a:pt x="2855" y="3099"/>
                </a:lnTo>
                <a:lnTo>
                  <a:pt x="2880" y="3061"/>
                </a:lnTo>
                <a:lnTo>
                  <a:pt x="2904" y="3016"/>
                </a:lnTo>
                <a:lnTo>
                  <a:pt x="2926" y="2965"/>
                </a:lnTo>
                <a:lnTo>
                  <a:pt x="2946" y="2907"/>
                </a:lnTo>
                <a:lnTo>
                  <a:pt x="2965" y="2843"/>
                </a:lnTo>
                <a:lnTo>
                  <a:pt x="2982" y="2773"/>
                </a:lnTo>
                <a:lnTo>
                  <a:pt x="2998" y="2697"/>
                </a:lnTo>
                <a:lnTo>
                  <a:pt x="3013" y="2613"/>
                </a:lnTo>
                <a:lnTo>
                  <a:pt x="3025" y="2524"/>
                </a:lnTo>
                <a:lnTo>
                  <a:pt x="3037" y="2429"/>
                </a:lnTo>
                <a:lnTo>
                  <a:pt x="3046" y="2328"/>
                </a:lnTo>
                <a:lnTo>
                  <a:pt x="3055" y="2220"/>
                </a:lnTo>
                <a:lnTo>
                  <a:pt x="3062" y="2106"/>
                </a:lnTo>
                <a:lnTo>
                  <a:pt x="3066" y="1986"/>
                </a:lnTo>
                <a:close/>
                <a:moveTo>
                  <a:pt x="1974" y="1671"/>
                </a:moveTo>
                <a:lnTo>
                  <a:pt x="2002" y="1675"/>
                </a:lnTo>
                <a:lnTo>
                  <a:pt x="2029" y="1682"/>
                </a:lnTo>
                <a:lnTo>
                  <a:pt x="2052" y="1696"/>
                </a:lnTo>
                <a:lnTo>
                  <a:pt x="2073" y="1712"/>
                </a:lnTo>
                <a:lnTo>
                  <a:pt x="2090" y="1733"/>
                </a:lnTo>
                <a:lnTo>
                  <a:pt x="2104" y="1757"/>
                </a:lnTo>
                <a:lnTo>
                  <a:pt x="2112" y="1784"/>
                </a:lnTo>
                <a:lnTo>
                  <a:pt x="2114" y="1812"/>
                </a:lnTo>
                <a:lnTo>
                  <a:pt x="2112" y="1840"/>
                </a:lnTo>
                <a:lnTo>
                  <a:pt x="2104" y="1866"/>
                </a:lnTo>
                <a:lnTo>
                  <a:pt x="2090" y="1889"/>
                </a:lnTo>
                <a:lnTo>
                  <a:pt x="2073" y="1910"/>
                </a:lnTo>
                <a:lnTo>
                  <a:pt x="2052" y="1928"/>
                </a:lnTo>
                <a:lnTo>
                  <a:pt x="2029" y="1941"/>
                </a:lnTo>
                <a:lnTo>
                  <a:pt x="2002" y="1949"/>
                </a:lnTo>
                <a:lnTo>
                  <a:pt x="1974" y="1952"/>
                </a:lnTo>
                <a:lnTo>
                  <a:pt x="1947" y="1949"/>
                </a:lnTo>
                <a:lnTo>
                  <a:pt x="1919" y="1941"/>
                </a:lnTo>
                <a:lnTo>
                  <a:pt x="1896" y="1928"/>
                </a:lnTo>
                <a:lnTo>
                  <a:pt x="1876" y="1910"/>
                </a:lnTo>
                <a:lnTo>
                  <a:pt x="1859" y="1889"/>
                </a:lnTo>
                <a:lnTo>
                  <a:pt x="1845" y="1866"/>
                </a:lnTo>
                <a:lnTo>
                  <a:pt x="1837" y="1840"/>
                </a:lnTo>
                <a:lnTo>
                  <a:pt x="1835" y="1812"/>
                </a:lnTo>
                <a:lnTo>
                  <a:pt x="1837" y="1784"/>
                </a:lnTo>
                <a:lnTo>
                  <a:pt x="1845" y="1757"/>
                </a:lnTo>
                <a:lnTo>
                  <a:pt x="1859" y="1733"/>
                </a:lnTo>
                <a:lnTo>
                  <a:pt x="1876" y="1712"/>
                </a:lnTo>
                <a:lnTo>
                  <a:pt x="1896" y="1696"/>
                </a:lnTo>
                <a:lnTo>
                  <a:pt x="1919" y="1682"/>
                </a:lnTo>
                <a:lnTo>
                  <a:pt x="1947" y="1675"/>
                </a:lnTo>
                <a:lnTo>
                  <a:pt x="1974" y="1671"/>
                </a:lnTo>
                <a:close/>
                <a:moveTo>
                  <a:pt x="1329" y="1671"/>
                </a:moveTo>
                <a:lnTo>
                  <a:pt x="1357" y="1675"/>
                </a:lnTo>
                <a:lnTo>
                  <a:pt x="1383" y="1682"/>
                </a:lnTo>
                <a:lnTo>
                  <a:pt x="1407" y="1696"/>
                </a:lnTo>
                <a:lnTo>
                  <a:pt x="1427" y="1712"/>
                </a:lnTo>
                <a:lnTo>
                  <a:pt x="1445" y="1733"/>
                </a:lnTo>
                <a:lnTo>
                  <a:pt x="1458" y="1757"/>
                </a:lnTo>
                <a:lnTo>
                  <a:pt x="1466" y="1784"/>
                </a:lnTo>
                <a:lnTo>
                  <a:pt x="1469" y="1812"/>
                </a:lnTo>
                <a:lnTo>
                  <a:pt x="1466" y="1840"/>
                </a:lnTo>
                <a:lnTo>
                  <a:pt x="1458" y="1866"/>
                </a:lnTo>
                <a:lnTo>
                  <a:pt x="1445" y="1889"/>
                </a:lnTo>
                <a:lnTo>
                  <a:pt x="1427" y="1910"/>
                </a:lnTo>
                <a:lnTo>
                  <a:pt x="1407" y="1928"/>
                </a:lnTo>
                <a:lnTo>
                  <a:pt x="1383" y="1941"/>
                </a:lnTo>
                <a:lnTo>
                  <a:pt x="1357" y="1949"/>
                </a:lnTo>
                <a:lnTo>
                  <a:pt x="1329" y="1952"/>
                </a:lnTo>
                <a:lnTo>
                  <a:pt x="1301" y="1949"/>
                </a:lnTo>
                <a:lnTo>
                  <a:pt x="1274" y="1941"/>
                </a:lnTo>
                <a:lnTo>
                  <a:pt x="1250" y="1928"/>
                </a:lnTo>
                <a:lnTo>
                  <a:pt x="1229" y="1910"/>
                </a:lnTo>
                <a:lnTo>
                  <a:pt x="1213" y="1889"/>
                </a:lnTo>
                <a:lnTo>
                  <a:pt x="1200" y="1866"/>
                </a:lnTo>
                <a:lnTo>
                  <a:pt x="1192" y="1840"/>
                </a:lnTo>
                <a:lnTo>
                  <a:pt x="1189" y="1812"/>
                </a:lnTo>
                <a:lnTo>
                  <a:pt x="1192" y="1784"/>
                </a:lnTo>
                <a:lnTo>
                  <a:pt x="1200" y="1757"/>
                </a:lnTo>
                <a:lnTo>
                  <a:pt x="1213" y="1733"/>
                </a:lnTo>
                <a:lnTo>
                  <a:pt x="1229" y="1712"/>
                </a:lnTo>
                <a:lnTo>
                  <a:pt x="1250" y="1696"/>
                </a:lnTo>
                <a:lnTo>
                  <a:pt x="1274" y="1682"/>
                </a:lnTo>
                <a:lnTo>
                  <a:pt x="1301" y="1675"/>
                </a:lnTo>
                <a:lnTo>
                  <a:pt x="1329" y="1671"/>
                </a:lnTo>
                <a:close/>
                <a:moveTo>
                  <a:pt x="176" y="1539"/>
                </a:moveTo>
                <a:lnTo>
                  <a:pt x="155" y="1570"/>
                </a:lnTo>
                <a:lnTo>
                  <a:pt x="138" y="1603"/>
                </a:lnTo>
                <a:lnTo>
                  <a:pt x="126" y="1637"/>
                </a:lnTo>
                <a:lnTo>
                  <a:pt x="118" y="1674"/>
                </a:lnTo>
                <a:lnTo>
                  <a:pt x="115" y="1710"/>
                </a:lnTo>
                <a:lnTo>
                  <a:pt x="118" y="1751"/>
                </a:lnTo>
                <a:lnTo>
                  <a:pt x="128" y="1790"/>
                </a:lnTo>
                <a:lnTo>
                  <a:pt x="141" y="1827"/>
                </a:lnTo>
                <a:lnTo>
                  <a:pt x="160" y="1861"/>
                </a:lnTo>
                <a:lnTo>
                  <a:pt x="183" y="1892"/>
                </a:lnTo>
                <a:lnTo>
                  <a:pt x="210" y="1920"/>
                </a:lnTo>
                <a:lnTo>
                  <a:pt x="242" y="1943"/>
                </a:lnTo>
                <a:lnTo>
                  <a:pt x="275" y="1962"/>
                </a:lnTo>
                <a:lnTo>
                  <a:pt x="313" y="1976"/>
                </a:lnTo>
                <a:lnTo>
                  <a:pt x="352" y="1985"/>
                </a:lnTo>
                <a:lnTo>
                  <a:pt x="393" y="1988"/>
                </a:lnTo>
                <a:lnTo>
                  <a:pt x="394" y="1988"/>
                </a:lnTo>
                <a:lnTo>
                  <a:pt x="394" y="1600"/>
                </a:lnTo>
                <a:lnTo>
                  <a:pt x="339" y="1588"/>
                </a:lnTo>
                <a:lnTo>
                  <a:pt x="289" y="1574"/>
                </a:lnTo>
                <a:lnTo>
                  <a:pt x="246" y="1563"/>
                </a:lnTo>
                <a:lnTo>
                  <a:pt x="207" y="1550"/>
                </a:lnTo>
                <a:lnTo>
                  <a:pt x="176" y="1539"/>
                </a:lnTo>
                <a:close/>
                <a:moveTo>
                  <a:pt x="2822" y="1452"/>
                </a:moveTo>
                <a:lnTo>
                  <a:pt x="2822" y="1969"/>
                </a:lnTo>
                <a:lnTo>
                  <a:pt x="2863" y="1964"/>
                </a:lnTo>
                <a:lnTo>
                  <a:pt x="2901" y="1953"/>
                </a:lnTo>
                <a:lnTo>
                  <a:pt x="2937" y="1937"/>
                </a:lnTo>
                <a:lnTo>
                  <a:pt x="2970" y="1915"/>
                </a:lnTo>
                <a:lnTo>
                  <a:pt x="2999" y="1890"/>
                </a:lnTo>
                <a:lnTo>
                  <a:pt x="3023" y="1860"/>
                </a:lnTo>
                <a:lnTo>
                  <a:pt x="3044" y="1826"/>
                </a:lnTo>
                <a:lnTo>
                  <a:pt x="3059" y="1791"/>
                </a:lnTo>
                <a:lnTo>
                  <a:pt x="3068" y="1751"/>
                </a:lnTo>
                <a:lnTo>
                  <a:pt x="3072" y="1710"/>
                </a:lnTo>
                <a:lnTo>
                  <a:pt x="3069" y="1669"/>
                </a:lnTo>
                <a:lnTo>
                  <a:pt x="3060" y="1631"/>
                </a:lnTo>
                <a:lnTo>
                  <a:pt x="3044" y="1594"/>
                </a:lnTo>
                <a:lnTo>
                  <a:pt x="3024" y="1560"/>
                </a:lnTo>
                <a:lnTo>
                  <a:pt x="2999" y="1530"/>
                </a:lnTo>
                <a:lnTo>
                  <a:pt x="2970" y="1505"/>
                </a:lnTo>
                <a:lnTo>
                  <a:pt x="2937" y="1483"/>
                </a:lnTo>
                <a:lnTo>
                  <a:pt x="2902" y="1467"/>
                </a:lnTo>
                <a:lnTo>
                  <a:pt x="2863" y="1456"/>
                </a:lnTo>
                <a:lnTo>
                  <a:pt x="2822" y="1452"/>
                </a:lnTo>
                <a:close/>
                <a:moveTo>
                  <a:pt x="2590" y="821"/>
                </a:moveTo>
                <a:lnTo>
                  <a:pt x="2551" y="868"/>
                </a:lnTo>
                <a:lnTo>
                  <a:pt x="2507" y="917"/>
                </a:lnTo>
                <a:lnTo>
                  <a:pt x="2461" y="969"/>
                </a:lnTo>
                <a:lnTo>
                  <a:pt x="2410" y="1021"/>
                </a:lnTo>
                <a:lnTo>
                  <a:pt x="2354" y="1075"/>
                </a:lnTo>
                <a:lnTo>
                  <a:pt x="2295" y="1128"/>
                </a:lnTo>
                <a:lnTo>
                  <a:pt x="2234" y="1181"/>
                </a:lnTo>
                <a:lnTo>
                  <a:pt x="2167" y="1234"/>
                </a:lnTo>
                <a:lnTo>
                  <a:pt x="2096" y="1286"/>
                </a:lnTo>
                <a:lnTo>
                  <a:pt x="2022" y="1336"/>
                </a:lnTo>
                <a:lnTo>
                  <a:pt x="1945" y="1384"/>
                </a:lnTo>
                <a:lnTo>
                  <a:pt x="1863" y="1431"/>
                </a:lnTo>
                <a:lnTo>
                  <a:pt x="1778" y="1474"/>
                </a:lnTo>
                <a:lnTo>
                  <a:pt x="1689" y="1512"/>
                </a:lnTo>
                <a:lnTo>
                  <a:pt x="1596" y="1548"/>
                </a:lnTo>
                <a:lnTo>
                  <a:pt x="1495" y="1580"/>
                </a:lnTo>
                <a:lnTo>
                  <a:pt x="1395" y="1607"/>
                </a:lnTo>
                <a:lnTo>
                  <a:pt x="1296" y="1626"/>
                </a:lnTo>
                <a:lnTo>
                  <a:pt x="1199" y="1642"/>
                </a:lnTo>
                <a:lnTo>
                  <a:pt x="1104" y="1653"/>
                </a:lnTo>
                <a:lnTo>
                  <a:pt x="1011" y="1658"/>
                </a:lnTo>
                <a:lnTo>
                  <a:pt x="919" y="1660"/>
                </a:lnTo>
                <a:lnTo>
                  <a:pt x="829" y="1658"/>
                </a:lnTo>
                <a:lnTo>
                  <a:pt x="743" y="1653"/>
                </a:lnTo>
                <a:lnTo>
                  <a:pt x="661" y="1645"/>
                </a:lnTo>
                <a:lnTo>
                  <a:pt x="583" y="1635"/>
                </a:lnTo>
                <a:lnTo>
                  <a:pt x="509" y="1623"/>
                </a:lnTo>
                <a:lnTo>
                  <a:pt x="509" y="2262"/>
                </a:lnTo>
                <a:lnTo>
                  <a:pt x="512" y="2346"/>
                </a:lnTo>
                <a:lnTo>
                  <a:pt x="521" y="2429"/>
                </a:lnTo>
                <a:lnTo>
                  <a:pt x="537" y="2509"/>
                </a:lnTo>
                <a:lnTo>
                  <a:pt x="559" y="2587"/>
                </a:lnTo>
                <a:lnTo>
                  <a:pt x="586" y="2663"/>
                </a:lnTo>
                <a:lnTo>
                  <a:pt x="619" y="2735"/>
                </a:lnTo>
                <a:lnTo>
                  <a:pt x="657" y="2806"/>
                </a:lnTo>
                <a:lnTo>
                  <a:pt x="700" y="2873"/>
                </a:lnTo>
                <a:lnTo>
                  <a:pt x="747" y="2936"/>
                </a:lnTo>
                <a:lnTo>
                  <a:pt x="798" y="2995"/>
                </a:lnTo>
                <a:lnTo>
                  <a:pt x="853" y="3052"/>
                </a:lnTo>
                <a:lnTo>
                  <a:pt x="913" y="3103"/>
                </a:lnTo>
                <a:lnTo>
                  <a:pt x="977" y="3150"/>
                </a:lnTo>
                <a:lnTo>
                  <a:pt x="1043" y="3193"/>
                </a:lnTo>
                <a:lnTo>
                  <a:pt x="1113" y="3231"/>
                </a:lnTo>
                <a:lnTo>
                  <a:pt x="1186" y="3263"/>
                </a:lnTo>
                <a:lnTo>
                  <a:pt x="1262" y="3291"/>
                </a:lnTo>
                <a:lnTo>
                  <a:pt x="1340" y="3311"/>
                </a:lnTo>
                <a:lnTo>
                  <a:pt x="1421" y="3327"/>
                </a:lnTo>
                <a:lnTo>
                  <a:pt x="1503" y="3337"/>
                </a:lnTo>
                <a:lnTo>
                  <a:pt x="1588" y="3340"/>
                </a:lnTo>
                <a:lnTo>
                  <a:pt x="1629" y="3340"/>
                </a:lnTo>
                <a:lnTo>
                  <a:pt x="1714" y="3337"/>
                </a:lnTo>
                <a:lnTo>
                  <a:pt x="1796" y="3327"/>
                </a:lnTo>
                <a:lnTo>
                  <a:pt x="1877" y="3311"/>
                </a:lnTo>
                <a:lnTo>
                  <a:pt x="1954" y="3291"/>
                </a:lnTo>
                <a:lnTo>
                  <a:pt x="2030" y="3263"/>
                </a:lnTo>
                <a:lnTo>
                  <a:pt x="2103" y="3231"/>
                </a:lnTo>
                <a:lnTo>
                  <a:pt x="2173" y="3193"/>
                </a:lnTo>
                <a:lnTo>
                  <a:pt x="2240" y="3150"/>
                </a:lnTo>
                <a:lnTo>
                  <a:pt x="2303" y="3103"/>
                </a:lnTo>
                <a:lnTo>
                  <a:pt x="2362" y="3052"/>
                </a:lnTo>
                <a:lnTo>
                  <a:pt x="2418" y="2996"/>
                </a:lnTo>
                <a:lnTo>
                  <a:pt x="2469" y="2937"/>
                </a:lnTo>
                <a:lnTo>
                  <a:pt x="2516" y="2873"/>
                </a:lnTo>
                <a:lnTo>
                  <a:pt x="2559" y="2807"/>
                </a:lnTo>
                <a:lnTo>
                  <a:pt x="2597" y="2737"/>
                </a:lnTo>
                <a:lnTo>
                  <a:pt x="2629" y="2663"/>
                </a:lnTo>
                <a:lnTo>
                  <a:pt x="2657" y="2588"/>
                </a:lnTo>
                <a:lnTo>
                  <a:pt x="2678" y="2510"/>
                </a:lnTo>
                <a:lnTo>
                  <a:pt x="2693" y="2430"/>
                </a:lnTo>
                <a:lnTo>
                  <a:pt x="2704" y="2347"/>
                </a:lnTo>
                <a:lnTo>
                  <a:pt x="2707" y="2263"/>
                </a:lnTo>
                <a:lnTo>
                  <a:pt x="2707" y="1136"/>
                </a:lnTo>
                <a:lnTo>
                  <a:pt x="2704" y="1087"/>
                </a:lnTo>
                <a:lnTo>
                  <a:pt x="2696" y="1039"/>
                </a:lnTo>
                <a:lnTo>
                  <a:pt x="2684" y="992"/>
                </a:lnTo>
                <a:lnTo>
                  <a:pt x="2667" y="946"/>
                </a:lnTo>
                <a:lnTo>
                  <a:pt x="2645" y="902"/>
                </a:lnTo>
                <a:lnTo>
                  <a:pt x="2620" y="860"/>
                </a:lnTo>
                <a:lnTo>
                  <a:pt x="2590" y="821"/>
                </a:lnTo>
                <a:close/>
                <a:moveTo>
                  <a:pt x="2723" y="642"/>
                </a:moveTo>
                <a:lnTo>
                  <a:pt x="2706" y="667"/>
                </a:lnTo>
                <a:lnTo>
                  <a:pt x="2685" y="696"/>
                </a:lnTo>
                <a:lnTo>
                  <a:pt x="2662" y="728"/>
                </a:lnTo>
                <a:lnTo>
                  <a:pt x="2699" y="772"/>
                </a:lnTo>
                <a:lnTo>
                  <a:pt x="2730" y="818"/>
                </a:lnTo>
                <a:lnTo>
                  <a:pt x="2757" y="866"/>
                </a:lnTo>
                <a:lnTo>
                  <a:pt x="2780" y="917"/>
                </a:lnTo>
                <a:lnTo>
                  <a:pt x="2798" y="970"/>
                </a:lnTo>
                <a:lnTo>
                  <a:pt x="2812" y="1024"/>
                </a:lnTo>
                <a:lnTo>
                  <a:pt x="2820" y="1080"/>
                </a:lnTo>
                <a:lnTo>
                  <a:pt x="2822" y="1136"/>
                </a:lnTo>
                <a:lnTo>
                  <a:pt x="2822" y="1335"/>
                </a:lnTo>
                <a:lnTo>
                  <a:pt x="2867" y="1338"/>
                </a:lnTo>
                <a:lnTo>
                  <a:pt x="2910" y="1348"/>
                </a:lnTo>
                <a:lnTo>
                  <a:pt x="2952" y="1361"/>
                </a:lnTo>
                <a:lnTo>
                  <a:pt x="2991" y="1380"/>
                </a:lnTo>
                <a:lnTo>
                  <a:pt x="3026" y="1402"/>
                </a:lnTo>
                <a:lnTo>
                  <a:pt x="3060" y="1428"/>
                </a:lnTo>
                <a:lnTo>
                  <a:pt x="3045" y="1331"/>
                </a:lnTo>
                <a:lnTo>
                  <a:pt x="3023" y="1235"/>
                </a:lnTo>
                <a:lnTo>
                  <a:pt x="2996" y="1140"/>
                </a:lnTo>
                <a:lnTo>
                  <a:pt x="2964" y="1049"/>
                </a:lnTo>
                <a:lnTo>
                  <a:pt x="2925" y="961"/>
                </a:lnTo>
                <a:lnTo>
                  <a:pt x="2882" y="877"/>
                </a:lnTo>
                <a:lnTo>
                  <a:pt x="2834" y="795"/>
                </a:lnTo>
                <a:lnTo>
                  <a:pt x="2780" y="716"/>
                </a:lnTo>
                <a:lnTo>
                  <a:pt x="2723" y="642"/>
                </a:lnTo>
                <a:close/>
                <a:moveTo>
                  <a:pt x="1952" y="478"/>
                </a:moveTo>
                <a:lnTo>
                  <a:pt x="1908" y="531"/>
                </a:lnTo>
                <a:lnTo>
                  <a:pt x="1860" y="585"/>
                </a:lnTo>
                <a:lnTo>
                  <a:pt x="1807" y="641"/>
                </a:lnTo>
                <a:lnTo>
                  <a:pt x="1751" y="699"/>
                </a:lnTo>
                <a:lnTo>
                  <a:pt x="1690" y="756"/>
                </a:lnTo>
                <a:lnTo>
                  <a:pt x="1624" y="813"/>
                </a:lnTo>
                <a:lnTo>
                  <a:pt x="1555" y="869"/>
                </a:lnTo>
                <a:lnTo>
                  <a:pt x="1481" y="925"/>
                </a:lnTo>
                <a:lnTo>
                  <a:pt x="1402" y="977"/>
                </a:lnTo>
                <a:lnTo>
                  <a:pt x="1319" y="1028"/>
                </a:lnTo>
                <a:lnTo>
                  <a:pt x="1230" y="1078"/>
                </a:lnTo>
                <a:lnTo>
                  <a:pt x="1142" y="1121"/>
                </a:lnTo>
                <a:lnTo>
                  <a:pt x="1055" y="1158"/>
                </a:lnTo>
                <a:lnTo>
                  <a:pt x="969" y="1192"/>
                </a:lnTo>
                <a:lnTo>
                  <a:pt x="885" y="1220"/>
                </a:lnTo>
                <a:lnTo>
                  <a:pt x="803" y="1244"/>
                </a:lnTo>
                <a:lnTo>
                  <a:pt x="725" y="1264"/>
                </a:lnTo>
                <a:lnTo>
                  <a:pt x="650" y="1281"/>
                </a:lnTo>
                <a:lnTo>
                  <a:pt x="579" y="1294"/>
                </a:lnTo>
                <a:lnTo>
                  <a:pt x="512" y="1305"/>
                </a:lnTo>
                <a:lnTo>
                  <a:pt x="450" y="1313"/>
                </a:lnTo>
                <a:lnTo>
                  <a:pt x="393" y="1319"/>
                </a:lnTo>
                <a:lnTo>
                  <a:pt x="342" y="1323"/>
                </a:lnTo>
                <a:lnTo>
                  <a:pt x="297" y="1325"/>
                </a:lnTo>
                <a:lnTo>
                  <a:pt x="275" y="1356"/>
                </a:lnTo>
                <a:lnTo>
                  <a:pt x="256" y="1384"/>
                </a:lnTo>
                <a:lnTo>
                  <a:pt x="238" y="1411"/>
                </a:lnTo>
                <a:lnTo>
                  <a:pt x="223" y="1433"/>
                </a:lnTo>
                <a:lnTo>
                  <a:pt x="256" y="1443"/>
                </a:lnTo>
                <a:lnTo>
                  <a:pt x="294" y="1455"/>
                </a:lnTo>
                <a:lnTo>
                  <a:pt x="338" y="1467"/>
                </a:lnTo>
                <a:lnTo>
                  <a:pt x="389" y="1479"/>
                </a:lnTo>
                <a:lnTo>
                  <a:pt x="443" y="1491"/>
                </a:lnTo>
                <a:lnTo>
                  <a:pt x="503" y="1503"/>
                </a:lnTo>
                <a:lnTo>
                  <a:pt x="567" y="1514"/>
                </a:lnTo>
                <a:lnTo>
                  <a:pt x="635" y="1524"/>
                </a:lnTo>
                <a:lnTo>
                  <a:pt x="707" y="1532"/>
                </a:lnTo>
                <a:lnTo>
                  <a:pt x="781" y="1537"/>
                </a:lnTo>
                <a:lnTo>
                  <a:pt x="860" y="1542"/>
                </a:lnTo>
                <a:lnTo>
                  <a:pt x="940" y="1543"/>
                </a:lnTo>
                <a:lnTo>
                  <a:pt x="1024" y="1541"/>
                </a:lnTo>
                <a:lnTo>
                  <a:pt x="1110" y="1534"/>
                </a:lnTo>
                <a:lnTo>
                  <a:pt x="1197" y="1525"/>
                </a:lnTo>
                <a:lnTo>
                  <a:pt x="1286" y="1510"/>
                </a:lnTo>
                <a:lnTo>
                  <a:pt x="1376" y="1491"/>
                </a:lnTo>
                <a:lnTo>
                  <a:pt x="1466" y="1468"/>
                </a:lnTo>
                <a:lnTo>
                  <a:pt x="1558" y="1439"/>
                </a:lnTo>
                <a:lnTo>
                  <a:pt x="1639" y="1408"/>
                </a:lnTo>
                <a:lnTo>
                  <a:pt x="1717" y="1374"/>
                </a:lnTo>
                <a:lnTo>
                  <a:pt x="1793" y="1336"/>
                </a:lnTo>
                <a:lnTo>
                  <a:pt x="1865" y="1297"/>
                </a:lnTo>
                <a:lnTo>
                  <a:pt x="1934" y="1255"/>
                </a:lnTo>
                <a:lnTo>
                  <a:pt x="2001" y="1210"/>
                </a:lnTo>
                <a:lnTo>
                  <a:pt x="2065" y="1165"/>
                </a:lnTo>
                <a:lnTo>
                  <a:pt x="2125" y="1117"/>
                </a:lnTo>
                <a:lnTo>
                  <a:pt x="2182" y="1070"/>
                </a:lnTo>
                <a:lnTo>
                  <a:pt x="2237" y="1023"/>
                </a:lnTo>
                <a:lnTo>
                  <a:pt x="2288" y="975"/>
                </a:lnTo>
                <a:lnTo>
                  <a:pt x="2336" y="928"/>
                </a:lnTo>
                <a:lnTo>
                  <a:pt x="2381" y="881"/>
                </a:lnTo>
                <a:lnTo>
                  <a:pt x="2423" y="836"/>
                </a:lnTo>
                <a:lnTo>
                  <a:pt x="2461" y="792"/>
                </a:lnTo>
                <a:lnTo>
                  <a:pt x="2496" y="750"/>
                </a:lnTo>
                <a:lnTo>
                  <a:pt x="2528" y="711"/>
                </a:lnTo>
                <a:lnTo>
                  <a:pt x="2557" y="674"/>
                </a:lnTo>
                <a:lnTo>
                  <a:pt x="2582" y="640"/>
                </a:lnTo>
                <a:lnTo>
                  <a:pt x="2603" y="610"/>
                </a:lnTo>
                <a:lnTo>
                  <a:pt x="2622" y="583"/>
                </a:lnTo>
                <a:lnTo>
                  <a:pt x="2588" y="574"/>
                </a:lnTo>
                <a:lnTo>
                  <a:pt x="2548" y="562"/>
                </a:lnTo>
                <a:lnTo>
                  <a:pt x="2501" y="551"/>
                </a:lnTo>
                <a:lnTo>
                  <a:pt x="2449" y="539"/>
                </a:lnTo>
                <a:lnTo>
                  <a:pt x="2393" y="528"/>
                </a:lnTo>
                <a:lnTo>
                  <a:pt x="2332" y="516"/>
                </a:lnTo>
                <a:lnTo>
                  <a:pt x="2266" y="506"/>
                </a:lnTo>
                <a:lnTo>
                  <a:pt x="2196" y="497"/>
                </a:lnTo>
                <a:lnTo>
                  <a:pt x="2123" y="490"/>
                </a:lnTo>
                <a:lnTo>
                  <a:pt x="2046" y="484"/>
                </a:lnTo>
                <a:lnTo>
                  <a:pt x="1967" y="481"/>
                </a:lnTo>
                <a:lnTo>
                  <a:pt x="1961" y="481"/>
                </a:lnTo>
                <a:lnTo>
                  <a:pt x="1957" y="480"/>
                </a:lnTo>
                <a:lnTo>
                  <a:pt x="1952" y="478"/>
                </a:lnTo>
                <a:close/>
                <a:moveTo>
                  <a:pt x="2137" y="214"/>
                </a:moveTo>
                <a:lnTo>
                  <a:pt x="2124" y="237"/>
                </a:lnTo>
                <a:lnTo>
                  <a:pt x="2107" y="263"/>
                </a:lnTo>
                <a:lnTo>
                  <a:pt x="2087" y="294"/>
                </a:lnTo>
                <a:lnTo>
                  <a:pt x="2063" y="330"/>
                </a:lnTo>
                <a:lnTo>
                  <a:pt x="2036" y="368"/>
                </a:lnTo>
                <a:lnTo>
                  <a:pt x="2129" y="374"/>
                </a:lnTo>
                <a:lnTo>
                  <a:pt x="2218" y="383"/>
                </a:lnTo>
                <a:lnTo>
                  <a:pt x="2301" y="394"/>
                </a:lnTo>
                <a:lnTo>
                  <a:pt x="2378" y="406"/>
                </a:lnTo>
                <a:lnTo>
                  <a:pt x="2449" y="420"/>
                </a:lnTo>
                <a:lnTo>
                  <a:pt x="2513" y="435"/>
                </a:lnTo>
                <a:lnTo>
                  <a:pt x="2444" y="381"/>
                </a:lnTo>
                <a:lnTo>
                  <a:pt x="2372" y="333"/>
                </a:lnTo>
                <a:lnTo>
                  <a:pt x="2296" y="288"/>
                </a:lnTo>
                <a:lnTo>
                  <a:pt x="2218" y="249"/>
                </a:lnTo>
                <a:lnTo>
                  <a:pt x="2137" y="214"/>
                </a:lnTo>
                <a:close/>
                <a:moveTo>
                  <a:pt x="2003" y="211"/>
                </a:moveTo>
                <a:lnTo>
                  <a:pt x="1959" y="214"/>
                </a:lnTo>
                <a:lnTo>
                  <a:pt x="1910" y="218"/>
                </a:lnTo>
                <a:lnTo>
                  <a:pt x="1855" y="225"/>
                </a:lnTo>
                <a:lnTo>
                  <a:pt x="1793" y="234"/>
                </a:lnTo>
                <a:lnTo>
                  <a:pt x="1728" y="244"/>
                </a:lnTo>
                <a:lnTo>
                  <a:pt x="1658" y="259"/>
                </a:lnTo>
                <a:lnTo>
                  <a:pt x="1584" y="275"/>
                </a:lnTo>
                <a:lnTo>
                  <a:pt x="1508" y="295"/>
                </a:lnTo>
                <a:lnTo>
                  <a:pt x="1428" y="319"/>
                </a:lnTo>
                <a:lnTo>
                  <a:pt x="1348" y="347"/>
                </a:lnTo>
                <a:lnTo>
                  <a:pt x="1265" y="378"/>
                </a:lnTo>
                <a:lnTo>
                  <a:pt x="1181" y="415"/>
                </a:lnTo>
                <a:lnTo>
                  <a:pt x="1097" y="456"/>
                </a:lnTo>
                <a:lnTo>
                  <a:pt x="1013" y="502"/>
                </a:lnTo>
                <a:lnTo>
                  <a:pt x="937" y="549"/>
                </a:lnTo>
                <a:lnTo>
                  <a:pt x="865" y="597"/>
                </a:lnTo>
                <a:lnTo>
                  <a:pt x="797" y="648"/>
                </a:lnTo>
                <a:lnTo>
                  <a:pt x="733" y="700"/>
                </a:lnTo>
                <a:lnTo>
                  <a:pt x="673" y="752"/>
                </a:lnTo>
                <a:lnTo>
                  <a:pt x="617" y="805"/>
                </a:lnTo>
                <a:lnTo>
                  <a:pt x="565" y="858"/>
                </a:lnTo>
                <a:lnTo>
                  <a:pt x="517" y="909"/>
                </a:lnTo>
                <a:lnTo>
                  <a:pt x="473" y="959"/>
                </a:lnTo>
                <a:lnTo>
                  <a:pt x="434" y="1009"/>
                </a:lnTo>
                <a:lnTo>
                  <a:pt x="397" y="1055"/>
                </a:lnTo>
                <a:lnTo>
                  <a:pt x="365" y="1099"/>
                </a:lnTo>
                <a:lnTo>
                  <a:pt x="336" y="1139"/>
                </a:lnTo>
                <a:lnTo>
                  <a:pt x="312" y="1176"/>
                </a:lnTo>
                <a:lnTo>
                  <a:pt x="291" y="1209"/>
                </a:lnTo>
                <a:lnTo>
                  <a:pt x="333" y="1206"/>
                </a:lnTo>
                <a:lnTo>
                  <a:pt x="381" y="1202"/>
                </a:lnTo>
                <a:lnTo>
                  <a:pt x="435" y="1197"/>
                </a:lnTo>
                <a:lnTo>
                  <a:pt x="493" y="1190"/>
                </a:lnTo>
                <a:lnTo>
                  <a:pt x="557" y="1179"/>
                </a:lnTo>
                <a:lnTo>
                  <a:pt x="625" y="1167"/>
                </a:lnTo>
                <a:lnTo>
                  <a:pt x="696" y="1151"/>
                </a:lnTo>
                <a:lnTo>
                  <a:pt x="772" y="1132"/>
                </a:lnTo>
                <a:lnTo>
                  <a:pt x="849" y="1109"/>
                </a:lnTo>
                <a:lnTo>
                  <a:pt x="929" y="1082"/>
                </a:lnTo>
                <a:lnTo>
                  <a:pt x="1011" y="1050"/>
                </a:lnTo>
                <a:lnTo>
                  <a:pt x="1093" y="1015"/>
                </a:lnTo>
                <a:lnTo>
                  <a:pt x="1177" y="974"/>
                </a:lnTo>
                <a:lnTo>
                  <a:pt x="1261" y="928"/>
                </a:lnTo>
                <a:lnTo>
                  <a:pt x="1333" y="885"/>
                </a:lnTo>
                <a:lnTo>
                  <a:pt x="1401" y="839"/>
                </a:lnTo>
                <a:lnTo>
                  <a:pt x="1466" y="791"/>
                </a:lnTo>
                <a:lnTo>
                  <a:pt x="1528" y="743"/>
                </a:lnTo>
                <a:lnTo>
                  <a:pt x="1585" y="692"/>
                </a:lnTo>
                <a:lnTo>
                  <a:pt x="1641" y="643"/>
                </a:lnTo>
                <a:lnTo>
                  <a:pt x="1692" y="593"/>
                </a:lnTo>
                <a:lnTo>
                  <a:pt x="1740" y="542"/>
                </a:lnTo>
                <a:lnTo>
                  <a:pt x="1785" y="494"/>
                </a:lnTo>
                <a:lnTo>
                  <a:pt x="1826" y="446"/>
                </a:lnTo>
                <a:lnTo>
                  <a:pt x="1864" y="401"/>
                </a:lnTo>
                <a:lnTo>
                  <a:pt x="1899" y="357"/>
                </a:lnTo>
                <a:lnTo>
                  <a:pt x="1930" y="315"/>
                </a:lnTo>
                <a:lnTo>
                  <a:pt x="1957" y="276"/>
                </a:lnTo>
                <a:lnTo>
                  <a:pt x="1982" y="242"/>
                </a:lnTo>
                <a:lnTo>
                  <a:pt x="2003" y="211"/>
                </a:lnTo>
                <a:close/>
                <a:moveTo>
                  <a:pt x="1624" y="116"/>
                </a:moveTo>
                <a:lnTo>
                  <a:pt x="1530" y="119"/>
                </a:lnTo>
                <a:lnTo>
                  <a:pt x="1438" y="128"/>
                </a:lnTo>
                <a:lnTo>
                  <a:pt x="1348" y="143"/>
                </a:lnTo>
                <a:lnTo>
                  <a:pt x="1259" y="164"/>
                </a:lnTo>
                <a:lnTo>
                  <a:pt x="1172" y="191"/>
                </a:lnTo>
                <a:lnTo>
                  <a:pt x="1088" y="223"/>
                </a:lnTo>
                <a:lnTo>
                  <a:pt x="1005" y="260"/>
                </a:lnTo>
                <a:lnTo>
                  <a:pt x="927" y="303"/>
                </a:lnTo>
                <a:lnTo>
                  <a:pt x="850" y="350"/>
                </a:lnTo>
                <a:lnTo>
                  <a:pt x="777" y="401"/>
                </a:lnTo>
                <a:lnTo>
                  <a:pt x="706" y="458"/>
                </a:lnTo>
                <a:lnTo>
                  <a:pt x="640" y="517"/>
                </a:lnTo>
                <a:lnTo>
                  <a:pt x="576" y="582"/>
                </a:lnTo>
                <a:lnTo>
                  <a:pt x="517" y="650"/>
                </a:lnTo>
                <a:lnTo>
                  <a:pt x="462" y="723"/>
                </a:lnTo>
                <a:lnTo>
                  <a:pt x="410" y="799"/>
                </a:lnTo>
                <a:lnTo>
                  <a:pt x="364" y="879"/>
                </a:lnTo>
                <a:lnTo>
                  <a:pt x="323" y="960"/>
                </a:lnTo>
                <a:lnTo>
                  <a:pt x="364" y="908"/>
                </a:lnTo>
                <a:lnTo>
                  <a:pt x="412" y="852"/>
                </a:lnTo>
                <a:lnTo>
                  <a:pt x="463" y="796"/>
                </a:lnTo>
                <a:lnTo>
                  <a:pt x="518" y="738"/>
                </a:lnTo>
                <a:lnTo>
                  <a:pt x="579" y="681"/>
                </a:lnTo>
                <a:lnTo>
                  <a:pt x="644" y="622"/>
                </a:lnTo>
                <a:lnTo>
                  <a:pt x="714" y="564"/>
                </a:lnTo>
                <a:lnTo>
                  <a:pt x="790" y="509"/>
                </a:lnTo>
                <a:lnTo>
                  <a:pt x="869" y="453"/>
                </a:lnTo>
                <a:lnTo>
                  <a:pt x="955" y="401"/>
                </a:lnTo>
                <a:lnTo>
                  <a:pt x="1041" y="354"/>
                </a:lnTo>
                <a:lnTo>
                  <a:pt x="1127" y="312"/>
                </a:lnTo>
                <a:lnTo>
                  <a:pt x="1212" y="274"/>
                </a:lnTo>
                <a:lnTo>
                  <a:pt x="1296" y="242"/>
                </a:lnTo>
                <a:lnTo>
                  <a:pt x="1378" y="213"/>
                </a:lnTo>
                <a:lnTo>
                  <a:pt x="1459" y="187"/>
                </a:lnTo>
                <a:lnTo>
                  <a:pt x="1537" y="167"/>
                </a:lnTo>
                <a:lnTo>
                  <a:pt x="1612" y="149"/>
                </a:lnTo>
                <a:lnTo>
                  <a:pt x="1684" y="134"/>
                </a:lnTo>
                <a:lnTo>
                  <a:pt x="1751" y="121"/>
                </a:lnTo>
                <a:lnTo>
                  <a:pt x="1688" y="117"/>
                </a:lnTo>
                <a:lnTo>
                  <a:pt x="1624" y="116"/>
                </a:lnTo>
                <a:close/>
                <a:moveTo>
                  <a:pt x="1624" y="0"/>
                </a:moveTo>
                <a:lnTo>
                  <a:pt x="1723" y="3"/>
                </a:lnTo>
                <a:lnTo>
                  <a:pt x="1820" y="13"/>
                </a:lnTo>
                <a:lnTo>
                  <a:pt x="1915" y="28"/>
                </a:lnTo>
                <a:lnTo>
                  <a:pt x="2008" y="49"/>
                </a:lnTo>
                <a:lnTo>
                  <a:pt x="2100" y="76"/>
                </a:lnTo>
                <a:lnTo>
                  <a:pt x="2189" y="109"/>
                </a:lnTo>
                <a:lnTo>
                  <a:pt x="2276" y="148"/>
                </a:lnTo>
                <a:lnTo>
                  <a:pt x="2359" y="191"/>
                </a:lnTo>
                <a:lnTo>
                  <a:pt x="2440" y="239"/>
                </a:lnTo>
                <a:lnTo>
                  <a:pt x="2517" y="291"/>
                </a:lnTo>
                <a:lnTo>
                  <a:pt x="2592" y="349"/>
                </a:lnTo>
                <a:lnTo>
                  <a:pt x="2663" y="411"/>
                </a:lnTo>
                <a:lnTo>
                  <a:pt x="2730" y="475"/>
                </a:lnTo>
                <a:lnTo>
                  <a:pt x="2793" y="546"/>
                </a:lnTo>
                <a:lnTo>
                  <a:pt x="2853" y="619"/>
                </a:lnTo>
                <a:lnTo>
                  <a:pt x="2908" y="696"/>
                </a:lnTo>
                <a:lnTo>
                  <a:pt x="2958" y="777"/>
                </a:lnTo>
                <a:lnTo>
                  <a:pt x="3005" y="861"/>
                </a:lnTo>
                <a:lnTo>
                  <a:pt x="3046" y="948"/>
                </a:lnTo>
                <a:lnTo>
                  <a:pt x="3083" y="1037"/>
                </a:lnTo>
                <a:lnTo>
                  <a:pt x="3114" y="1129"/>
                </a:lnTo>
                <a:lnTo>
                  <a:pt x="3140" y="1224"/>
                </a:lnTo>
                <a:lnTo>
                  <a:pt x="3161" y="1321"/>
                </a:lnTo>
                <a:lnTo>
                  <a:pt x="3176" y="1420"/>
                </a:lnTo>
                <a:lnTo>
                  <a:pt x="3186" y="1521"/>
                </a:lnTo>
                <a:lnTo>
                  <a:pt x="3189" y="1623"/>
                </a:lnTo>
                <a:lnTo>
                  <a:pt x="3189" y="1694"/>
                </a:lnTo>
                <a:lnTo>
                  <a:pt x="3188" y="1769"/>
                </a:lnTo>
                <a:lnTo>
                  <a:pt x="3187" y="1845"/>
                </a:lnTo>
                <a:lnTo>
                  <a:pt x="3186" y="1922"/>
                </a:lnTo>
                <a:lnTo>
                  <a:pt x="3182" y="2000"/>
                </a:lnTo>
                <a:lnTo>
                  <a:pt x="3180" y="2079"/>
                </a:lnTo>
                <a:lnTo>
                  <a:pt x="3176" y="2158"/>
                </a:lnTo>
                <a:lnTo>
                  <a:pt x="3171" y="2238"/>
                </a:lnTo>
                <a:lnTo>
                  <a:pt x="3166" y="2317"/>
                </a:lnTo>
                <a:lnTo>
                  <a:pt x="3158" y="2395"/>
                </a:lnTo>
                <a:lnTo>
                  <a:pt x="3150" y="2473"/>
                </a:lnTo>
                <a:lnTo>
                  <a:pt x="3140" y="2548"/>
                </a:lnTo>
                <a:lnTo>
                  <a:pt x="3130" y="2622"/>
                </a:lnTo>
                <a:lnTo>
                  <a:pt x="3117" y="2695"/>
                </a:lnTo>
                <a:lnTo>
                  <a:pt x="3104" y="2764"/>
                </a:lnTo>
                <a:lnTo>
                  <a:pt x="3088" y="2831"/>
                </a:lnTo>
                <a:lnTo>
                  <a:pt x="3071" y="2895"/>
                </a:lnTo>
                <a:lnTo>
                  <a:pt x="3051" y="2955"/>
                </a:lnTo>
                <a:lnTo>
                  <a:pt x="3031" y="3013"/>
                </a:lnTo>
                <a:lnTo>
                  <a:pt x="3008" y="3065"/>
                </a:lnTo>
                <a:lnTo>
                  <a:pt x="2982" y="3114"/>
                </a:lnTo>
                <a:lnTo>
                  <a:pt x="2955" y="3158"/>
                </a:lnTo>
                <a:lnTo>
                  <a:pt x="2926" y="3195"/>
                </a:lnTo>
                <a:lnTo>
                  <a:pt x="2913" y="3207"/>
                </a:lnTo>
                <a:lnTo>
                  <a:pt x="2899" y="3213"/>
                </a:lnTo>
                <a:lnTo>
                  <a:pt x="2882" y="3216"/>
                </a:lnTo>
                <a:lnTo>
                  <a:pt x="2881" y="3216"/>
                </a:lnTo>
                <a:lnTo>
                  <a:pt x="2369" y="3203"/>
                </a:lnTo>
                <a:lnTo>
                  <a:pt x="2367" y="3203"/>
                </a:lnTo>
                <a:lnTo>
                  <a:pt x="2363" y="3202"/>
                </a:lnTo>
                <a:lnTo>
                  <a:pt x="2302" y="3248"/>
                </a:lnTo>
                <a:lnTo>
                  <a:pt x="2236" y="3288"/>
                </a:lnTo>
                <a:lnTo>
                  <a:pt x="2169" y="3326"/>
                </a:lnTo>
                <a:lnTo>
                  <a:pt x="2098" y="3360"/>
                </a:lnTo>
                <a:lnTo>
                  <a:pt x="2024" y="3388"/>
                </a:lnTo>
                <a:lnTo>
                  <a:pt x="1950" y="3412"/>
                </a:lnTo>
                <a:lnTo>
                  <a:pt x="1872" y="3431"/>
                </a:lnTo>
                <a:lnTo>
                  <a:pt x="1793" y="3444"/>
                </a:lnTo>
                <a:lnTo>
                  <a:pt x="1712" y="3453"/>
                </a:lnTo>
                <a:lnTo>
                  <a:pt x="1629" y="3456"/>
                </a:lnTo>
                <a:lnTo>
                  <a:pt x="1588" y="3456"/>
                </a:lnTo>
                <a:lnTo>
                  <a:pt x="1499" y="3453"/>
                </a:lnTo>
                <a:lnTo>
                  <a:pt x="1413" y="3443"/>
                </a:lnTo>
                <a:lnTo>
                  <a:pt x="1328" y="3428"/>
                </a:lnTo>
                <a:lnTo>
                  <a:pt x="1246" y="3406"/>
                </a:lnTo>
                <a:lnTo>
                  <a:pt x="1167" y="3379"/>
                </a:lnTo>
                <a:lnTo>
                  <a:pt x="1089" y="3346"/>
                </a:lnTo>
                <a:lnTo>
                  <a:pt x="1015" y="3308"/>
                </a:lnTo>
                <a:lnTo>
                  <a:pt x="944" y="3266"/>
                </a:lnTo>
                <a:lnTo>
                  <a:pt x="875" y="3219"/>
                </a:lnTo>
                <a:lnTo>
                  <a:pt x="811" y="3167"/>
                </a:lnTo>
                <a:lnTo>
                  <a:pt x="811" y="3167"/>
                </a:lnTo>
                <a:lnTo>
                  <a:pt x="325" y="3155"/>
                </a:lnTo>
                <a:lnTo>
                  <a:pt x="309" y="3153"/>
                </a:lnTo>
                <a:lnTo>
                  <a:pt x="294" y="3146"/>
                </a:lnTo>
                <a:lnTo>
                  <a:pt x="282" y="3134"/>
                </a:lnTo>
                <a:lnTo>
                  <a:pt x="253" y="3095"/>
                </a:lnTo>
                <a:lnTo>
                  <a:pt x="227" y="3051"/>
                </a:lnTo>
                <a:lnTo>
                  <a:pt x="203" y="3000"/>
                </a:lnTo>
                <a:lnTo>
                  <a:pt x="182" y="2947"/>
                </a:lnTo>
                <a:lnTo>
                  <a:pt x="163" y="2889"/>
                </a:lnTo>
                <a:lnTo>
                  <a:pt x="147" y="2829"/>
                </a:lnTo>
                <a:lnTo>
                  <a:pt x="132" y="2764"/>
                </a:lnTo>
                <a:lnTo>
                  <a:pt x="118" y="2698"/>
                </a:lnTo>
                <a:lnTo>
                  <a:pt x="107" y="2629"/>
                </a:lnTo>
                <a:lnTo>
                  <a:pt x="97" y="2558"/>
                </a:lnTo>
                <a:lnTo>
                  <a:pt x="89" y="2486"/>
                </a:lnTo>
                <a:lnTo>
                  <a:pt x="82" y="2414"/>
                </a:lnTo>
                <a:lnTo>
                  <a:pt x="75" y="2341"/>
                </a:lnTo>
                <a:lnTo>
                  <a:pt x="71" y="2267"/>
                </a:lnTo>
                <a:lnTo>
                  <a:pt x="67" y="2195"/>
                </a:lnTo>
                <a:lnTo>
                  <a:pt x="65" y="2124"/>
                </a:lnTo>
                <a:lnTo>
                  <a:pt x="63" y="2054"/>
                </a:lnTo>
                <a:lnTo>
                  <a:pt x="61" y="1985"/>
                </a:lnTo>
                <a:lnTo>
                  <a:pt x="60" y="1919"/>
                </a:lnTo>
                <a:lnTo>
                  <a:pt x="39" y="1881"/>
                </a:lnTo>
                <a:lnTo>
                  <a:pt x="22" y="1841"/>
                </a:lnTo>
                <a:lnTo>
                  <a:pt x="10" y="1799"/>
                </a:lnTo>
                <a:lnTo>
                  <a:pt x="2" y="1755"/>
                </a:lnTo>
                <a:lnTo>
                  <a:pt x="0" y="1710"/>
                </a:lnTo>
                <a:lnTo>
                  <a:pt x="3" y="1663"/>
                </a:lnTo>
                <a:lnTo>
                  <a:pt x="12" y="1617"/>
                </a:lnTo>
                <a:lnTo>
                  <a:pt x="25" y="1573"/>
                </a:lnTo>
                <a:lnTo>
                  <a:pt x="44" y="1530"/>
                </a:lnTo>
                <a:lnTo>
                  <a:pt x="68" y="1490"/>
                </a:lnTo>
                <a:lnTo>
                  <a:pt x="71" y="1427"/>
                </a:lnTo>
                <a:lnTo>
                  <a:pt x="86" y="1327"/>
                </a:lnTo>
                <a:lnTo>
                  <a:pt x="107" y="1228"/>
                </a:lnTo>
                <a:lnTo>
                  <a:pt x="133" y="1132"/>
                </a:lnTo>
                <a:lnTo>
                  <a:pt x="164" y="1039"/>
                </a:lnTo>
                <a:lnTo>
                  <a:pt x="201" y="948"/>
                </a:lnTo>
                <a:lnTo>
                  <a:pt x="243" y="860"/>
                </a:lnTo>
                <a:lnTo>
                  <a:pt x="290" y="776"/>
                </a:lnTo>
                <a:lnTo>
                  <a:pt x="341" y="695"/>
                </a:lnTo>
                <a:lnTo>
                  <a:pt x="397" y="618"/>
                </a:lnTo>
                <a:lnTo>
                  <a:pt x="457" y="544"/>
                </a:lnTo>
                <a:lnTo>
                  <a:pt x="520" y="473"/>
                </a:lnTo>
                <a:lnTo>
                  <a:pt x="587" y="407"/>
                </a:lnTo>
                <a:lnTo>
                  <a:pt x="659" y="347"/>
                </a:lnTo>
                <a:lnTo>
                  <a:pt x="733" y="289"/>
                </a:lnTo>
                <a:lnTo>
                  <a:pt x="812" y="237"/>
                </a:lnTo>
                <a:lnTo>
                  <a:pt x="892" y="189"/>
                </a:lnTo>
                <a:lnTo>
                  <a:pt x="976" y="146"/>
                </a:lnTo>
                <a:lnTo>
                  <a:pt x="1062" y="108"/>
                </a:lnTo>
                <a:lnTo>
                  <a:pt x="1151" y="76"/>
                </a:lnTo>
                <a:lnTo>
                  <a:pt x="1242" y="49"/>
                </a:lnTo>
                <a:lnTo>
                  <a:pt x="1334" y="28"/>
                </a:lnTo>
                <a:lnTo>
                  <a:pt x="1429" y="13"/>
                </a:lnTo>
                <a:lnTo>
                  <a:pt x="1526" y="3"/>
                </a:lnTo>
                <a:lnTo>
                  <a:pt x="162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5847D398-ACD6-449B-A86B-92EF5DF03DB3}"/>
              </a:ext>
            </a:extLst>
          </p:cNvPr>
          <p:cNvSpPr/>
          <p:nvPr/>
        </p:nvSpPr>
        <p:spPr>
          <a:xfrm flipH="1">
            <a:off x="4720824" y="1119902"/>
            <a:ext cx="1371600" cy="700638"/>
          </a:xfrm>
          <a:prstGeom prst="wedgeRoundRectCallout">
            <a:avLst>
              <a:gd name="adj1" fmla="val -20833"/>
              <a:gd name="adj2" fmla="val 76095"/>
              <a:gd name="adj3" fmla="val 16667"/>
            </a:avLst>
          </a:prstGeom>
          <a:noFill/>
          <a:ln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999D363-5474-4496-8EA5-A50C10C72999}"/>
              </a:ext>
            </a:extLst>
          </p:cNvPr>
          <p:cNvGrpSpPr/>
          <p:nvPr/>
        </p:nvGrpSpPr>
        <p:grpSpPr>
          <a:xfrm>
            <a:off x="4864271" y="1361563"/>
            <a:ext cx="1085168" cy="203791"/>
            <a:chOff x="6028226" y="1977350"/>
            <a:chExt cx="1446891" cy="271721"/>
          </a:xfrm>
          <a:solidFill>
            <a:schemeClr val="bg1"/>
          </a:solidFill>
        </p:grpSpPr>
        <p:sp>
          <p:nvSpPr>
            <p:cNvPr id="3" name="Star: 5 Points 2">
              <a:extLst>
                <a:ext uri="{FF2B5EF4-FFF2-40B4-BE49-F238E27FC236}">
                  <a16:creationId xmlns:a16="http://schemas.microsoft.com/office/drawing/2014/main" id="{9B630C46-A9CE-400E-B6A2-DC112E2BAC27}"/>
                </a:ext>
              </a:extLst>
            </p:cNvPr>
            <p:cNvSpPr/>
            <p:nvPr/>
          </p:nvSpPr>
          <p:spPr>
            <a:xfrm>
              <a:off x="6028226" y="1977350"/>
              <a:ext cx="271721" cy="271721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3" name="Star: 5 Points 72">
              <a:extLst>
                <a:ext uri="{FF2B5EF4-FFF2-40B4-BE49-F238E27FC236}">
                  <a16:creationId xmlns:a16="http://schemas.microsoft.com/office/drawing/2014/main" id="{D5E35F99-661F-4880-9BBE-5C01E14B26F5}"/>
                </a:ext>
              </a:extLst>
            </p:cNvPr>
            <p:cNvSpPr/>
            <p:nvPr/>
          </p:nvSpPr>
          <p:spPr>
            <a:xfrm>
              <a:off x="6322019" y="1977350"/>
              <a:ext cx="271721" cy="271721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4" name="Star: 5 Points 73">
              <a:extLst>
                <a:ext uri="{FF2B5EF4-FFF2-40B4-BE49-F238E27FC236}">
                  <a16:creationId xmlns:a16="http://schemas.microsoft.com/office/drawing/2014/main" id="{B6FECAF3-B5F0-4C32-B836-F00D0395A24D}"/>
                </a:ext>
              </a:extLst>
            </p:cNvPr>
            <p:cNvSpPr/>
            <p:nvPr/>
          </p:nvSpPr>
          <p:spPr>
            <a:xfrm>
              <a:off x="6615812" y="1977350"/>
              <a:ext cx="271721" cy="271721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5" name="Star: 5 Points 74">
              <a:extLst>
                <a:ext uri="{FF2B5EF4-FFF2-40B4-BE49-F238E27FC236}">
                  <a16:creationId xmlns:a16="http://schemas.microsoft.com/office/drawing/2014/main" id="{F935439C-D967-48C9-94EB-2EF46899A1BB}"/>
                </a:ext>
              </a:extLst>
            </p:cNvPr>
            <p:cNvSpPr/>
            <p:nvPr/>
          </p:nvSpPr>
          <p:spPr>
            <a:xfrm>
              <a:off x="6909604" y="1977350"/>
              <a:ext cx="271721" cy="271721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76" name="Star: 5 Points 75">
              <a:extLst>
                <a:ext uri="{FF2B5EF4-FFF2-40B4-BE49-F238E27FC236}">
                  <a16:creationId xmlns:a16="http://schemas.microsoft.com/office/drawing/2014/main" id="{100D5FD8-5BD5-4C38-9896-9C98A8735440}"/>
                </a:ext>
              </a:extLst>
            </p:cNvPr>
            <p:cNvSpPr/>
            <p:nvPr/>
          </p:nvSpPr>
          <p:spPr>
            <a:xfrm>
              <a:off x="7203396" y="1977350"/>
              <a:ext cx="271721" cy="271721"/>
            </a:xfrm>
            <a:prstGeom prst="star5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ED2741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pic>
        <p:nvPicPr>
          <p:cNvPr id="49" name="s27ee55259db485e9df05a916ea74493">
            <a:extLst>
              <a:ext uri="{FF2B5EF4-FFF2-40B4-BE49-F238E27FC236}">
                <a16:creationId xmlns:a16="http://schemas.microsoft.com/office/drawing/2014/main" id="{B533139A-A65B-48FE-BA68-2127DF8D43B8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1128"/>
          <a:stretch/>
        </p:blipFill>
        <p:spPr>
          <a:xfrm>
            <a:off x="3543791" y="3891919"/>
            <a:ext cx="2056419" cy="946696"/>
          </a:xfrm>
          <a:prstGeom prst="rect">
            <a:avLst/>
          </a:prstGeom>
        </p:spPr>
      </p:pic>
      <p:sp>
        <p:nvSpPr>
          <p:cNvPr id="82" name="Speech Bubble: Rectangle with Corners Rounded 81">
            <a:extLst>
              <a:ext uri="{FF2B5EF4-FFF2-40B4-BE49-F238E27FC236}">
                <a16:creationId xmlns:a16="http://schemas.microsoft.com/office/drawing/2014/main" id="{25C8D6A7-5065-4C22-98CE-7E28F048CAAD}"/>
              </a:ext>
            </a:extLst>
          </p:cNvPr>
          <p:cNvSpPr/>
          <p:nvPr/>
        </p:nvSpPr>
        <p:spPr>
          <a:xfrm>
            <a:off x="3148710" y="1119902"/>
            <a:ext cx="1371600" cy="700638"/>
          </a:xfrm>
          <a:prstGeom prst="wedgeRoundRectCallout">
            <a:avLst>
              <a:gd name="adj1" fmla="val -20833"/>
              <a:gd name="adj2" fmla="val 7609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5F7017-F6EC-4FE8-93BA-31C2F66EF525}"/>
              </a:ext>
            </a:extLst>
          </p:cNvPr>
          <p:cNvSpPr txBox="1"/>
          <p:nvPr/>
        </p:nvSpPr>
        <p:spPr>
          <a:xfrm>
            <a:off x="3189551" y="1163227"/>
            <a:ext cx="13882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Based on your needs, here’s what we recommend…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E070B3D5-FAEA-447D-873E-DE5A217BA774}"/>
              </a:ext>
            </a:extLst>
          </p:cNvPr>
          <p:cNvSpPr/>
          <p:nvPr/>
        </p:nvSpPr>
        <p:spPr>
          <a:xfrm>
            <a:off x="4179855" y="3831736"/>
            <a:ext cx="168026" cy="168026"/>
          </a:xfrm>
          <a:prstGeom prst="ellipse">
            <a:avLst/>
          </a:prstGeom>
          <a:solidFill>
            <a:schemeClr val="accent1"/>
          </a:solidFill>
          <a:ln w="76200">
            <a:solidFill>
              <a:srgbClr val="1F1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83DD869D-5D66-4BD5-B922-CD13DEF41BE2}"/>
              </a:ext>
            </a:extLst>
          </p:cNvPr>
          <p:cNvSpPr/>
          <p:nvPr/>
        </p:nvSpPr>
        <p:spPr>
          <a:xfrm>
            <a:off x="4783195" y="3823105"/>
            <a:ext cx="168026" cy="168026"/>
          </a:xfrm>
          <a:prstGeom prst="ellipse">
            <a:avLst/>
          </a:prstGeom>
          <a:solidFill>
            <a:schemeClr val="accent2"/>
          </a:solidFill>
          <a:ln w="76200">
            <a:solidFill>
              <a:srgbClr val="1F1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9DE8804-5835-4ED7-AC3C-E7C75AA7296A}"/>
              </a:ext>
            </a:extLst>
          </p:cNvPr>
          <p:cNvGrpSpPr/>
          <p:nvPr/>
        </p:nvGrpSpPr>
        <p:grpSpPr>
          <a:xfrm>
            <a:off x="4065754" y="2457864"/>
            <a:ext cx="975914" cy="293960"/>
            <a:chOff x="5421004" y="3277151"/>
            <a:chExt cx="1301219" cy="391947"/>
          </a:xfrm>
          <a:solidFill>
            <a:srgbClr val="1F1C49"/>
          </a:solidFill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733FA0BB-2F5A-4D82-BE5E-5BB494436217}"/>
                </a:ext>
              </a:extLst>
            </p:cNvPr>
            <p:cNvSpPr/>
            <p:nvPr/>
          </p:nvSpPr>
          <p:spPr>
            <a:xfrm>
              <a:off x="5421004" y="3277151"/>
              <a:ext cx="459331" cy="39194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3EDA37AC-0827-47CA-A4DC-4D6381EEEF35}"/>
                </a:ext>
              </a:extLst>
            </p:cNvPr>
            <p:cNvSpPr/>
            <p:nvPr/>
          </p:nvSpPr>
          <p:spPr>
            <a:xfrm>
              <a:off x="6262892" y="3277151"/>
              <a:ext cx="459331" cy="39194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BF501F48-B512-44B0-8828-3A42E21ACB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80494" y="3440083"/>
              <a:ext cx="1005840" cy="10642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5A5F8F2-6DD0-44E0-A9D2-1FBE7BCA4B6E}"/>
              </a:ext>
            </a:extLst>
          </p:cNvPr>
          <p:cNvGrpSpPr/>
          <p:nvPr/>
        </p:nvGrpSpPr>
        <p:grpSpPr>
          <a:xfrm>
            <a:off x="-231458" y="2244417"/>
            <a:ext cx="2543649" cy="390232"/>
            <a:chOff x="-308610" y="2992555"/>
            <a:chExt cx="3391532" cy="520309"/>
          </a:xfrm>
          <a:solidFill>
            <a:schemeClr val="accent1"/>
          </a:solidFill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DE987C8B-0A0F-402D-9F44-9E85FEF34272}"/>
                </a:ext>
              </a:extLst>
            </p:cNvPr>
            <p:cNvCxnSpPr>
              <a:cxnSpLocks/>
            </p:cNvCxnSpPr>
            <p:nvPr/>
          </p:nvCxnSpPr>
          <p:spPr>
            <a:xfrm>
              <a:off x="-308610" y="3257205"/>
              <a:ext cx="3200400" cy="0"/>
            </a:xfrm>
            <a:prstGeom prst="line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7" name="Rounded Rectangle 207">
              <a:extLst>
                <a:ext uri="{FF2B5EF4-FFF2-40B4-BE49-F238E27FC236}">
                  <a16:creationId xmlns:a16="http://schemas.microsoft.com/office/drawing/2014/main" id="{B1D36E32-C78D-47C1-A6C1-FE208884A9E6}"/>
                </a:ext>
              </a:extLst>
            </p:cNvPr>
            <p:cNvSpPr/>
            <p:nvPr/>
          </p:nvSpPr>
          <p:spPr>
            <a:xfrm>
              <a:off x="542924" y="3117812"/>
              <a:ext cx="1737360" cy="267296"/>
            </a:xfrm>
            <a:prstGeom prst="roundRect">
              <a:avLst>
                <a:gd name="adj" fmla="val 50000"/>
              </a:avLst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T</a:t>
              </a:r>
            </a:p>
          </p:txBody>
        </p:sp>
        <p:sp>
          <p:nvSpPr>
            <p:cNvPr id="83" name="Arc 82">
              <a:extLst>
                <a:ext uri="{FF2B5EF4-FFF2-40B4-BE49-F238E27FC236}">
                  <a16:creationId xmlns:a16="http://schemas.microsoft.com/office/drawing/2014/main" id="{1D1653A1-F53F-48BB-8E07-C74D2A2DD933}"/>
                </a:ext>
              </a:extLst>
            </p:cNvPr>
            <p:cNvSpPr/>
            <p:nvPr/>
          </p:nvSpPr>
          <p:spPr>
            <a:xfrm rot="304994" flipH="1">
              <a:off x="2892389" y="2992555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9B80D83-59AF-47A7-92C0-C9FA5141F593}"/>
              </a:ext>
            </a:extLst>
          </p:cNvPr>
          <p:cNvGrpSpPr/>
          <p:nvPr/>
        </p:nvGrpSpPr>
        <p:grpSpPr>
          <a:xfrm>
            <a:off x="6765489" y="2747852"/>
            <a:ext cx="3570497" cy="390232"/>
            <a:chOff x="9020652" y="3663802"/>
            <a:chExt cx="4760662" cy="520309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A961A1D-35F1-48A5-A2C9-97B8E813D888}"/>
                </a:ext>
              </a:extLst>
            </p:cNvPr>
            <p:cNvCxnSpPr>
              <a:cxnSpLocks/>
            </p:cNvCxnSpPr>
            <p:nvPr/>
          </p:nvCxnSpPr>
          <p:spPr>
            <a:xfrm>
              <a:off x="9184670" y="4007273"/>
              <a:ext cx="4596644" cy="0"/>
            </a:xfrm>
            <a:prstGeom prst="lin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5" name="Arc 84">
              <a:extLst>
                <a:ext uri="{FF2B5EF4-FFF2-40B4-BE49-F238E27FC236}">
                  <a16:creationId xmlns:a16="http://schemas.microsoft.com/office/drawing/2014/main" id="{CD883CDD-D58B-4C32-A6B7-CB62715ED3E5}"/>
                </a:ext>
              </a:extLst>
            </p:cNvPr>
            <p:cNvSpPr/>
            <p:nvPr/>
          </p:nvSpPr>
          <p:spPr>
            <a:xfrm rot="827077">
              <a:off x="9020652" y="3663802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5093195B-D652-4312-B7E1-146710B9A782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>
            <a:extLst>
              <a:ext uri="{FF2B5EF4-FFF2-40B4-BE49-F238E27FC236}">
                <a16:creationId xmlns:a16="http://schemas.microsoft.com/office/drawing/2014/main" id="{92CEE19B-5BBD-4AF1-A661-259F53AB6CF2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7283864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B0EC024-576D-4298-9CC8-9818A9461AA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8323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B0EC024-576D-4298-9CC8-9818A9461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73EF9A58-5A28-43D6-B14A-0C37FE783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49CC150-E83A-4CBB-8A54-3B07870CC613}"/>
              </a:ext>
            </a:extLst>
          </p:cNvPr>
          <p:cNvSpPr/>
          <p:nvPr/>
        </p:nvSpPr>
        <p:spPr>
          <a:xfrm>
            <a:off x="3301908" y="2109169"/>
            <a:ext cx="1958003" cy="195800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43D7281-EE3E-40B9-9755-8AE8927644DA}"/>
              </a:ext>
            </a:extLst>
          </p:cNvPr>
          <p:cNvSpPr/>
          <p:nvPr/>
        </p:nvSpPr>
        <p:spPr>
          <a:xfrm>
            <a:off x="3498434" y="2289745"/>
            <a:ext cx="246123" cy="233549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F497B9FA-8AD2-4A42-ACCC-0BDD886E8A56}"/>
              </a:ext>
            </a:extLst>
          </p:cNvPr>
          <p:cNvSpPr/>
          <p:nvPr/>
        </p:nvSpPr>
        <p:spPr>
          <a:xfrm>
            <a:off x="4958495" y="2500966"/>
            <a:ext cx="246123" cy="233549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0" name="Oval 139" hidden="1">
            <a:extLst>
              <a:ext uri="{FF2B5EF4-FFF2-40B4-BE49-F238E27FC236}">
                <a16:creationId xmlns:a16="http://schemas.microsoft.com/office/drawing/2014/main" id="{F5496211-1118-460F-816F-87775EF48E55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E07C7C-9292-4D07-90CC-E18043A60BA7}"/>
              </a:ext>
            </a:extLst>
          </p:cNvPr>
          <p:cNvGrpSpPr/>
          <p:nvPr/>
        </p:nvGrpSpPr>
        <p:grpSpPr>
          <a:xfrm>
            <a:off x="-1131570" y="2800593"/>
            <a:ext cx="4451390" cy="390232"/>
            <a:chOff x="-1508760" y="3734123"/>
            <a:chExt cx="5935186" cy="520309"/>
          </a:xfrm>
          <a:solidFill>
            <a:schemeClr val="accent4"/>
          </a:solidFill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918A2E5B-CF14-407E-8204-07B96C8776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-1508760" y="3994279"/>
              <a:ext cx="5751049" cy="15902"/>
            </a:xfrm>
            <a:prstGeom prst="line">
              <a:avLst/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9" name="Rounded Rectangle 207">
              <a:extLst>
                <a:ext uri="{FF2B5EF4-FFF2-40B4-BE49-F238E27FC236}">
                  <a16:creationId xmlns:a16="http://schemas.microsoft.com/office/drawing/2014/main" id="{23D9CA33-BDA3-4183-944D-40C4CA530D22}"/>
                </a:ext>
              </a:extLst>
            </p:cNvPr>
            <p:cNvSpPr/>
            <p:nvPr/>
          </p:nvSpPr>
          <p:spPr>
            <a:xfrm>
              <a:off x="485331" y="3860630"/>
              <a:ext cx="1737360" cy="267296"/>
            </a:xfrm>
            <a:prstGeom prst="roundRect">
              <a:avLst>
                <a:gd name="adj" fmla="val 50000"/>
              </a:avLst>
            </a:prstGeom>
            <a:grp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EASURE</a:t>
              </a:r>
            </a:p>
          </p:txBody>
        </p:sp>
        <p:sp>
          <p:nvSpPr>
            <p:cNvPr id="54" name="Arc 53">
              <a:extLst>
                <a:ext uri="{FF2B5EF4-FFF2-40B4-BE49-F238E27FC236}">
                  <a16:creationId xmlns:a16="http://schemas.microsoft.com/office/drawing/2014/main" id="{4A6D8376-D04A-47C4-8986-CBB9F1EC6D29}"/>
                </a:ext>
              </a:extLst>
            </p:cNvPr>
            <p:cNvSpPr/>
            <p:nvPr/>
          </p:nvSpPr>
          <p:spPr>
            <a:xfrm rot="304994" flipH="1">
              <a:off x="4235893" y="3734123"/>
              <a:ext cx="190533" cy="520309"/>
            </a:xfrm>
            <a:prstGeom prst="arc">
              <a:avLst>
                <a:gd name="adj1" fmla="val 18274575"/>
                <a:gd name="adj2" fmla="val 3716135"/>
              </a:avLst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8DF0C9D-EEF6-42CE-8D57-3B61A509F696}"/>
              </a:ext>
            </a:extLst>
          </p:cNvPr>
          <p:cNvGrpSpPr/>
          <p:nvPr/>
        </p:nvGrpSpPr>
        <p:grpSpPr>
          <a:xfrm>
            <a:off x="2823054" y="1316800"/>
            <a:ext cx="1120043" cy="844467"/>
            <a:chOff x="3764071" y="1755733"/>
            <a:chExt cx="1493391" cy="1125956"/>
          </a:xfrm>
        </p:grpSpPr>
        <p:sp>
          <p:nvSpPr>
            <p:cNvPr id="56" name="Thought Bubble: Cloud 55">
              <a:extLst>
                <a:ext uri="{FF2B5EF4-FFF2-40B4-BE49-F238E27FC236}">
                  <a16:creationId xmlns:a16="http://schemas.microsoft.com/office/drawing/2014/main" id="{8785E446-312E-42A9-BA0D-458CE3543862}"/>
                </a:ext>
              </a:extLst>
            </p:cNvPr>
            <p:cNvSpPr/>
            <p:nvPr/>
          </p:nvSpPr>
          <p:spPr>
            <a:xfrm>
              <a:off x="3764071" y="1755733"/>
              <a:ext cx="1493391" cy="1125956"/>
            </a:xfrm>
            <a:prstGeom prst="cloudCallout">
              <a:avLst>
                <a:gd name="adj1" fmla="val 24080"/>
                <a:gd name="adj2" fmla="val 91172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id="{984B13AC-571A-4A68-A34E-6A65D84E7E3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046094" y="2057032"/>
              <a:ext cx="794073" cy="479649"/>
            </a:xfrm>
            <a:custGeom>
              <a:avLst/>
              <a:gdLst>
                <a:gd name="T0" fmla="*/ 2852 w 4799"/>
                <a:gd name="T1" fmla="*/ 2333 h 2892"/>
                <a:gd name="T2" fmla="*/ 2852 w 4799"/>
                <a:gd name="T3" fmla="*/ 2333 h 2892"/>
                <a:gd name="T4" fmla="*/ 3325 w 4799"/>
                <a:gd name="T5" fmla="*/ 1015 h 2892"/>
                <a:gd name="T6" fmla="*/ 3216 w 4799"/>
                <a:gd name="T7" fmla="*/ 715 h 2892"/>
                <a:gd name="T8" fmla="*/ 2919 w 4799"/>
                <a:gd name="T9" fmla="*/ 819 h 2892"/>
                <a:gd name="T10" fmla="*/ 2040 w 4799"/>
                <a:gd name="T11" fmla="*/ 2333 h 2892"/>
                <a:gd name="T12" fmla="*/ 133 w 4799"/>
                <a:gd name="T13" fmla="*/ 2333 h 2892"/>
                <a:gd name="T14" fmla="*/ 732 w 4799"/>
                <a:gd name="T15" fmla="*/ 864 h 2892"/>
                <a:gd name="T16" fmla="*/ 944 w 4799"/>
                <a:gd name="T17" fmla="*/ 1066 h 2892"/>
                <a:gd name="T18" fmla="*/ 990 w 4799"/>
                <a:gd name="T19" fmla="*/ 1085 h 2892"/>
                <a:gd name="T20" fmla="*/ 1038 w 4799"/>
                <a:gd name="T21" fmla="*/ 1064 h 2892"/>
                <a:gd name="T22" fmla="*/ 1036 w 4799"/>
                <a:gd name="T23" fmla="*/ 970 h 2892"/>
                <a:gd name="T24" fmla="*/ 824 w 4799"/>
                <a:gd name="T25" fmla="*/ 769 h 2892"/>
                <a:gd name="T26" fmla="*/ 2338 w 4799"/>
                <a:gd name="T27" fmla="*/ 133 h 2892"/>
                <a:gd name="T28" fmla="*/ 2338 w 4799"/>
                <a:gd name="T29" fmla="*/ 455 h 2892"/>
                <a:gd name="T30" fmla="*/ 2404 w 4799"/>
                <a:gd name="T31" fmla="*/ 521 h 2892"/>
                <a:gd name="T32" fmla="*/ 2470 w 4799"/>
                <a:gd name="T33" fmla="*/ 455 h 2892"/>
                <a:gd name="T34" fmla="*/ 2470 w 4799"/>
                <a:gd name="T35" fmla="*/ 133 h 2892"/>
                <a:gd name="T36" fmla="*/ 3966 w 4799"/>
                <a:gd name="T37" fmla="*/ 761 h 2892"/>
                <a:gd name="T38" fmla="*/ 3728 w 4799"/>
                <a:gd name="T39" fmla="*/ 999 h 2892"/>
                <a:gd name="T40" fmla="*/ 3728 w 4799"/>
                <a:gd name="T41" fmla="*/ 1092 h 2892"/>
                <a:gd name="T42" fmla="*/ 3775 w 4799"/>
                <a:gd name="T43" fmla="*/ 1112 h 2892"/>
                <a:gd name="T44" fmla="*/ 3822 w 4799"/>
                <a:gd name="T45" fmla="*/ 1092 h 2892"/>
                <a:gd name="T46" fmla="*/ 4059 w 4799"/>
                <a:gd name="T47" fmla="*/ 855 h 2892"/>
                <a:gd name="T48" fmla="*/ 4666 w 4799"/>
                <a:gd name="T49" fmla="*/ 2333 h 2892"/>
                <a:gd name="T50" fmla="*/ 2852 w 4799"/>
                <a:gd name="T51" fmla="*/ 2333 h 2892"/>
                <a:gd name="T52" fmla="*/ 2852 w 4799"/>
                <a:gd name="T53" fmla="*/ 2333 h 2892"/>
                <a:gd name="T54" fmla="*/ 2611 w 4799"/>
                <a:gd name="T55" fmla="*/ 2613 h 2892"/>
                <a:gd name="T56" fmla="*/ 2611 w 4799"/>
                <a:gd name="T57" fmla="*/ 2613 h 2892"/>
                <a:gd name="T58" fmla="*/ 2468 w 4799"/>
                <a:gd name="T59" fmla="*/ 2744 h 2892"/>
                <a:gd name="T60" fmla="*/ 2276 w 4799"/>
                <a:gd name="T61" fmla="*/ 2736 h 2892"/>
                <a:gd name="T62" fmla="*/ 2145 w 4799"/>
                <a:gd name="T63" fmla="*/ 2594 h 2892"/>
                <a:gd name="T64" fmla="*/ 2151 w 4799"/>
                <a:gd name="T65" fmla="*/ 2406 h 2892"/>
                <a:gd name="T66" fmla="*/ 3036 w 4799"/>
                <a:gd name="T67" fmla="*/ 880 h 2892"/>
                <a:gd name="T68" fmla="*/ 3121 w 4799"/>
                <a:gd name="T69" fmla="*/ 827 h 2892"/>
                <a:gd name="T70" fmla="*/ 3160 w 4799"/>
                <a:gd name="T71" fmla="*/ 835 h 2892"/>
                <a:gd name="T72" fmla="*/ 3208 w 4799"/>
                <a:gd name="T73" fmla="*/ 888 h 2892"/>
                <a:gd name="T74" fmla="*/ 3203 w 4799"/>
                <a:gd name="T75" fmla="*/ 964 h 2892"/>
                <a:gd name="T76" fmla="*/ 2611 w 4799"/>
                <a:gd name="T77" fmla="*/ 2613 h 2892"/>
                <a:gd name="T78" fmla="*/ 2611 w 4799"/>
                <a:gd name="T79" fmla="*/ 2613 h 2892"/>
                <a:gd name="T80" fmla="*/ 2399 w 4799"/>
                <a:gd name="T81" fmla="*/ 0 h 2892"/>
                <a:gd name="T82" fmla="*/ 2399 w 4799"/>
                <a:gd name="T83" fmla="*/ 0 h 2892"/>
                <a:gd name="T84" fmla="*/ 0 w 4799"/>
                <a:gd name="T85" fmla="*/ 2399 h 2892"/>
                <a:gd name="T86" fmla="*/ 66 w 4799"/>
                <a:gd name="T87" fmla="*/ 2465 h 2892"/>
                <a:gd name="T88" fmla="*/ 2001 w 4799"/>
                <a:gd name="T89" fmla="*/ 2465 h 2892"/>
                <a:gd name="T90" fmla="*/ 2021 w 4799"/>
                <a:gd name="T91" fmla="*/ 2639 h 2892"/>
                <a:gd name="T92" fmla="*/ 2220 w 4799"/>
                <a:gd name="T93" fmla="*/ 2856 h 2892"/>
                <a:gd name="T94" fmla="*/ 2381 w 4799"/>
                <a:gd name="T95" fmla="*/ 2892 h 2892"/>
                <a:gd name="T96" fmla="*/ 2733 w 4799"/>
                <a:gd name="T97" fmla="*/ 2664 h 2892"/>
                <a:gd name="T98" fmla="*/ 2804 w 4799"/>
                <a:gd name="T99" fmla="*/ 2465 h 2892"/>
                <a:gd name="T100" fmla="*/ 4733 w 4799"/>
                <a:gd name="T101" fmla="*/ 2465 h 2892"/>
                <a:gd name="T102" fmla="*/ 4799 w 4799"/>
                <a:gd name="T103" fmla="*/ 2399 h 2892"/>
                <a:gd name="T104" fmla="*/ 2399 w 4799"/>
                <a:gd name="T105" fmla="*/ 0 h 2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799" h="2892">
                  <a:moveTo>
                    <a:pt x="2852" y="2333"/>
                  </a:moveTo>
                  <a:lnTo>
                    <a:pt x="2852" y="2333"/>
                  </a:lnTo>
                  <a:lnTo>
                    <a:pt x="3325" y="1015"/>
                  </a:lnTo>
                  <a:cubicBezTo>
                    <a:pt x="3377" y="902"/>
                    <a:pt x="3328" y="768"/>
                    <a:pt x="3216" y="715"/>
                  </a:cubicBezTo>
                  <a:cubicBezTo>
                    <a:pt x="3103" y="663"/>
                    <a:pt x="2969" y="712"/>
                    <a:pt x="2919" y="819"/>
                  </a:cubicBezTo>
                  <a:lnTo>
                    <a:pt x="2040" y="2333"/>
                  </a:lnTo>
                  <a:lnTo>
                    <a:pt x="133" y="2333"/>
                  </a:lnTo>
                  <a:cubicBezTo>
                    <a:pt x="149" y="1767"/>
                    <a:pt x="374" y="1253"/>
                    <a:pt x="732" y="864"/>
                  </a:cubicBezTo>
                  <a:lnTo>
                    <a:pt x="944" y="1066"/>
                  </a:lnTo>
                  <a:cubicBezTo>
                    <a:pt x="957" y="1079"/>
                    <a:pt x="974" y="1085"/>
                    <a:pt x="990" y="1085"/>
                  </a:cubicBezTo>
                  <a:cubicBezTo>
                    <a:pt x="1007" y="1085"/>
                    <a:pt x="1025" y="1078"/>
                    <a:pt x="1038" y="1064"/>
                  </a:cubicBezTo>
                  <a:cubicBezTo>
                    <a:pt x="1063" y="1038"/>
                    <a:pt x="1062" y="996"/>
                    <a:pt x="1036" y="970"/>
                  </a:cubicBezTo>
                  <a:lnTo>
                    <a:pt x="824" y="769"/>
                  </a:lnTo>
                  <a:cubicBezTo>
                    <a:pt x="1219" y="388"/>
                    <a:pt x="1751" y="149"/>
                    <a:pt x="2338" y="133"/>
                  </a:cubicBezTo>
                  <a:lnTo>
                    <a:pt x="2338" y="455"/>
                  </a:lnTo>
                  <a:cubicBezTo>
                    <a:pt x="2338" y="491"/>
                    <a:pt x="2367" y="521"/>
                    <a:pt x="2404" y="521"/>
                  </a:cubicBezTo>
                  <a:cubicBezTo>
                    <a:pt x="2440" y="521"/>
                    <a:pt x="2470" y="491"/>
                    <a:pt x="2470" y="455"/>
                  </a:cubicBezTo>
                  <a:lnTo>
                    <a:pt x="2470" y="133"/>
                  </a:lnTo>
                  <a:cubicBezTo>
                    <a:pt x="3049" y="151"/>
                    <a:pt x="3574" y="387"/>
                    <a:pt x="3966" y="761"/>
                  </a:cubicBezTo>
                  <a:lnTo>
                    <a:pt x="3728" y="999"/>
                  </a:lnTo>
                  <a:cubicBezTo>
                    <a:pt x="3703" y="1024"/>
                    <a:pt x="3703" y="1066"/>
                    <a:pt x="3728" y="1092"/>
                  </a:cubicBezTo>
                  <a:cubicBezTo>
                    <a:pt x="3741" y="1105"/>
                    <a:pt x="3758" y="1112"/>
                    <a:pt x="3775" y="1112"/>
                  </a:cubicBezTo>
                  <a:cubicBezTo>
                    <a:pt x="3792" y="1112"/>
                    <a:pt x="3809" y="1105"/>
                    <a:pt x="3822" y="1092"/>
                  </a:cubicBezTo>
                  <a:lnTo>
                    <a:pt x="4059" y="855"/>
                  </a:lnTo>
                  <a:cubicBezTo>
                    <a:pt x="4422" y="1245"/>
                    <a:pt x="4650" y="1763"/>
                    <a:pt x="4666" y="2333"/>
                  </a:cubicBezTo>
                  <a:lnTo>
                    <a:pt x="2852" y="2333"/>
                  </a:lnTo>
                  <a:lnTo>
                    <a:pt x="2852" y="2333"/>
                  </a:lnTo>
                  <a:close/>
                  <a:moveTo>
                    <a:pt x="2611" y="2613"/>
                  </a:moveTo>
                  <a:lnTo>
                    <a:pt x="2611" y="2613"/>
                  </a:lnTo>
                  <a:cubicBezTo>
                    <a:pt x="2582" y="2675"/>
                    <a:pt x="2532" y="2721"/>
                    <a:pt x="2468" y="2744"/>
                  </a:cubicBezTo>
                  <a:cubicBezTo>
                    <a:pt x="2405" y="2767"/>
                    <a:pt x="2337" y="2764"/>
                    <a:pt x="2276" y="2736"/>
                  </a:cubicBezTo>
                  <a:cubicBezTo>
                    <a:pt x="2214" y="2707"/>
                    <a:pt x="2168" y="2657"/>
                    <a:pt x="2145" y="2594"/>
                  </a:cubicBezTo>
                  <a:cubicBezTo>
                    <a:pt x="2122" y="2530"/>
                    <a:pt x="2125" y="2462"/>
                    <a:pt x="2151" y="2406"/>
                  </a:cubicBezTo>
                  <a:lnTo>
                    <a:pt x="3036" y="880"/>
                  </a:lnTo>
                  <a:cubicBezTo>
                    <a:pt x="3052" y="847"/>
                    <a:pt x="3086" y="827"/>
                    <a:pt x="3121" y="827"/>
                  </a:cubicBezTo>
                  <a:cubicBezTo>
                    <a:pt x="3134" y="827"/>
                    <a:pt x="3147" y="830"/>
                    <a:pt x="3160" y="835"/>
                  </a:cubicBezTo>
                  <a:cubicBezTo>
                    <a:pt x="3182" y="846"/>
                    <a:pt x="3199" y="865"/>
                    <a:pt x="3208" y="888"/>
                  </a:cubicBezTo>
                  <a:cubicBezTo>
                    <a:pt x="3216" y="911"/>
                    <a:pt x="3215" y="936"/>
                    <a:pt x="3203" y="964"/>
                  </a:cubicBezTo>
                  <a:lnTo>
                    <a:pt x="2611" y="2613"/>
                  </a:lnTo>
                  <a:lnTo>
                    <a:pt x="2611" y="2613"/>
                  </a:lnTo>
                  <a:close/>
                  <a:moveTo>
                    <a:pt x="2399" y="0"/>
                  </a:moveTo>
                  <a:lnTo>
                    <a:pt x="2399" y="0"/>
                  </a:lnTo>
                  <a:cubicBezTo>
                    <a:pt x="1076" y="0"/>
                    <a:pt x="0" y="1076"/>
                    <a:pt x="0" y="2399"/>
                  </a:cubicBezTo>
                  <a:cubicBezTo>
                    <a:pt x="0" y="2436"/>
                    <a:pt x="29" y="2465"/>
                    <a:pt x="66" y="2465"/>
                  </a:cubicBezTo>
                  <a:lnTo>
                    <a:pt x="2001" y="2465"/>
                  </a:lnTo>
                  <a:cubicBezTo>
                    <a:pt x="1995" y="2523"/>
                    <a:pt x="2000" y="2582"/>
                    <a:pt x="2021" y="2639"/>
                  </a:cubicBezTo>
                  <a:cubicBezTo>
                    <a:pt x="2056" y="2735"/>
                    <a:pt x="2126" y="2812"/>
                    <a:pt x="2220" y="2856"/>
                  </a:cubicBezTo>
                  <a:cubicBezTo>
                    <a:pt x="2272" y="2880"/>
                    <a:pt x="2326" y="2892"/>
                    <a:pt x="2381" y="2892"/>
                  </a:cubicBezTo>
                  <a:cubicBezTo>
                    <a:pt x="2526" y="2892"/>
                    <a:pt x="2666" y="2808"/>
                    <a:pt x="2733" y="2664"/>
                  </a:cubicBezTo>
                  <a:lnTo>
                    <a:pt x="2804" y="2465"/>
                  </a:lnTo>
                  <a:lnTo>
                    <a:pt x="4733" y="2465"/>
                  </a:lnTo>
                  <a:cubicBezTo>
                    <a:pt x="4770" y="2465"/>
                    <a:pt x="4799" y="2436"/>
                    <a:pt x="4799" y="2399"/>
                  </a:cubicBezTo>
                  <a:cubicBezTo>
                    <a:pt x="4799" y="1076"/>
                    <a:pt x="3723" y="0"/>
                    <a:pt x="2399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z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987F51C-F562-49AC-96AD-94036EAAE48D}"/>
              </a:ext>
            </a:extLst>
          </p:cNvPr>
          <p:cNvGrpSpPr/>
          <p:nvPr/>
        </p:nvGrpSpPr>
        <p:grpSpPr>
          <a:xfrm>
            <a:off x="5166578" y="1664381"/>
            <a:ext cx="1120043" cy="844467"/>
            <a:chOff x="6888770" y="2219175"/>
            <a:chExt cx="1493391" cy="1125956"/>
          </a:xfrm>
        </p:grpSpPr>
        <p:sp>
          <p:nvSpPr>
            <p:cNvPr id="58" name="Thought Bubble: Cloud 57">
              <a:extLst>
                <a:ext uri="{FF2B5EF4-FFF2-40B4-BE49-F238E27FC236}">
                  <a16:creationId xmlns:a16="http://schemas.microsoft.com/office/drawing/2014/main" id="{4593A7C6-8C5B-4F8A-856B-770757388A49}"/>
                </a:ext>
              </a:extLst>
            </p:cNvPr>
            <p:cNvSpPr/>
            <p:nvPr/>
          </p:nvSpPr>
          <p:spPr>
            <a:xfrm flipH="1">
              <a:off x="6888770" y="2219175"/>
              <a:ext cx="1493391" cy="1125956"/>
            </a:xfrm>
            <a:prstGeom prst="cloudCallout">
              <a:avLst>
                <a:gd name="adj1" fmla="val 72189"/>
                <a:gd name="adj2" fmla="val 71836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E0EF9085-613B-4D14-93A9-B1EF5B73564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383755" y="2441663"/>
              <a:ext cx="503420" cy="540849"/>
            </a:xfrm>
            <a:custGeom>
              <a:avLst/>
              <a:gdLst>
                <a:gd name="T0" fmla="*/ 4335 w 4470"/>
                <a:gd name="T1" fmla="*/ 3016 h 4806"/>
                <a:gd name="T2" fmla="*/ 3965 w 4470"/>
                <a:gd name="T3" fmla="*/ 3297 h 4806"/>
                <a:gd name="T4" fmla="*/ 3940 w 4470"/>
                <a:gd name="T5" fmla="*/ 3426 h 4806"/>
                <a:gd name="T6" fmla="*/ 3946 w 4470"/>
                <a:gd name="T7" fmla="*/ 3924 h 4806"/>
                <a:gd name="T8" fmla="*/ 3922 w 4470"/>
                <a:gd name="T9" fmla="*/ 4029 h 4806"/>
                <a:gd name="T10" fmla="*/ 3705 w 4470"/>
                <a:gd name="T11" fmla="*/ 4493 h 4806"/>
                <a:gd name="T12" fmla="*/ 2602 w 4470"/>
                <a:gd name="T13" fmla="*/ 4671 h 4806"/>
                <a:gd name="T14" fmla="*/ 1203 w 4470"/>
                <a:gd name="T15" fmla="*/ 4398 h 4806"/>
                <a:gd name="T16" fmla="*/ 1199 w 4470"/>
                <a:gd name="T17" fmla="*/ 2637 h 4806"/>
                <a:gd name="T18" fmla="*/ 1984 w 4470"/>
                <a:gd name="T19" fmla="*/ 1402 h 4806"/>
                <a:gd name="T20" fmla="*/ 2469 w 4470"/>
                <a:gd name="T21" fmla="*/ 747 h 4806"/>
                <a:gd name="T22" fmla="*/ 2810 w 4470"/>
                <a:gd name="T23" fmla="*/ 202 h 4806"/>
                <a:gd name="T24" fmla="*/ 2768 w 4470"/>
                <a:gd name="T25" fmla="*/ 1393 h 4806"/>
                <a:gd name="T26" fmla="*/ 2564 w 4470"/>
                <a:gd name="T27" fmla="*/ 1810 h 4806"/>
                <a:gd name="T28" fmla="*/ 3928 w 4470"/>
                <a:gd name="T29" fmla="*/ 1988 h 4806"/>
                <a:gd name="T30" fmla="*/ 4063 w 4470"/>
                <a:gd name="T31" fmla="*/ 2589 h 4806"/>
                <a:gd name="T32" fmla="*/ 4085 w 4470"/>
                <a:gd name="T33" fmla="*/ 2716 h 4806"/>
                <a:gd name="T34" fmla="*/ 4335 w 4470"/>
                <a:gd name="T35" fmla="*/ 3016 h 4806"/>
                <a:gd name="T36" fmla="*/ 895 w 4470"/>
                <a:gd name="T37" fmla="*/ 4578 h 4806"/>
                <a:gd name="T38" fmla="*/ 307 w 4470"/>
                <a:gd name="T39" fmla="*/ 4578 h 4806"/>
                <a:gd name="T40" fmla="*/ 134 w 4470"/>
                <a:gd name="T41" fmla="*/ 2674 h 4806"/>
                <a:gd name="T42" fmla="*/ 895 w 4470"/>
                <a:gd name="T43" fmla="*/ 2501 h 4806"/>
                <a:gd name="T44" fmla="*/ 1068 w 4470"/>
                <a:gd name="T45" fmla="*/ 4405 h 4806"/>
                <a:gd name="T46" fmla="*/ 895 w 4470"/>
                <a:gd name="T47" fmla="*/ 4578 h 4806"/>
                <a:gd name="T48" fmla="*/ 4243 w 4470"/>
                <a:gd name="T49" fmla="*/ 2625 h 4806"/>
                <a:gd name="T50" fmla="*/ 3926 w 4470"/>
                <a:gd name="T51" fmla="*/ 1854 h 4806"/>
                <a:gd name="T52" fmla="*/ 2752 w 4470"/>
                <a:gd name="T53" fmla="*/ 1851 h 4806"/>
                <a:gd name="T54" fmla="*/ 2825 w 4470"/>
                <a:gd name="T55" fmla="*/ 1541 h 4806"/>
                <a:gd name="T56" fmla="*/ 3137 w 4470"/>
                <a:gd name="T57" fmla="*/ 743 h 4806"/>
                <a:gd name="T58" fmla="*/ 2662 w 4470"/>
                <a:gd name="T59" fmla="*/ 7 h 4806"/>
                <a:gd name="T60" fmla="*/ 1976 w 4470"/>
                <a:gd name="T61" fmla="*/ 1230 h 4806"/>
                <a:gd name="T62" fmla="*/ 1485 w 4470"/>
                <a:gd name="T63" fmla="*/ 2113 h 4806"/>
                <a:gd name="T64" fmla="*/ 895 w 4470"/>
                <a:gd name="T65" fmla="*/ 2366 h 4806"/>
                <a:gd name="T66" fmla="*/ 0 w 4470"/>
                <a:gd name="T67" fmla="*/ 2674 h 4806"/>
                <a:gd name="T68" fmla="*/ 307 w 4470"/>
                <a:gd name="T69" fmla="*/ 4713 h 4806"/>
                <a:gd name="T70" fmla="*/ 1174 w 4470"/>
                <a:gd name="T71" fmla="*/ 4534 h 4806"/>
                <a:gd name="T72" fmla="*/ 2603 w 4470"/>
                <a:gd name="T73" fmla="*/ 4806 h 4806"/>
                <a:gd name="T74" fmla="*/ 3725 w 4470"/>
                <a:gd name="T75" fmla="*/ 4626 h 4806"/>
                <a:gd name="T76" fmla="*/ 4070 w 4470"/>
                <a:gd name="T77" fmla="*/ 4007 h 4806"/>
                <a:gd name="T78" fmla="*/ 4152 w 4470"/>
                <a:gd name="T79" fmla="*/ 3420 h 4806"/>
                <a:gd name="T80" fmla="*/ 4470 w 4470"/>
                <a:gd name="T81" fmla="*/ 2995 h 4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470" h="4806">
                  <a:moveTo>
                    <a:pt x="4335" y="3016"/>
                  </a:moveTo>
                  <a:lnTo>
                    <a:pt x="4335" y="3016"/>
                  </a:lnTo>
                  <a:cubicBezTo>
                    <a:pt x="4335" y="3171"/>
                    <a:pt x="4210" y="3297"/>
                    <a:pt x="4055" y="3297"/>
                  </a:cubicBezTo>
                  <a:lnTo>
                    <a:pt x="3965" y="3297"/>
                  </a:lnTo>
                  <a:cubicBezTo>
                    <a:pt x="3933" y="3297"/>
                    <a:pt x="3905" y="3319"/>
                    <a:pt x="3899" y="3351"/>
                  </a:cubicBezTo>
                  <a:cubicBezTo>
                    <a:pt x="3893" y="3383"/>
                    <a:pt x="3910" y="3414"/>
                    <a:pt x="3940" y="3426"/>
                  </a:cubicBezTo>
                  <a:cubicBezTo>
                    <a:pt x="4043" y="3468"/>
                    <a:pt x="4109" y="3566"/>
                    <a:pt x="4109" y="3676"/>
                  </a:cubicBezTo>
                  <a:cubicBezTo>
                    <a:pt x="4109" y="3783"/>
                    <a:pt x="4045" y="3881"/>
                    <a:pt x="3946" y="3924"/>
                  </a:cubicBezTo>
                  <a:cubicBezTo>
                    <a:pt x="3926" y="3932"/>
                    <a:pt x="3912" y="3949"/>
                    <a:pt x="3907" y="3970"/>
                  </a:cubicBezTo>
                  <a:cubicBezTo>
                    <a:pt x="3902" y="3991"/>
                    <a:pt x="3908" y="4013"/>
                    <a:pt x="3922" y="4029"/>
                  </a:cubicBezTo>
                  <a:cubicBezTo>
                    <a:pt x="3965" y="4079"/>
                    <a:pt x="3989" y="4142"/>
                    <a:pt x="3989" y="4208"/>
                  </a:cubicBezTo>
                  <a:cubicBezTo>
                    <a:pt x="3994" y="4363"/>
                    <a:pt x="3885" y="4475"/>
                    <a:pt x="3705" y="4493"/>
                  </a:cubicBezTo>
                  <a:cubicBezTo>
                    <a:pt x="3696" y="4495"/>
                    <a:pt x="2812" y="4665"/>
                    <a:pt x="2610" y="4671"/>
                  </a:cubicBezTo>
                  <a:cubicBezTo>
                    <a:pt x="2607" y="4671"/>
                    <a:pt x="2605" y="4671"/>
                    <a:pt x="2602" y="4671"/>
                  </a:cubicBezTo>
                  <a:cubicBezTo>
                    <a:pt x="2427" y="4671"/>
                    <a:pt x="1867" y="4532"/>
                    <a:pt x="1665" y="4478"/>
                  </a:cubicBezTo>
                  <a:cubicBezTo>
                    <a:pt x="1632" y="4469"/>
                    <a:pt x="1383" y="4396"/>
                    <a:pt x="1203" y="4398"/>
                  </a:cubicBezTo>
                  <a:lnTo>
                    <a:pt x="1203" y="2674"/>
                  </a:lnTo>
                  <a:cubicBezTo>
                    <a:pt x="1203" y="2662"/>
                    <a:pt x="1201" y="2650"/>
                    <a:pt x="1199" y="2637"/>
                  </a:cubicBezTo>
                  <a:cubicBezTo>
                    <a:pt x="1277" y="2595"/>
                    <a:pt x="1533" y="2438"/>
                    <a:pt x="1614" y="2149"/>
                  </a:cubicBezTo>
                  <a:cubicBezTo>
                    <a:pt x="1720" y="1771"/>
                    <a:pt x="1837" y="1534"/>
                    <a:pt x="1984" y="1402"/>
                  </a:cubicBezTo>
                  <a:cubicBezTo>
                    <a:pt x="2009" y="1379"/>
                    <a:pt x="2036" y="1356"/>
                    <a:pt x="2064" y="1332"/>
                  </a:cubicBezTo>
                  <a:cubicBezTo>
                    <a:pt x="2243" y="1177"/>
                    <a:pt x="2445" y="1002"/>
                    <a:pt x="2469" y="747"/>
                  </a:cubicBezTo>
                  <a:cubicBezTo>
                    <a:pt x="2487" y="554"/>
                    <a:pt x="2524" y="154"/>
                    <a:pt x="2674" y="140"/>
                  </a:cubicBezTo>
                  <a:cubicBezTo>
                    <a:pt x="2727" y="136"/>
                    <a:pt x="2777" y="171"/>
                    <a:pt x="2810" y="202"/>
                  </a:cubicBezTo>
                  <a:cubicBezTo>
                    <a:pt x="2929" y="315"/>
                    <a:pt x="3010" y="541"/>
                    <a:pt x="3002" y="738"/>
                  </a:cubicBezTo>
                  <a:cubicBezTo>
                    <a:pt x="2991" y="1045"/>
                    <a:pt x="2877" y="1241"/>
                    <a:pt x="2768" y="1393"/>
                  </a:cubicBezTo>
                  <a:cubicBezTo>
                    <a:pt x="2752" y="1415"/>
                    <a:pt x="2736" y="1437"/>
                    <a:pt x="2718" y="1459"/>
                  </a:cubicBezTo>
                  <a:cubicBezTo>
                    <a:pt x="2635" y="1566"/>
                    <a:pt x="2541" y="1688"/>
                    <a:pt x="2564" y="1810"/>
                  </a:cubicBezTo>
                  <a:cubicBezTo>
                    <a:pt x="2575" y="1872"/>
                    <a:pt x="2615" y="1925"/>
                    <a:pt x="2682" y="1966"/>
                  </a:cubicBezTo>
                  <a:cubicBezTo>
                    <a:pt x="2773" y="2021"/>
                    <a:pt x="3503" y="2004"/>
                    <a:pt x="3928" y="1988"/>
                  </a:cubicBezTo>
                  <a:cubicBezTo>
                    <a:pt x="4102" y="1988"/>
                    <a:pt x="4244" y="2130"/>
                    <a:pt x="4244" y="2304"/>
                  </a:cubicBezTo>
                  <a:cubicBezTo>
                    <a:pt x="4244" y="2424"/>
                    <a:pt x="4173" y="2536"/>
                    <a:pt x="4063" y="2589"/>
                  </a:cubicBezTo>
                  <a:cubicBezTo>
                    <a:pt x="4036" y="2602"/>
                    <a:pt x="4021" y="2631"/>
                    <a:pt x="4026" y="2661"/>
                  </a:cubicBezTo>
                  <a:cubicBezTo>
                    <a:pt x="4031" y="2690"/>
                    <a:pt x="4055" y="2713"/>
                    <a:pt x="4085" y="2716"/>
                  </a:cubicBezTo>
                  <a:cubicBezTo>
                    <a:pt x="4228" y="2731"/>
                    <a:pt x="4335" y="2851"/>
                    <a:pt x="4335" y="2995"/>
                  </a:cubicBezTo>
                  <a:lnTo>
                    <a:pt x="4335" y="3016"/>
                  </a:lnTo>
                  <a:lnTo>
                    <a:pt x="4335" y="3016"/>
                  </a:lnTo>
                  <a:close/>
                  <a:moveTo>
                    <a:pt x="895" y="4578"/>
                  </a:moveTo>
                  <a:lnTo>
                    <a:pt x="895" y="4578"/>
                  </a:lnTo>
                  <a:lnTo>
                    <a:pt x="307" y="4578"/>
                  </a:lnTo>
                  <a:cubicBezTo>
                    <a:pt x="212" y="4578"/>
                    <a:pt x="134" y="4500"/>
                    <a:pt x="134" y="4405"/>
                  </a:cubicBezTo>
                  <a:lnTo>
                    <a:pt x="134" y="2674"/>
                  </a:lnTo>
                  <a:cubicBezTo>
                    <a:pt x="134" y="2579"/>
                    <a:pt x="212" y="2501"/>
                    <a:pt x="307" y="2501"/>
                  </a:cubicBezTo>
                  <a:lnTo>
                    <a:pt x="895" y="2501"/>
                  </a:lnTo>
                  <a:cubicBezTo>
                    <a:pt x="991" y="2501"/>
                    <a:pt x="1068" y="2579"/>
                    <a:pt x="1068" y="2674"/>
                  </a:cubicBezTo>
                  <a:lnTo>
                    <a:pt x="1068" y="4405"/>
                  </a:lnTo>
                  <a:cubicBezTo>
                    <a:pt x="1068" y="4500"/>
                    <a:pt x="991" y="4578"/>
                    <a:pt x="895" y="4578"/>
                  </a:cubicBezTo>
                  <a:lnTo>
                    <a:pt x="895" y="4578"/>
                  </a:lnTo>
                  <a:close/>
                  <a:moveTo>
                    <a:pt x="4243" y="2625"/>
                  </a:moveTo>
                  <a:lnTo>
                    <a:pt x="4243" y="2625"/>
                  </a:lnTo>
                  <a:cubicBezTo>
                    <a:pt x="4328" y="2541"/>
                    <a:pt x="4379" y="2426"/>
                    <a:pt x="4379" y="2304"/>
                  </a:cubicBezTo>
                  <a:cubicBezTo>
                    <a:pt x="4379" y="2056"/>
                    <a:pt x="4177" y="1854"/>
                    <a:pt x="3926" y="1854"/>
                  </a:cubicBezTo>
                  <a:lnTo>
                    <a:pt x="3926" y="1854"/>
                  </a:lnTo>
                  <a:cubicBezTo>
                    <a:pt x="3403" y="1873"/>
                    <a:pt x="2820" y="1876"/>
                    <a:pt x="2752" y="1851"/>
                  </a:cubicBezTo>
                  <a:cubicBezTo>
                    <a:pt x="2702" y="1821"/>
                    <a:pt x="2698" y="1794"/>
                    <a:pt x="2696" y="1786"/>
                  </a:cubicBezTo>
                  <a:cubicBezTo>
                    <a:pt x="2684" y="1723"/>
                    <a:pt x="2762" y="1622"/>
                    <a:pt x="2825" y="1541"/>
                  </a:cubicBezTo>
                  <a:cubicBezTo>
                    <a:pt x="2843" y="1517"/>
                    <a:pt x="2861" y="1494"/>
                    <a:pt x="2877" y="1472"/>
                  </a:cubicBezTo>
                  <a:cubicBezTo>
                    <a:pt x="2991" y="1313"/>
                    <a:pt x="3124" y="1087"/>
                    <a:pt x="3137" y="743"/>
                  </a:cubicBezTo>
                  <a:cubicBezTo>
                    <a:pt x="3146" y="507"/>
                    <a:pt x="3049" y="244"/>
                    <a:pt x="2902" y="105"/>
                  </a:cubicBezTo>
                  <a:cubicBezTo>
                    <a:pt x="2827" y="33"/>
                    <a:pt x="2744" y="0"/>
                    <a:pt x="2662" y="7"/>
                  </a:cubicBezTo>
                  <a:cubicBezTo>
                    <a:pt x="2401" y="30"/>
                    <a:pt x="2361" y="454"/>
                    <a:pt x="2335" y="734"/>
                  </a:cubicBezTo>
                  <a:cubicBezTo>
                    <a:pt x="2317" y="936"/>
                    <a:pt x="2143" y="1086"/>
                    <a:pt x="1976" y="1230"/>
                  </a:cubicBezTo>
                  <a:cubicBezTo>
                    <a:pt x="1948" y="1255"/>
                    <a:pt x="1920" y="1279"/>
                    <a:pt x="1894" y="1302"/>
                  </a:cubicBezTo>
                  <a:cubicBezTo>
                    <a:pt x="1728" y="1452"/>
                    <a:pt x="1598" y="1709"/>
                    <a:pt x="1485" y="2113"/>
                  </a:cubicBezTo>
                  <a:cubicBezTo>
                    <a:pt x="1424" y="2330"/>
                    <a:pt x="1232" y="2462"/>
                    <a:pt x="1154" y="2508"/>
                  </a:cubicBezTo>
                  <a:cubicBezTo>
                    <a:pt x="1099" y="2423"/>
                    <a:pt x="1004" y="2366"/>
                    <a:pt x="895" y="2366"/>
                  </a:cubicBezTo>
                  <a:lnTo>
                    <a:pt x="307" y="2366"/>
                  </a:lnTo>
                  <a:cubicBezTo>
                    <a:pt x="138" y="2366"/>
                    <a:pt x="0" y="2504"/>
                    <a:pt x="0" y="2674"/>
                  </a:cubicBezTo>
                  <a:lnTo>
                    <a:pt x="0" y="4405"/>
                  </a:lnTo>
                  <a:cubicBezTo>
                    <a:pt x="0" y="4575"/>
                    <a:pt x="138" y="4713"/>
                    <a:pt x="307" y="4713"/>
                  </a:cubicBezTo>
                  <a:lnTo>
                    <a:pt x="895" y="4713"/>
                  </a:lnTo>
                  <a:cubicBezTo>
                    <a:pt x="1019" y="4713"/>
                    <a:pt x="1125" y="4639"/>
                    <a:pt x="1174" y="4534"/>
                  </a:cubicBezTo>
                  <a:cubicBezTo>
                    <a:pt x="1302" y="4521"/>
                    <a:pt x="1539" y="4581"/>
                    <a:pt x="1628" y="4608"/>
                  </a:cubicBezTo>
                  <a:cubicBezTo>
                    <a:pt x="1659" y="4616"/>
                    <a:pt x="2373" y="4806"/>
                    <a:pt x="2603" y="4806"/>
                  </a:cubicBezTo>
                  <a:cubicBezTo>
                    <a:pt x="2607" y="4806"/>
                    <a:pt x="2611" y="4805"/>
                    <a:pt x="2614" y="4805"/>
                  </a:cubicBezTo>
                  <a:cubicBezTo>
                    <a:pt x="2827" y="4799"/>
                    <a:pt x="3694" y="4632"/>
                    <a:pt x="3725" y="4626"/>
                  </a:cubicBezTo>
                  <a:cubicBezTo>
                    <a:pt x="3966" y="4602"/>
                    <a:pt x="4130" y="4428"/>
                    <a:pt x="4123" y="4206"/>
                  </a:cubicBezTo>
                  <a:cubicBezTo>
                    <a:pt x="4123" y="4136"/>
                    <a:pt x="4105" y="4068"/>
                    <a:pt x="4070" y="4007"/>
                  </a:cubicBezTo>
                  <a:cubicBezTo>
                    <a:pt x="4178" y="3933"/>
                    <a:pt x="4244" y="3810"/>
                    <a:pt x="4244" y="3676"/>
                  </a:cubicBezTo>
                  <a:cubicBezTo>
                    <a:pt x="4244" y="3580"/>
                    <a:pt x="4210" y="3490"/>
                    <a:pt x="4152" y="3420"/>
                  </a:cubicBezTo>
                  <a:cubicBezTo>
                    <a:pt x="4334" y="3376"/>
                    <a:pt x="4470" y="3212"/>
                    <a:pt x="4470" y="3016"/>
                  </a:cubicBezTo>
                  <a:lnTo>
                    <a:pt x="4470" y="2995"/>
                  </a:lnTo>
                  <a:cubicBezTo>
                    <a:pt x="4470" y="2834"/>
                    <a:pt x="4379" y="2693"/>
                    <a:pt x="4243" y="2625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9B9B886-A6AE-4346-B87B-33034BEC2B83}"/>
              </a:ext>
            </a:extLst>
          </p:cNvPr>
          <p:cNvSpPr txBox="1"/>
          <p:nvPr/>
        </p:nvSpPr>
        <p:spPr>
          <a:xfrm>
            <a:off x="4899947" y="3396193"/>
            <a:ext cx="2624436" cy="300082"/>
          </a:xfrm>
          <a:prstGeom prst="rect">
            <a:avLst/>
          </a:prstGeom>
          <a:solidFill>
            <a:srgbClr val="1F1C49"/>
          </a:solidFill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ha! We can make this even better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86A9E83-8F90-496D-8562-975F3EF87531}"/>
              </a:ext>
            </a:extLst>
          </p:cNvPr>
          <p:cNvGrpSpPr/>
          <p:nvPr/>
        </p:nvGrpSpPr>
        <p:grpSpPr>
          <a:xfrm>
            <a:off x="7478596" y="3430192"/>
            <a:ext cx="1988820" cy="203033"/>
            <a:chOff x="9851721" y="4573588"/>
            <a:chExt cx="2651760" cy="270711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6890A55E-453A-4C49-AD1A-AA4BC92A9B4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51721" y="4700728"/>
              <a:ext cx="2651760" cy="12995"/>
            </a:xfrm>
            <a:prstGeom prst="lin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A11CC15-B537-4411-B020-AA6AB89790D5}"/>
                </a:ext>
              </a:extLst>
            </p:cNvPr>
            <p:cNvCxnSpPr/>
            <p:nvPr/>
          </p:nvCxnSpPr>
          <p:spPr>
            <a:xfrm>
              <a:off x="9856132" y="4573588"/>
              <a:ext cx="0" cy="270711"/>
            </a:xfrm>
            <a:prstGeom prst="lin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C58FE82-72B0-4C99-A799-70FABF641DB8}"/>
              </a:ext>
            </a:extLst>
          </p:cNvPr>
          <p:cNvGrpSpPr/>
          <p:nvPr/>
        </p:nvGrpSpPr>
        <p:grpSpPr bwMode="grayWhite">
          <a:xfrm>
            <a:off x="3512831" y="2322528"/>
            <a:ext cx="1588576" cy="1531286"/>
            <a:chOff x="4683774" y="3096705"/>
            <a:chExt cx="2118101" cy="2041714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66A7FC0B-81AF-46E7-9D3C-B86FB023D845}"/>
                </a:ext>
              </a:extLst>
            </p:cNvPr>
            <p:cNvSpPr/>
            <p:nvPr/>
          </p:nvSpPr>
          <p:spPr bwMode="grayWhite">
            <a:xfrm>
              <a:off x="4683774" y="3096705"/>
              <a:ext cx="2118101" cy="2041714"/>
            </a:xfrm>
            <a:prstGeom prst="ellipse">
              <a:avLst/>
            </a:prstGeom>
            <a:solidFill>
              <a:srgbClr val="1F1C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grpSp>
          <p:nvGrpSpPr>
            <p:cNvPr id="38" name="Group 4">
              <a:extLst>
                <a:ext uri="{FF2B5EF4-FFF2-40B4-BE49-F238E27FC236}">
                  <a16:creationId xmlns:a16="http://schemas.microsoft.com/office/drawing/2014/main" id="{80B29EB2-C22F-4803-8644-06D65F36389D}"/>
                </a:ext>
              </a:extLst>
            </p:cNvPr>
            <p:cNvGrpSpPr>
              <a:grpSpLocks noChangeAspect="1"/>
            </p:cNvGrpSpPr>
            <p:nvPr/>
          </p:nvGrpSpPr>
          <p:grpSpPr bwMode="grayWhite">
            <a:xfrm>
              <a:off x="4993586" y="3306837"/>
              <a:ext cx="1423283" cy="1543188"/>
              <a:chOff x="3497" y="1236"/>
              <a:chExt cx="2101" cy="2278"/>
            </a:xfrm>
          </p:grpSpPr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B01F1950-3B66-4868-836C-B59B0A497348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3940" y="1879"/>
                <a:ext cx="175" cy="248"/>
              </a:xfrm>
              <a:custGeom>
                <a:avLst/>
                <a:gdLst>
                  <a:gd name="T0" fmla="*/ 14 w 19"/>
                  <a:gd name="T1" fmla="*/ 27 h 27"/>
                  <a:gd name="T2" fmla="*/ 0 w 19"/>
                  <a:gd name="T3" fmla="*/ 14 h 27"/>
                  <a:gd name="T4" fmla="*/ 14 w 19"/>
                  <a:gd name="T5" fmla="*/ 0 h 27"/>
                  <a:gd name="T6" fmla="*/ 19 w 19"/>
                  <a:gd name="T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7">
                    <a:moveTo>
                      <a:pt x="14" y="27"/>
                    </a:moveTo>
                    <a:cubicBezTo>
                      <a:pt x="6" y="27"/>
                      <a:pt x="0" y="21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16" y="0"/>
                      <a:pt x="18" y="0"/>
                      <a:pt x="19" y="1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AE602E5F-48CB-4581-AE49-62AB7CAFCA87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4889" y="1879"/>
                <a:ext cx="175" cy="248"/>
              </a:xfrm>
              <a:custGeom>
                <a:avLst/>
                <a:gdLst>
                  <a:gd name="T0" fmla="*/ 5 w 19"/>
                  <a:gd name="T1" fmla="*/ 27 h 27"/>
                  <a:gd name="T2" fmla="*/ 19 w 19"/>
                  <a:gd name="T3" fmla="*/ 14 h 27"/>
                  <a:gd name="T4" fmla="*/ 5 w 19"/>
                  <a:gd name="T5" fmla="*/ 0 h 27"/>
                  <a:gd name="T6" fmla="*/ 0 w 19"/>
                  <a:gd name="T7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7">
                    <a:moveTo>
                      <a:pt x="5" y="27"/>
                    </a:moveTo>
                    <a:cubicBezTo>
                      <a:pt x="13" y="27"/>
                      <a:pt x="19" y="21"/>
                      <a:pt x="19" y="14"/>
                    </a:cubicBezTo>
                    <a:cubicBezTo>
                      <a:pt x="19" y="6"/>
                      <a:pt x="13" y="0"/>
                      <a:pt x="5" y="0"/>
                    </a:cubicBezTo>
                    <a:cubicBezTo>
                      <a:pt x="3" y="0"/>
                      <a:pt x="1" y="0"/>
                      <a:pt x="0" y="1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067E4B89-E0DC-49D7-9CB6-A4E30BB4D8FF}"/>
                  </a:ext>
                </a:extLst>
              </p:cNvPr>
              <p:cNvSpPr>
                <a:spLocks noChangeArrowheads="1"/>
              </p:cNvSpPr>
              <p:nvPr/>
            </p:nvSpPr>
            <p:spPr bwMode="grayWhite">
              <a:xfrm>
                <a:off x="4382" y="1925"/>
                <a:ext cx="64" cy="64"/>
              </a:xfrm>
              <a:prstGeom prst="ellipse">
                <a:avLst/>
              </a:prstGeom>
              <a:solidFill>
                <a:srgbClr val="231F20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570B2AF1-E64E-48DB-A0C3-01CDB2DA41A3}"/>
                  </a:ext>
                </a:extLst>
              </p:cNvPr>
              <p:cNvSpPr>
                <a:spLocks noChangeArrowheads="1"/>
              </p:cNvSpPr>
              <p:nvPr/>
            </p:nvSpPr>
            <p:spPr bwMode="grayWhite">
              <a:xfrm>
                <a:off x="4603" y="1916"/>
                <a:ext cx="55" cy="64"/>
              </a:xfrm>
              <a:prstGeom prst="ellipse">
                <a:avLst/>
              </a:prstGeom>
              <a:solidFill>
                <a:srgbClr val="231F20"/>
              </a:solidFill>
              <a:ln w="381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4" name="Freeform 9">
                <a:extLst>
                  <a:ext uri="{FF2B5EF4-FFF2-40B4-BE49-F238E27FC236}">
                    <a16:creationId xmlns:a16="http://schemas.microsoft.com/office/drawing/2014/main" id="{97870FF6-F04A-4D24-AE60-1FC33B6898B2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4069" y="1870"/>
                <a:ext cx="18" cy="321"/>
              </a:xfrm>
              <a:custGeom>
                <a:avLst/>
                <a:gdLst>
                  <a:gd name="T0" fmla="*/ 2 w 2"/>
                  <a:gd name="T1" fmla="*/ 35 h 35"/>
                  <a:gd name="T2" fmla="*/ 0 w 2"/>
                  <a:gd name="T3" fmla="*/ 21 h 35"/>
                  <a:gd name="T4" fmla="*/ 0 w 2"/>
                  <a:gd name="T5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5">
                    <a:moveTo>
                      <a:pt x="2" y="35"/>
                    </a:moveTo>
                    <a:cubicBezTo>
                      <a:pt x="0" y="31"/>
                      <a:pt x="0" y="26"/>
                      <a:pt x="0" y="2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5" name="Freeform 10">
                <a:extLst>
                  <a:ext uri="{FF2B5EF4-FFF2-40B4-BE49-F238E27FC236}">
                    <a16:creationId xmlns:a16="http://schemas.microsoft.com/office/drawing/2014/main" id="{943B749D-281D-4DFB-8CCE-485911AF7681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4916" y="1870"/>
                <a:ext cx="19" cy="312"/>
              </a:xfrm>
              <a:custGeom>
                <a:avLst/>
                <a:gdLst>
                  <a:gd name="T0" fmla="*/ 2 w 2"/>
                  <a:gd name="T1" fmla="*/ 0 h 34"/>
                  <a:gd name="T2" fmla="*/ 2 w 2"/>
                  <a:gd name="T3" fmla="*/ 21 h 34"/>
                  <a:gd name="T4" fmla="*/ 0 w 2"/>
                  <a:gd name="T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4">
                    <a:moveTo>
                      <a:pt x="2" y="0"/>
                    </a:moveTo>
                    <a:cubicBezTo>
                      <a:pt x="2" y="21"/>
                      <a:pt x="2" y="21"/>
                      <a:pt x="2" y="21"/>
                    </a:cubicBezTo>
                    <a:cubicBezTo>
                      <a:pt x="2" y="26"/>
                      <a:pt x="2" y="30"/>
                      <a:pt x="0" y="34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6" name="Freeform 11">
                <a:extLst>
                  <a:ext uri="{FF2B5EF4-FFF2-40B4-BE49-F238E27FC236}">
                    <a16:creationId xmlns:a16="http://schemas.microsoft.com/office/drawing/2014/main" id="{FB7A4DDD-185C-4A42-8789-D090E2E6BDB1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3967" y="1236"/>
                <a:ext cx="1060" cy="680"/>
              </a:xfrm>
              <a:custGeom>
                <a:avLst/>
                <a:gdLst>
                  <a:gd name="T0" fmla="*/ 8 w 115"/>
                  <a:gd name="T1" fmla="*/ 68 h 74"/>
                  <a:gd name="T2" fmla="*/ 24 w 115"/>
                  <a:gd name="T3" fmla="*/ 22 h 74"/>
                  <a:gd name="T4" fmla="*/ 58 w 115"/>
                  <a:gd name="T5" fmla="*/ 5 h 74"/>
                  <a:gd name="T6" fmla="*/ 97 w 115"/>
                  <a:gd name="T7" fmla="*/ 4 h 74"/>
                  <a:gd name="T8" fmla="*/ 97 w 115"/>
                  <a:gd name="T9" fmla="*/ 18 h 74"/>
                  <a:gd name="T10" fmla="*/ 107 w 115"/>
                  <a:gd name="T11" fmla="*/ 68 h 74"/>
                  <a:gd name="T12" fmla="*/ 96 w 115"/>
                  <a:gd name="T13" fmla="*/ 73 h 74"/>
                  <a:gd name="T14" fmla="*/ 87 w 115"/>
                  <a:gd name="T15" fmla="*/ 54 h 74"/>
                  <a:gd name="T16" fmla="*/ 55 w 115"/>
                  <a:gd name="T17" fmla="*/ 50 h 74"/>
                  <a:gd name="T18" fmla="*/ 24 w 115"/>
                  <a:gd name="T19" fmla="*/ 60 h 74"/>
                  <a:gd name="T20" fmla="*/ 21 w 115"/>
                  <a:gd name="T21" fmla="*/ 73 h 74"/>
                  <a:gd name="T22" fmla="*/ 8 w 115"/>
                  <a:gd name="T23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5" h="74">
                    <a:moveTo>
                      <a:pt x="8" y="68"/>
                    </a:moveTo>
                    <a:cubicBezTo>
                      <a:pt x="0" y="20"/>
                      <a:pt x="24" y="22"/>
                      <a:pt x="24" y="22"/>
                    </a:cubicBezTo>
                    <a:cubicBezTo>
                      <a:pt x="24" y="22"/>
                      <a:pt x="32" y="0"/>
                      <a:pt x="58" y="5"/>
                    </a:cubicBezTo>
                    <a:cubicBezTo>
                      <a:pt x="83" y="9"/>
                      <a:pt x="97" y="4"/>
                      <a:pt x="97" y="4"/>
                    </a:cubicBezTo>
                    <a:cubicBezTo>
                      <a:pt x="97" y="4"/>
                      <a:pt x="94" y="14"/>
                      <a:pt x="97" y="18"/>
                    </a:cubicBezTo>
                    <a:cubicBezTo>
                      <a:pt x="99" y="21"/>
                      <a:pt x="115" y="33"/>
                      <a:pt x="107" y="68"/>
                    </a:cubicBezTo>
                    <a:cubicBezTo>
                      <a:pt x="107" y="68"/>
                      <a:pt x="97" y="72"/>
                      <a:pt x="96" y="73"/>
                    </a:cubicBezTo>
                    <a:cubicBezTo>
                      <a:pt x="95" y="74"/>
                      <a:pt x="99" y="53"/>
                      <a:pt x="87" y="54"/>
                    </a:cubicBezTo>
                    <a:cubicBezTo>
                      <a:pt x="76" y="54"/>
                      <a:pt x="64" y="54"/>
                      <a:pt x="55" y="50"/>
                    </a:cubicBezTo>
                    <a:cubicBezTo>
                      <a:pt x="45" y="47"/>
                      <a:pt x="32" y="41"/>
                      <a:pt x="24" y="60"/>
                    </a:cubicBezTo>
                    <a:cubicBezTo>
                      <a:pt x="24" y="60"/>
                      <a:pt x="21" y="70"/>
                      <a:pt x="21" y="73"/>
                    </a:cubicBezTo>
                    <a:lnTo>
                      <a:pt x="8" y="68"/>
                    </a:ln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790DA26D-B254-4CE0-AA0C-98204FF5A6DA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4999" y="2577"/>
                <a:ext cx="203" cy="321"/>
              </a:xfrm>
              <a:custGeom>
                <a:avLst/>
                <a:gdLst>
                  <a:gd name="T0" fmla="*/ 0 w 22"/>
                  <a:gd name="T1" fmla="*/ 0 h 35"/>
                  <a:gd name="T2" fmla="*/ 22 w 22"/>
                  <a:gd name="T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2" h="35">
                    <a:moveTo>
                      <a:pt x="0" y="0"/>
                    </a:moveTo>
                    <a:cubicBezTo>
                      <a:pt x="15" y="7"/>
                      <a:pt x="21" y="17"/>
                      <a:pt x="22" y="35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8" name="Freeform 13">
                <a:extLst>
                  <a:ext uri="{FF2B5EF4-FFF2-40B4-BE49-F238E27FC236}">
                    <a16:creationId xmlns:a16="http://schemas.microsoft.com/office/drawing/2014/main" id="{A77A796C-39EE-4782-812F-6F6B3C153934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3516" y="3100"/>
                <a:ext cx="2082" cy="285"/>
              </a:xfrm>
              <a:custGeom>
                <a:avLst/>
                <a:gdLst>
                  <a:gd name="T0" fmla="*/ 193 w 226"/>
                  <a:gd name="T1" fmla="*/ 0 h 31"/>
                  <a:gd name="T2" fmla="*/ 226 w 226"/>
                  <a:gd name="T3" fmla="*/ 2 h 31"/>
                  <a:gd name="T4" fmla="*/ 156 w 226"/>
                  <a:gd name="T5" fmla="*/ 31 h 31"/>
                  <a:gd name="T6" fmla="*/ 1 w 226"/>
                  <a:gd name="T7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" h="31">
                    <a:moveTo>
                      <a:pt x="193" y="0"/>
                    </a:moveTo>
                    <a:cubicBezTo>
                      <a:pt x="226" y="2"/>
                      <a:pt x="226" y="2"/>
                      <a:pt x="226" y="2"/>
                    </a:cubicBezTo>
                    <a:cubicBezTo>
                      <a:pt x="226" y="2"/>
                      <a:pt x="155" y="31"/>
                      <a:pt x="156" y="31"/>
                    </a:cubicBezTo>
                    <a:cubicBezTo>
                      <a:pt x="156" y="31"/>
                      <a:pt x="0" y="16"/>
                      <a:pt x="1" y="13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49" name="Freeform 14">
                <a:extLst>
                  <a:ext uri="{FF2B5EF4-FFF2-40B4-BE49-F238E27FC236}">
                    <a16:creationId xmlns:a16="http://schemas.microsoft.com/office/drawing/2014/main" id="{841D9437-9B5C-4AFC-BFFC-A520EBA7A17A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3497" y="2182"/>
                <a:ext cx="1512" cy="1203"/>
              </a:xfrm>
              <a:custGeom>
                <a:avLst/>
                <a:gdLst>
                  <a:gd name="T0" fmla="*/ 160 w 164"/>
                  <a:gd name="T1" fmla="*/ 131 h 131"/>
                  <a:gd name="T2" fmla="*/ 7 w 164"/>
                  <a:gd name="T3" fmla="*/ 116 h 131"/>
                  <a:gd name="T4" fmla="*/ 0 w 164"/>
                  <a:gd name="T5" fmla="*/ 108 h 131"/>
                  <a:gd name="T6" fmla="*/ 1 w 164"/>
                  <a:gd name="T7" fmla="*/ 8 h 131"/>
                  <a:gd name="T8" fmla="*/ 8 w 164"/>
                  <a:gd name="T9" fmla="*/ 2 h 131"/>
                  <a:gd name="T10" fmla="*/ 157 w 164"/>
                  <a:gd name="T11" fmla="*/ 0 h 131"/>
                  <a:gd name="T12" fmla="*/ 164 w 164"/>
                  <a:gd name="T13" fmla="*/ 8 h 131"/>
                  <a:gd name="T14" fmla="*/ 163 w 164"/>
                  <a:gd name="T15" fmla="*/ 124 h 131"/>
                  <a:gd name="T16" fmla="*/ 160 w 164"/>
                  <a:gd name="T17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131">
                    <a:moveTo>
                      <a:pt x="160" y="131"/>
                    </a:moveTo>
                    <a:cubicBezTo>
                      <a:pt x="7" y="116"/>
                      <a:pt x="7" y="116"/>
                      <a:pt x="7" y="116"/>
                    </a:cubicBezTo>
                    <a:cubicBezTo>
                      <a:pt x="3" y="116"/>
                      <a:pt x="0" y="112"/>
                      <a:pt x="0" y="10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4"/>
                      <a:pt x="4" y="1"/>
                      <a:pt x="8" y="2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60" y="0"/>
                      <a:pt x="164" y="4"/>
                      <a:pt x="164" y="8"/>
                    </a:cubicBezTo>
                    <a:cubicBezTo>
                      <a:pt x="163" y="124"/>
                      <a:pt x="163" y="124"/>
                      <a:pt x="163" y="124"/>
                    </a:cubicBezTo>
                    <a:cubicBezTo>
                      <a:pt x="163" y="128"/>
                      <a:pt x="164" y="131"/>
                      <a:pt x="160" y="131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0" name="Freeform 15">
                <a:extLst>
                  <a:ext uri="{FF2B5EF4-FFF2-40B4-BE49-F238E27FC236}">
                    <a16:creationId xmlns:a16="http://schemas.microsoft.com/office/drawing/2014/main" id="{CBDA2C5C-B5C5-460B-A675-662A3F4BBA57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5027" y="2852"/>
                <a:ext cx="120" cy="313"/>
              </a:xfrm>
              <a:custGeom>
                <a:avLst/>
                <a:gdLst>
                  <a:gd name="T0" fmla="*/ 8 w 13"/>
                  <a:gd name="T1" fmla="*/ 34 h 34"/>
                  <a:gd name="T2" fmla="*/ 5 w 13"/>
                  <a:gd name="T3" fmla="*/ 34 h 34"/>
                  <a:gd name="T4" fmla="*/ 0 w 13"/>
                  <a:gd name="T5" fmla="*/ 28 h 34"/>
                  <a:gd name="T6" fmla="*/ 0 w 13"/>
                  <a:gd name="T7" fmla="*/ 5 h 34"/>
                  <a:gd name="T8" fmla="*/ 5 w 13"/>
                  <a:gd name="T9" fmla="*/ 0 h 34"/>
                  <a:gd name="T10" fmla="*/ 8 w 13"/>
                  <a:gd name="T11" fmla="*/ 0 h 34"/>
                  <a:gd name="T12" fmla="*/ 13 w 13"/>
                  <a:gd name="T13" fmla="*/ 5 h 34"/>
                  <a:gd name="T14" fmla="*/ 13 w 13"/>
                  <a:gd name="T15" fmla="*/ 28 h 34"/>
                  <a:gd name="T16" fmla="*/ 8 w 13"/>
                  <a:gd name="T17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34">
                    <a:moveTo>
                      <a:pt x="8" y="34"/>
                    </a:moveTo>
                    <a:cubicBezTo>
                      <a:pt x="5" y="34"/>
                      <a:pt x="5" y="34"/>
                      <a:pt x="5" y="34"/>
                    </a:cubicBezTo>
                    <a:cubicBezTo>
                      <a:pt x="2" y="34"/>
                      <a:pt x="0" y="31"/>
                      <a:pt x="0" y="28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1" y="0"/>
                      <a:pt x="13" y="2"/>
                      <a:pt x="13" y="5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31"/>
                      <a:pt x="11" y="34"/>
                      <a:pt x="8" y="34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1" name="Freeform 16">
                <a:extLst>
                  <a:ext uri="{FF2B5EF4-FFF2-40B4-BE49-F238E27FC236}">
                    <a16:creationId xmlns:a16="http://schemas.microsoft.com/office/drawing/2014/main" id="{3ED460B0-4854-4550-917A-275001500EDF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5156" y="2907"/>
                <a:ext cx="129" cy="258"/>
              </a:xfrm>
              <a:custGeom>
                <a:avLst/>
                <a:gdLst>
                  <a:gd name="T0" fmla="*/ 8 w 14"/>
                  <a:gd name="T1" fmla="*/ 28 h 28"/>
                  <a:gd name="T2" fmla="*/ 5 w 14"/>
                  <a:gd name="T3" fmla="*/ 28 h 28"/>
                  <a:gd name="T4" fmla="*/ 0 w 14"/>
                  <a:gd name="T5" fmla="*/ 22 h 28"/>
                  <a:gd name="T6" fmla="*/ 0 w 14"/>
                  <a:gd name="T7" fmla="*/ 5 h 28"/>
                  <a:gd name="T8" fmla="*/ 5 w 14"/>
                  <a:gd name="T9" fmla="*/ 0 h 28"/>
                  <a:gd name="T10" fmla="*/ 8 w 14"/>
                  <a:gd name="T11" fmla="*/ 0 h 28"/>
                  <a:gd name="T12" fmla="*/ 14 w 14"/>
                  <a:gd name="T13" fmla="*/ 5 h 28"/>
                  <a:gd name="T14" fmla="*/ 14 w 14"/>
                  <a:gd name="T15" fmla="*/ 22 h 28"/>
                  <a:gd name="T16" fmla="*/ 8 w 14"/>
                  <a:gd name="T1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28">
                    <a:moveTo>
                      <a:pt x="8" y="28"/>
                    </a:moveTo>
                    <a:cubicBezTo>
                      <a:pt x="5" y="28"/>
                      <a:pt x="5" y="28"/>
                      <a:pt x="5" y="28"/>
                    </a:cubicBezTo>
                    <a:cubicBezTo>
                      <a:pt x="2" y="28"/>
                      <a:pt x="0" y="25"/>
                      <a:pt x="0" y="2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1" y="0"/>
                      <a:pt x="14" y="2"/>
                      <a:pt x="14" y="5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25"/>
                      <a:pt x="11" y="28"/>
                      <a:pt x="8" y="28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2" name="Freeform 17">
                <a:extLst>
                  <a:ext uri="{FF2B5EF4-FFF2-40B4-BE49-F238E27FC236}">
                    <a16:creationId xmlns:a16="http://schemas.microsoft.com/office/drawing/2014/main" id="{03EBFEFB-2510-463C-ACFD-6DDCDAC2AABF}"/>
                  </a:ext>
                </a:extLst>
              </p:cNvPr>
              <p:cNvSpPr>
                <a:spLocks/>
              </p:cNvSpPr>
              <p:nvPr/>
            </p:nvSpPr>
            <p:spPr bwMode="grayWhite">
              <a:xfrm>
                <a:off x="3497" y="3174"/>
                <a:ext cx="1502" cy="340"/>
              </a:xfrm>
              <a:custGeom>
                <a:avLst/>
                <a:gdLst>
                  <a:gd name="T0" fmla="*/ 163 w 163"/>
                  <a:gd name="T1" fmla="*/ 18 h 37"/>
                  <a:gd name="T2" fmla="*/ 163 w 163"/>
                  <a:gd name="T3" fmla="*/ 33 h 37"/>
                  <a:gd name="T4" fmla="*/ 159 w 163"/>
                  <a:gd name="T5" fmla="*/ 37 h 37"/>
                  <a:gd name="T6" fmla="*/ 4 w 163"/>
                  <a:gd name="T7" fmla="*/ 17 h 37"/>
                  <a:gd name="T8" fmla="*/ 0 w 163"/>
                  <a:gd name="T9" fmla="*/ 13 h 37"/>
                  <a:gd name="T10" fmla="*/ 0 w 163"/>
                  <a:gd name="T11" fmla="*/ 12 h 37"/>
                  <a:gd name="T12" fmla="*/ 0 w 163"/>
                  <a:gd name="T1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3" h="37">
                    <a:moveTo>
                      <a:pt x="163" y="18"/>
                    </a:moveTo>
                    <a:cubicBezTo>
                      <a:pt x="163" y="33"/>
                      <a:pt x="163" y="33"/>
                      <a:pt x="163" y="33"/>
                    </a:cubicBezTo>
                    <a:cubicBezTo>
                      <a:pt x="163" y="35"/>
                      <a:pt x="161" y="37"/>
                      <a:pt x="159" y="3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2" y="17"/>
                      <a:pt x="0" y="15"/>
                      <a:pt x="0" y="13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  <p:sp>
            <p:nvSpPr>
              <p:cNvPr id="53" name="Line 18">
                <a:extLst>
                  <a:ext uri="{FF2B5EF4-FFF2-40B4-BE49-F238E27FC236}">
                    <a16:creationId xmlns:a16="http://schemas.microsoft.com/office/drawing/2014/main" id="{7DDD3C03-73C9-4594-ABFC-D87998979598}"/>
                  </a:ext>
                </a:extLst>
              </p:cNvPr>
              <p:cNvSpPr>
                <a:spLocks noChangeShapeType="1"/>
              </p:cNvSpPr>
              <p:nvPr/>
            </p:nvSpPr>
            <p:spPr bwMode="grayWhite">
              <a:xfrm flipV="1">
                <a:off x="4981" y="3119"/>
                <a:ext cx="617" cy="395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11E33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05DE0A1-04EB-449D-9794-5819D77CF7BF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id="{51E2D999-718B-4202-B1C5-9CCE90BA02DF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594939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 animBg="1"/>
      <p:bldP spid="61" grpId="0" animBg="1"/>
      <p:bldP spid="6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B51289-57D5-4748-ACC0-AE1A7CE2D7D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816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B51289-57D5-4748-ACC0-AE1A7CE2D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Oval 140">
            <a:extLst>
              <a:ext uri="{FF2B5EF4-FFF2-40B4-BE49-F238E27FC236}">
                <a16:creationId xmlns:a16="http://schemas.microsoft.com/office/drawing/2014/main" id="{07794B5B-F85B-4B84-B955-A233989FCDED}"/>
              </a:ext>
            </a:extLst>
          </p:cNvPr>
          <p:cNvSpPr/>
          <p:nvPr/>
        </p:nvSpPr>
        <p:spPr>
          <a:xfrm>
            <a:off x="4969661" y="3808628"/>
            <a:ext cx="184890" cy="184890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ADACBC20-6CAD-459D-B7C7-8462D5CAFD3F}"/>
              </a:ext>
            </a:extLst>
          </p:cNvPr>
          <p:cNvSpPr/>
          <p:nvPr/>
        </p:nvSpPr>
        <p:spPr>
          <a:xfrm>
            <a:off x="2817892" y="4465382"/>
            <a:ext cx="184890" cy="184890"/>
          </a:xfrm>
          <a:prstGeom prst="ellipse">
            <a:avLst/>
          </a:prstGeom>
          <a:solidFill>
            <a:schemeClr val="accent4"/>
          </a:solidFill>
          <a:ln>
            <a:noFill/>
          </a:ln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FA6061BD-D560-49E5-BB9F-672C3DEDF691}"/>
              </a:ext>
            </a:extLst>
          </p:cNvPr>
          <p:cNvCxnSpPr/>
          <p:nvPr/>
        </p:nvCxnSpPr>
        <p:spPr>
          <a:xfrm>
            <a:off x="2914898" y="2384263"/>
            <a:ext cx="0" cy="2161458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EB03C0FC-7693-4C3B-A618-C2823E71B6CA}"/>
              </a:ext>
            </a:extLst>
          </p:cNvPr>
          <p:cNvCxnSpPr/>
          <p:nvPr/>
        </p:nvCxnSpPr>
        <p:spPr>
          <a:xfrm>
            <a:off x="5062105" y="1740654"/>
            <a:ext cx="0" cy="2161458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884285C6-B713-4EF5-99EB-8087C6807096}"/>
              </a:ext>
            </a:extLst>
          </p:cNvPr>
          <p:cNvCxnSpPr/>
          <p:nvPr/>
        </p:nvCxnSpPr>
        <p:spPr>
          <a:xfrm flipV="1">
            <a:off x="2914898" y="1746735"/>
            <a:ext cx="2147207" cy="637528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BC16CBA4-EAF3-463E-829A-CBEFA386D1FB}"/>
              </a:ext>
            </a:extLst>
          </p:cNvPr>
          <p:cNvCxnSpPr/>
          <p:nvPr/>
        </p:nvCxnSpPr>
        <p:spPr>
          <a:xfrm flipV="1">
            <a:off x="2914898" y="3264585"/>
            <a:ext cx="2147207" cy="637528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Freeform 16">
            <a:extLst>
              <a:ext uri="{FF2B5EF4-FFF2-40B4-BE49-F238E27FC236}">
                <a16:creationId xmlns:a16="http://schemas.microsoft.com/office/drawing/2014/main" id="{D1617A6F-D9FB-42EF-8535-97A551FEAEB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68390" y="2643012"/>
            <a:ext cx="440224" cy="474696"/>
          </a:xfrm>
          <a:custGeom>
            <a:avLst/>
            <a:gdLst>
              <a:gd name="T0" fmla="*/ 215 w 3189"/>
              <a:gd name="T1" fmla="*/ 2567 h 3456"/>
              <a:gd name="T2" fmla="*/ 691 w 3189"/>
              <a:gd name="T3" fmla="*/ 3049 h 3456"/>
              <a:gd name="T4" fmla="*/ 394 w 3189"/>
              <a:gd name="T5" fmla="*/ 2262 h 3456"/>
              <a:gd name="T6" fmla="*/ 2995 w 3189"/>
              <a:gd name="T7" fmla="*/ 2038 h 3456"/>
              <a:gd name="T8" fmla="*/ 2748 w 3189"/>
              <a:gd name="T9" fmla="*/ 2678 h 3456"/>
              <a:gd name="T10" fmla="*/ 2926 w 3189"/>
              <a:gd name="T11" fmla="*/ 2965 h 3456"/>
              <a:gd name="T12" fmla="*/ 3062 w 3189"/>
              <a:gd name="T13" fmla="*/ 2106 h 3456"/>
              <a:gd name="T14" fmla="*/ 2114 w 3189"/>
              <a:gd name="T15" fmla="*/ 1812 h 3456"/>
              <a:gd name="T16" fmla="*/ 1919 w 3189"/>
              <a:gd name="T17" fmla="*/ 1941 h 3456"/>
              <a:gd name="T18" fmla="*/ 1876 w 3189"/>
              <a:gd name="T19" fmla="*/ 1712 h 3456"/>
              <a:gd name="T20" fmla="*/ 1445 w 3189"/>
              <a:gd name="T21" fmla="*/ 1733 h 3456"/>
              <a:gd name="T22" fmla="*/ 1357 w 3189"/>
              <a:gd name="T23" fmla="*/ 1949 h 3456"/>
              <a:gd name="T24" fmla="*/ 1192 w 3189"/>
              <a:gd name="T25" fmla="*/ 1784 h 3456"/>
              <a:gd name="T26" fmla="*/ 138 w 3189"/>
              <a:gd name="T27" fmla="*/ 1603 h 3456"/>
              <a:gd name="T28" fmla="*/ 242 w 3189"/>
              <a:gd name="T29" fmla="*/ 1943 h 3456"/>
              <a:gd name="T30" fmla="*/ 207 w 3189"/>
              <a:gd name="T31" fmla="*/ 1550 h 3456"/>
              <a:gd name="T32" fmla="*/ 3044 w 3189"/>
              <a:gd name="T33" fmla="*/ 1826 h 3456"/>
              <a:gd name="T34" fmla="*/ 2937 w 3189"/>
              <a:gd name="T35" fmla="*/ 1483 h 3456"/>
              <a:gd name="T36" fmla="*/ 2295 w 3189"/>
              <a:gd name="T37" fmla="*/ 1128 h 3456"/>
              <a:gd name="T38" fmla="*/ 1495 w 3189"/>
              <a:gd name="T39" fmla="*/ 1580 h 3456"/>
              <a:gd name="T40" fmla="*/ 583 w 3189"/>
              <a:gd name="T41" fmla="*/ 1635 h 3456"/>
              <a:gd name="T42" fmla="*/ 700 w 3189"/>
              <a:gd name="T43" fmla="*/ 2873 h 3456"/>
              <a:gd name="T44" fmla="*/ 1340 w 3189"/>
              <a:gd name="T45" fmla="*/ 3311 h 3456"/>
              <a:gd name="T46" fmla="*/ 2103 w 3189"/>
              <a:gd name="T47" fmla="*/ 3231 h 3456"/>
              <a:gd name="T48" fmla="*/ 2629 w 3189"/>
              <a:gd name="T49" fmla="*/ 2663 h 3456"/>
              <a:gd name="T50" fmla="*/ 2667 w 3189"/>
              <a:gd name="T51" fmla="*/ 946 h 3456"/>
              <a:gd name="T52" fmla="*/ 2757 w 3189"/>
              <a:gd name="T53" fmla="*/ 866 h 3456"/>
              <a:gd name="T54" fmla="*/ 2991 w 3189"/>
              <a:gd name="T55" fmla="*/ 1380 h 3456"/>
              <a:gd name="T56" fmla="*/ 2780 w 3189"/>
              <a:gd name="T57" fmla="*/ 716 h 3456"/>
              <a:gd name="T58" fmla="*/ 1481 w 3189"/>
              <a:gd name="T59" fmla="*/ 925 h 3456"/>
              <a:gd name="T60" fmla="*/ 650 w 3189"/>
              <a:gd name="T61" fmla="*/ 1281 h 3456"/>
              <a:gd name="T62" fmla="*/ 223 w 3189"/>
              <a:gd name="T63" fmla="*/ 1433 h 3456"/>
              <a:gd name="T64" fmla="*/ 781 w 3189"/>
              <a:gd name="T65" fmla="*/ 1537 h 3456"/>
              <a:gd name="T66" fmla="*/ 1639 w 3189"/>
              <a:gd name="T67" fmla="*/ 1408 h 3456"/>
              <a:gd name="T68" fmla="*/ 2288 w 3189"/>
              <a:gd name="T69" fmla="*/ 975 h 3456"/>
              <a:gd name="T70" fmla="*/ 2622 w 3189"/>
              <a:gd name="T71" fmla="*/ 583 h 3456"/>
              <a:gd name="T72" fmla="*/ 2046 w 3189"/>
              <a:gd name="T73" fmla="*/ 484 h 3456"/>
              <a:gd name="T74" fmla="*/ 2036 w 3189"/>
              <a:gd name="T75" fmla="*/ 368 h 3456"/>
              <a:gd name="T76" fmla="*/ 2218 w 3189"/>
              <a:gd name="T77" fmla="*/ 249 h 3456"/>
              <a:gd name="T78" fmla="*/ 1508 w 3189"/>
              <a:gd name="T79" fmla="*/ 295 h 3456"/>
              <a:gd name="T80" fmla="*/ 733 w 3189"/>
              <a:gd name="T81" fmla="*/ 700 h 3456"/>
              <a:gd name="T82" fmla="*/ 312 w 3189"/>
              <a:gd name="T83" fmla="*/ 1176 h 3456"/>
              <a:gd name="T84" fmla="*/ 849 w 3189"/>
              <a:gd name="T85" fmla="*/ 1109 h 3456"/>
              <a:gd name="T86" fmla="*/ 1585 w 3189"/>
              <a:gd name="T87" fmla="*/ 692 h 3456"/>
              <a:gd name="T88" fmla="*/ 1982 w 3189"/>
              <a:gd name="T89" fmla="*/ 242 h 3456"/>
              <a:gd name="T90" fmla="*/ 927 w 3189"/>
              <a:gd name="T91" fmla="*/ 303 h 3456"/>
              <a:gd name="T92" fmla="*/ 323 w 3189"/>
              <a:gd name="T93" fmla="*/ 960 h 3456"/>
              <a:gd name="T94" fmla="*/ 955 w 3189"/>
              <a:gd name="T95" fmla="*/ 401 h 3456"/>
              <a:gd name="T96" fmla="*/ 1751 w 3189"/>
              <a:gd name="T97" fmla="*/ 121 h 3456"/>
              <a:gd name="T98" fmla="*/ 2276 w 3189"/>
              <a:gd name="T99" fmla="*/ 148 h 3456"/>
              <a:gd name="T100" fmla="*/ 2958 w 3189"/>
              <a:gd name="T101" fmla="*/ 777 h 3456"/>
              <a:gd name="T102" fmla="*/ 3189 w 3189"/>
              <a:gd name="T103" fmla="*/ 1694 h 3456"/>
              <a:gd name="T104" fmla="*/ 3150 w 3189"/>
              <a:gd name="T105" fmla="*/ 2473 h 3456"/>
              <a:gd name="T106" fmla="*/ 2982 w 3189"/>
              <a:gd name="T107" fmla="*/ 3114 h 3456"/>
              <a:gd name="T108" fmla="*/ 2302 w 3189"/>
              <a:gd name="T109" fmla="*/ 3248 h 3456"/>
              <a:gd name="T110" fmla="*/ 1588 w 3189"/>
              <a:gd name="T111" fmla="*/ 3456 h 3456"/>
              <a:gd name="T112" fmla="*/ 811 w 3189"/>
              <a:gd name="T113" fmla="*/ 3167 h 3456"/>
              <a:gd name="T114" fmla="*/ 163 w 3189"/>
              <a:gd name="T115" fmla="*/ 2889 h 3456"/>
              <a:gd name="T116" fmla="*/ 67 w 3189"/>
              <a:gd name="T117" fmla="*/ 2195 h 3456"/>
              <a:gd name="T118" fmla="*/ 3 w 3189"/>
              <a:gd name="T119" fmla="*/ 1663 h 3456"/>
              <a:gd name="T120" fmla="*/ 201 w 3189"/>
              <a:gd name="T121" fmla="*/ 948 h 3456"/>
              <a:gd name="T122" fmla="*/ 812 w 3189"/>
              <a:gd name="T123" fmla="*/ 237 h 3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89" h="3456">
                <a:moveTo>
                  <a:pt x="178" y="2039"/>
                </a:moveTo>
                <a:lnTo>
                  <a:pt x="179" y="2088"/>
                </a:lnTo>
                <a:lnTo>
                  <a:pt x="181" y="2141"/>
                </a:lnTo>
                <a:lnTo>
                  <a:pt x="183" y="2196"/>
                </a:lnTo>
                <a:lnTo>
                  <a:pt x="186" y="2255"/>
                </a:lnTo>
                <a:lnTo>
                  <a:pt x="190" y="2316"/>
                </a:lnTo>
                <a:lnTo>
                  <a:pt x="195" y="2377"/>
                </a:lnTo>
                <a:lnTo>
                  <a:pt x="200" y="2440"/>
                </a:lnTo>
                <a:lnTo>
                  <a:pt x="207" y="2503"/>
                </a:lnTo>
                <a:lnTo>
                  <a:pt x="215" y="2567"/>
                </a:lnTo>
                <a:lnTo>
                  <a:pt x="224" y="2629"/>
                </a:lnTo>
                <a:lnTo>
                  <a:pt x="235" y="2690"/>
                </a:lnTo>
                <a:lnTo>
                  <a:pt x="246" y="2750"/>
                </a:lnTo>
                <a:lnTo>
                  <a:pt x="260" y="2808"/>
                </a:lnTo>
                <a:lnTo>
                  <a:pt x="275" y="2862"/>
                </a:lnTo>
                <a:lnTo>
                  <a:pt x="292" y="2912"/>
                </a:lnTo>
                <a:lnTo>
                  <a:pt x="312" y="2960"/>
                </a:lnTo>
                <a:lnTo>
                  <a:pt x="333" y="3003"/>
                </a:lnTo>
                <a:lnTo>
                  <a:pt x="356" y="3040"/>
                </a:lnTo>
                <a:lnTo>
                  <a:pt x="691" y="3049"/>
                </a:lnTo>
                <a:lnTo>
                  <a:pt x="638" y="2984"/>
                </a:lnTo>
                <a:lnTo>
                  <a:pt x="590" y="2915"/>
                </a:lnTo>
                <a:lnTo>
                  <a:pt x="546" y="2842"/>
                </a:lnTo>
                <a:lnTo>
                  <a:pt x="507" y="2768"/>
                </a:lnTo>
                <a:lnTo>
                  <a:pt x="473" y="2689"/>
                </a:lnTo>
                <a:lnTo>
                  <a:pt x="445" y="2609"/>
                </a:lnTo>
                <a:lnTo>
                  <a:pt x="423" y="2525"/>
                </a:lnTo>
                <a:lnTo>
                  <a:pt x="406" y="2439"/>
                </a:lnTo>
                <a:lnTo>
                  <a:pt x="397" y="2351"/>
                </a:lnTo>
                <a:lnTo>
                  <a:pt x="394" y="2262"/>
                </a:lnTo>
                <a:lnTo>
                  <a:pt x="394" y="2103"/>
                </a:lnTo>
                <a:lnTo>
                  <a:pt x="393" y="2103"/>
                </a:lnTo>
                <a:lnTo>
                  <a:pt x="346" y="2101"/>
                </a:lnTo>
                <a:lnTo>
                  <a:pt x="301" y="2092"/>
                </a:lnTo>
                <a:lnTo>
                  <a:pt x="258" y="2079"/>
                </a:lnTo>
                <a:lnTo>
                  <a:pt x="217" y="2061"/>
                </a:lnTo>
                <a:lnTo>
                  <a:pt x="178" y="2039"/>
                </a:lnTo>
                <a:close/>
                <a:moveTo>
                  <a:pt x="3066" y="1986"/>
                </a:moveTo>
                <a:lnTo>
                  <a:pt x="3033" y="2014"/>
                </a:lnTo>
                <a:lnTo>
                  <a:pt x="2995" y="2038"/>
                </a:lnTo>
                <a:lnTo>
                  <a:pt x="2955" y="2058"/>
                </a:lnTo>
                <a:lnTo>
                  <a:pt x="2913" y="2073"/>
                </a:lnTo>
                <a:lnTo>
                  <a:pt x="2868" y="2082"/>
                </a:lnTo>
                <a:lnTo>
                  <a:pt x="2822" y="2086"/>
                </a:lnTo>
                <a:lnTo>
                  <a:pt x="2822" y="2263"/>
                </a:lnTo>
                <a:lnTo>
                  <a:pt x="2819" y="2350"/>
                </a:lnTo>
                <a:lnTo>
                  <a:pt x="2810" y="2435"/>
                </a:lnTo>
                <a:lnTo>
                  <a:pt x="2795" y="2519"/>
                </a:lnTo>
                <a:lnTo>
                  <a:pt x="2774" y="2599"/>
                </a:lnTo>
                <a:lnTo>
                  <a:pt x="2748" y="2678"/>
                </a:lnTo>
                <a:lnTo>
                  <a:pt x="2716" y="2754"/>
                </a:lnTo>
                <a:lnTo>
                  <a:pt x="2680" y="2828"/>
                </a:lnTo>
                <a:lnTo>
                  <a:pt x="2638" y="2898"/>
                </a:lnTo>
                <a:lnTo>
                  <a:pt x="2593" y="2966"/>
                </a:lnTo>
                <a:lnTo>
                  <a:pt x="2543" y="3030"/>
                </a:lnTo>
                <a:lnTo>
                  <a:pt x="2488" y="3089"/>
                </a:lnTo>
                <a:lnTo>
                  <a:pt x="2855" y="3099"/>
                </a:lnTo>
                <a:lnTo>
                  <a:pt x="2880" y="3061"/>
                </a:lnTo>
                <a:lnTo>
                  <a:pt x="2904" y="3016"/>
                </a:lnTo>
                <a:lnTo>
                  <a:pt x="2926" y="2965"/>
                </a:lnTo>
                <a:lnTo>
                  <a:pt x="2946" y="2907"/>
                </a:lnTo>
                <a:lnTo>
                  <a:pt x="2965" y="2843"/>
                </a:lnTo>
                <a:lnTo>
                  <a:pt x="2982" y="2773"/>
                </a:lnTo>
                <a:lnTo>
                  <a:pt x="2998" y="2697"/>
                </a:lnTo>
                <a:lnTo>
                  <a:pt x="3013" y="2613"/>
                </a:lnTo>
                <a:lnTo>
                  <a:pt x="3025" y="2524"/>
                </a:lnTo>
                <a:lnTo>
                  <a:pt x="3037" y="2429"/>
                </a:lnTo>
                <a:lnTo>
                  <a:pt x="3046" y="2328"/>
                </a:lnTo>
                <a:lnTo>
                  <a:pt x="3055" y="2220"/>
                </a:lnTo>
                <a:lnTo>
                  <a:pt x="3062" y="2106"/>
                </a:lnTo>
                <a:lnTo>
                  <a:pt x="3066" y="1986"/>
                </a:lnTo>
                <a:close/>
                <a:moveTo>
                  <a:pt x="1974" y="1671"/>
                </a:moveTo>
                <a:lnTo>
                  <a:pt x="2002" y="1675"/>
                </a:lnTo>
                <a:lnTo>
                  <a:pt x="2029" y="1682"/>
                </a:lnTo>
                <a:lnTo>
                  <a:pt x="2052" y="1696"/>
                </a:lnTo>
                <a:lnTo>
                  <a:pt x="2073" y="1712"/>
                </a:lnTo>
                <a:lnTo>
                  <a:pt x="2090" y="1733"/>
                </a:lnTo>
                <a:lnTo>
                  <a:pt x="2104" y="1757"/>
                </a:lnTo>
                <a:lnTo>
                  <a:pt x="2112" y="1784"/>
                </a:lnTo>
                <a:lnTo>
                  <a:pt x="2114" y="1812"/>
                </a:lnTo>
                <a:lnTo>
                  <a:pt x="2112" y="1840"/>
                </a:lnTo>
                <a:lnTo>
                  <a:pt x="2104" y="1866"/>
                </a:lnTo>
                <a:lnTo>
                  <a:pt x="2090" y="1889"/>
                </a:lnTo>
                <a:lnTo>
                  <a:pt x="2073" y="1910"/>
                </a:lnTo>
                <a:lnTo>
                  <a:pt x="2052" y="1928"/>
                </a:lnTo>
                <a:lnTo>
                  <a:pt x="2029" y="1941"/>
                </a:lnTo>
                <a:lnTo>
                  <a:pt x="2002" y="1949"/>
                </a:lnTo>
                <a:lnTo>
                  <a:pt x="1974" y="1952"/>
                </a:lnTo>
                <a:lnTo>
                  <a:pt x="1947" y="1949"/>
                </a:lnTo>
                <a:lnTo>
                  <a:pt x="1919" y="1941"/>
                </a:lnTo>
                <a:lnTo>
                  <a:pt x="1896" y="1928"/>
                </a:lnTo>
                <a:lnTo>
                  <a:pt x="1876" y="1910"/>
                </a:lnTo>
                <a:lnTo>
                  <a:pt x="1859" y="1889"/>
                </a:lnTo>
                <a:lnTo>
                  <a:pt x="1845" y="1866"/>
                </a:lnTo>
                <a:lnTo>
                  <a:pt x="1837" y="1840"/>
                </a:lnTo>
                <a:lnTo>
                  <a:pt x="1835" y="1812"/>
                </a:lnTo>
                <a:lnTo>
                  <a:pt x="1837" y="1784"/>
                </a:lnTo>
                <a:lnTo>
                  <a:pt x="1845" y="1757"/>
                </a:lnTo>
                <a:lnTo>
                  <a:pt x="1859" y="1733"/>
                </a:lnTo>
                <a:lnTo>
                  <a:pt x="1876" y="1712"/>
                </a:lnTo>
                <a:lnTo>
                  <a:pt x="1896" y="1696"/>
                </a:lnTo>
                <a:lnTo>
                  <a:pt x="1919" y="1682"/>
                </a:lnTo>
                <a:lnTo>
                  <a:pt x="1947" y="1675"/>
                </a:lnTo>
                <a:lnTo>
                  <a:pt x="1974" y="1671"/>
                </a:lnTo>
                <a:close/>
                <a:moveTo>
                  <a:pt x="1329" y="1671"/>
                </a:moveTo>
                <a:lnTo>
                  <a:pt x="1357" y="1675"/>
                </a:lnTo>
                <a:lnTo>
                  <a:pt x="1383" y="1682"/>
                </a:lnTo>
                <a:lnTo>
                  <a:pt x="1407" y="1696"/>
                </a:lnTo>
                <a:lnTo>
                  <a:pt x="1427" y="1712"/>
                </a:lnTo>
                <a:lnTo>
                  <a:pt x="1445" y="1733"/>
                </a:lnTo>
                <a:lnTo>
                  <a:pt x="1458" y="1757"/>
                </a:lnTo>
                <a:lnTo>
                  <a:pt x="1466" y="1784"/>
                </a:lnTo>
                <a:lnTo>
                  <a:pt x="1469" y="1812"/>
                </a:lnTo>
                <a:lnTo>
                  <a:pt x="1466" y="1840"/>
                </a:lnTo>
                <a:lnTo>
                  <a:pt x="1458" y="1866"/>
                </a:lnTo>
                <a:lnTo>
                  <a:pt x="1445" y="1889"/>
                </a:lnTo>
                <a:lnTo>
                  <a:pt x="1427" y="1910"/>
                </a:lnTo>
                <a:lnTo>
                  <a:pt x="1407" y="1928"/>
                </a:lnTo>
                <a:lnTo>
                  <a:pt x="1383" y="1941"/>
                </a:lnTo>
                <a:lnTo>
                  <a:pt x="1357" y="1949"/>
                </a:lnTo>
                <a:lnTo>
                  <a:pt x="1329" y="1952"/>
                </a:lnTo>
                <a:lnTo>
                  <a:pt x="1301" y="1949"/>
                </a:lnTo>
                <a:lnTo>
                  <a:pt x="1274" y="1941"/>
                </a:lnTo>
                <a:lnTo>
                  <a:pt x="1250" y="1928"/>
                </a:lnTo>
                <a:lnTo>
                  <a:pt x="1229" y="1910"/>
                </a:lnTo>
                <a:lnTo>
                  <a:pt x="1213" y="1889"/>
                </a:lnTo>
                <a:lnTo>
                  <a:pt x="1200" y="1866"/>
                </a:lnTo>
                <a:lnTo>
                  <a:pt x="1192" y="1840"/>
                </a:lnTo>
                <a:lnTo>
                  <a:pt x="1189" y="1812"/>
                </a:lnTo>
                <a:lnTo>
                  <a:pt x="1192" y="1784"/>
                </a:lnTo>
                <a:lnTo>
                  <a:pt x="1200" y="1757"/>
                </a:lnTo>
                <a:lnTo>
                  <a:pt x="1213" y="1733"/>
                </a:lnTo>
                <a:lnTo>
                  <a:pt x="1229" y="1712"/>
                </a:lnTo>
                <a:lnTo>
                  <a:pt x="1250" y="1696"/>
                </a:lnTo>
                <a:lnTo>
                  <a:pt x="1274" y="1682"/>
                </a:lnTo>
                <a:lnTo>
                  <a:pt x="1301" y="1675"/>
                </a:lnTo>
                <a:lnTo>
                  <a:pt x="1329" y="1671"/>
                </a:lnTo>
                <a:close/>
                <a:moveTo>
                  <a:pt x="176" y="1539"/>
                </a:moveTo>
                <a:lnTo>
                  <a:pt x="155" y="1570"/>
                </a:lnTo>
                <a:lnTo>
                  <a:pt x="138" y="1603"/>
                </a:lnTo>
                <a:lnTo>
                  <a:pt x="126" y="1637"/>
                </a:lnTo>
                <a:lnTo>
                  <a:pt x="118" y="1674"/>
                </a:lnTo>
                <a:lnTo>
                  <a:pt x="115" y="1710"/>
                </a:lnTo>
                <a:lnTo>
                  <a:pt x="118" y="1751"/>
                </a:lnTo>
                <a:lnTo>
                  <a:pt x="128" y="1790"/>
                </a:lnTo>
                <a:lnTo>
                  <a:pt x="141" y="1827"/>
                </a:lnTo>
                <a:lnTo>
                  <a:pt x="160" y="1861"/>
                </a:lnTo>
                <a:lnTo>
                  <a:pt x="183" y="1892"/>
                </a:lnTo>
                <a:lnTo>
                  <a:pt x="210" y="1920"/>
                </a:lnTo>
                <a:lnTo>
                  <a:pt x="242" y="1943"/>
                </a:lnTo>
                <a:lnTo>
                  <a:pt x="275" y="1962"/>
                </a:lnTo>
                <a:lnTo>
                  <a:pt x="313" y="1976"/>
                </a:lnTo>
                <a:lnTo>
                  <a:pt x="352" y="1985"/>
                </a:lnTo>
                <a:lnTo>
                  <a:pt x="393" y="1988"/>
                </a:lnTo>
                <a:lnTo>
                  <a:pt x="394" y="1988"/>
                </a:lnTo>
                <a:lnTo>
                  <a:pt x="394" y="1600"/>
                </a:lnTo>
                <a:lnTo>
                  <a:pt x="339" y="1588"/>
                </a:lnTo>
                <a:lnTo>
                  <a:pt x="289" y="1574"/>
                </a:lnTo>
                <a:lnTo>
                  <a:pt x="246" y="1563"/>
                </a:lnTo>
                <a:lnTo>
                  <a:pt x="207" y="1550"/>
                </a:lnTo>
                <a:lnTo>
                  <a:pt x="176" y="1539"/>
                </a:lnTo>
                <a:close/>
                <a:moveTo>
                  <a:pt x="2822" y="1452"/>
                </a:moveTo>
                <a:lnTo>
                  <a:pt x="2822" y="1969"/>
                </a:lnTo>
                <a:lnTo>
                  <a:pt x="2863" y="1964"/>
                </a:lnTo>
                <a:lnTo>
                  <a:pt x="2901" y="1953"/>
                </a:lnTo>
                <a:lnTo>
                  <a:pt x="2937" y="1937"/>
                </a:lnTo>
                <a:lnTo>
                  <a:pt x="2970" y="1915"/>
                </a:lnTo>
                <a:lnTo>
                  <a:pt x="2999" y="1890"/>
                </a:lnTo>
                <a:lnTo>
                  <a:pt x="3023" y="1860"/>
                </a:lnTo>
                <a:lnTo>
                  <a:pt x="3044" y="1826"/>
                </a:lnTo>
                <a:lnTo>
                  <a:pt x="3059" y="1791"/>
                </a:lnTo>
                <a:lnTo>
                  <a:pt x="3068" y="1751"/>
                </a:lnTo>
                <a:lnTo>
                  <a:pt x="3072" y="1710"/>
                </a:lnTo>
                <a:lnTo>
                  <a:pt x="3069" y="1669"/>
                </a:lnTo>
                <a:lnTo>
                  <a:pt x="3060" y="1631"/>
                </a:lnTo>
                <a:lnTo>
                  <a:pt x="3044" y="1594"/>
                </a:lnTo>
                <a:lnTo>
                  <a:pt x="3024" y="1560"/>
                </a:lnTo>
                <a:lnTo>
                  <a:pt x="2999" y="1530"/>
                </a:lnTo>
                <a:lnTo>
                  <a:pt x="2970" y="1505"/>
                </a:lnTo>
                <a:lnTo>
                  <a:pt x="2937" y="1483"/>
                </a:lnTo>
                <a:lnTo>
                  <a:pt x="2902" y="1467"/>
                </a:lnTo>
                <a:lnTo>
                  <a:pt x="2863" y="1456"/>
                </a:lnTo>
                <a:lnTo>
                  <a:pt x="2822" y="1452"/>
                </a:lnTo>
                <a:close/>
                <a:moveTo>
                  <a:pt x="2590" y="821"/>
                </a:moveTo>
                <a:lnTo>
                  <a:pt x="2551" y="868"/>
                </a:lnTo>
                <a:lnTo>
                  <a:pt x="2507" y="917"/>
                </a:lnTo>
                <a:lnTo>
                  <a:pt x="2461" y="969"/>
                </a:lnTo>
                <a:lnTo>
                  <a:pt x="2410" y="1021"/>
                </a:lnTo>
                <a:lnTo>
                  <a:pt x="2354" y="1075"/>
                </a:lnTo>
                <a:lnTo>
                  <a:pt x="2295" y="1128"/>
                </a:lnTo>
                <a:lnTo>
                  <a:pt x="2234" y="1181"/>
                </a:lnTo>
                <a:lnTo>
                  <a:pt x="2167" y="1234"/>
                </a:lnTo>
                <a:lnTo>
                  <a:pt x="2096" y="1286"/>
                </a:lnTo>
                <a:lnTo>
                  <a:pt x="2022" y="1336"/>
                </a:lnTo>
                <a:lnTo>
                  <a:pt x="1945" y="1384"/>
                </a:lnTo>
                <a:lnTo>
                  <a:pt x="1863" y="1431"/>
                </a:lnTo>
                <a:lnTo>
                  <a:pt x="1778" y="1474"/>
                </a:lnTo>
                <a:lnTo>
                  <a:pt x="1689" y="1512"/>
                </a:lnTo>
                <a:lnTo>
                  <a:pt x="1596" y="1548"/>
                </a:lnTo>
                <a:lnTo>
                  <a:pt x="1495" y="1580"/>
                </a:lnTo>
                <a:lnTo>
                  <a:pt x="1395" y="1607"/>
                </a:lnTo>
                <a:lnTo>
                  <a:pt x="1296" y="1626"/>
                </a:lnTo>
                <a:lnTo>
                  <a:pt x="1199" y="1642"/>
                </a:lnTo>
                <a:lnTo>
                  <a:pt x="1104" y="1653"/>
                </a:lnTo>
                <a:lnTo>
                  <a:pt x="1011" y="1658"/>
                </a:lnTo>
                <a:lnTo>
                  <a:pt x="919" y="1660"/>
                </a:lnTo>
                <a:lnTo>
                  <a:pt x="829" y="1658"/>
                </a:lnTo>
                <a:lnTo>
                  <a:pt x="743" y="1653"/>
                </a:lnTo>
                <a:lnTo>
                  <a:pt x="661" y="1645"/>
                </a:lnTo>
                <a:lnTo>
                  <a:pt x="583" y="1635"/>
                </a:lnTo>
                <a:lnTo>
                  <a:pt x="509" y="1623"/>
                </a:lnTo>
                <a:lnTo>
                  <a:pt x="509" y="2262"/>
                </a:lnTo>
                <a:lnTo>
                  <a:pt x="512" y="2346"/>
                </a:lnTo>
                <a:lnTo>
                  <a:pt x="521" y="2429"/>
                </a:lnTo>
                <a:lnTo>
                  <a:pt x="537" y="2509"/>
                </a:lnTo>
                <a:lnTo>
                  <a:pt x="559" y="2587"/>
                </a:lnTo>
                <a:lnTo>
                  <a:pt x="586" y="2663"/>
                </a:lnTo>
                <a:lnTo>
                  <a:pt x="619" y="2735"/>
                </a:lnTo>
                <a:lnTo>
                  <a:pt x="657" y="2806"/>
                </a:lnTo>
                <a:lnTo>
                  <a:pt x="700" y="2873"/>
                </a:lnTo>
                <a:lnTo>
                  <a:pt x="747" y="2936"/>
                </a:lnTo>
                <a:lnTo>
                  <a:pt x="798" y="2995"/>
                </a:lnTo>
                <a:lnTo>
                  <a:pt x="853" y="3052"/>
                </a:lnTo>
                <a:lnTo>
                  <a:pt x="913" y="3103"/>
                </a:lnTo>
                <a:lnTo>
                  <a:pt x="977" y="3150"/>
                </a:lnTo>
                <a:lnTo>
                  <a:pt x="1043" y="3193"/>
                </a:lnTo>
                <a:lnTo>
                  <a:pt x="1113" y="3231"/>
                </a:lnTo>
                <a:lnTo>
                  <a:pt x="1186" y="3263"/>
                </a:lnTo>
                <a:lnTo>
                  <a:pt x="1262" y="3291"/>
                </a:lnTo>
                <a:lnTo>
                  <a:pt x="1340" y="3311"/>
                </a:lnTo>
                <a:lnTo>
                  <a:pt x="1421" y="3327"/>
                </a:lnTo>
                <a:lnTo>
                  <a:pt x="1503" y="3337"/>
                </a:lnTo>
                <a:lnTo>
                  <a:pt x="1588" y="3340"/>
                </a:lnTo>
                <a:lnTo>
                  <a:pt x="1629" y="3340"/>
                </a:lnTo>
                <a:lnTo>
                  <a:pt x="1714" y="3337"/>
                </a:lnTo>
                <a:lnTo>
                  <a:pt x="1796" y="3327"/>
                </a:lnTo>
                <a:lnTo>
                  <a:pt x="1877" y="3311"/>
                </a:lnTo>
                <a:lnTo>
                  <a:pt x="1954" y="3291"/>
                </a:lnTo>
                <a:lnTo>
                  <a:pt x="2030" y="3263"/>
                </a:lnTo>
                <a:lnTo>
                  <a:pt x="2103" y="3231"/>
                </a:lnTo>
                <a:lnTo>
                  <a:pt x="2173" y="3193"/>
                </a:lnTo>
                <a:lnTo>
                  <a:pt x="2240" y="3150"/>
                </a:lnTo>
                <a:lnTo>
                  <a:pt x="2303" y="3103"/>
                </a:lnTo>
                <a:lnTo>
                  <a:pt x="2362" y="3052"/>
                </a:lnTo>
                <a:lnTo>
                  <a:pt x="2418" y="2996"/>
                </a:lnTo>
                <a:lnTo>
                  <a:pt x="2469" y="2937"/>
                </a:lnTo>
                <a:lnTo>
                  <a:pt x="2516" y="2873"/>
                </a:lnTo>
                <a:lnTo>
                  <a:pt x="2559" y="2807"/>
                </a:lnTo>
                <a:lnTo>
                  <a:pt x="2597" y="2737"/>
                </a:lnTo>
                <a:lnTo>
                  <a:pt x="2629" y="2663"/>
                </a:lnTo>
                <a:lnTo>
                  <a:pt x="2657" y="2588"/>
                </a:lnTo>
                <a:lnTo>
                  <a:pt x="2678" y="2510"/>
                </a:lnTo>
                <a:lnTo>
                  <a:pt x="2693" y="2430"/>
                </a:lnTo>
                <a:lnTo>
                  <a:pt x="2704" y="2347"/>
                </a:lnTo>
                <a:lnTo>
                  <a:pt x="2707" y="2263"/>
                </a:lnTo>
                <a:lnTo>
                  <a:pt x="2707" y="1136"/>
                </a:lnTo>
                <a:lnTo>
                  <a:pt x="2704" y="1087"/>
                </a:lnTo>
                <a:lnTo>
                  <a:pt x="2696" y="1039"/>
                </a:lnTo>
                <a:lnTo>
                  <a:pt x="2684" y="992"/>
                </a:lnTo>
                <a:lnTo>
                  <a:pt x="2667" y="946"/>
                </a:lnTo>
                <a:lnTo>
                  <a:pt x="2645" y="902"/>
                </a:lnTo>
                <a:lnTo>
                  <a:pt x="2620" y="860"/>
                </a:lnTo>
                <a:lnTo>
                  <a:pt x="2590" y="821"/>
                </a:lnTo>
                <a:close/>
                <a:moveTo>
                  <a:pt x="2723" y="642"/>
                </a:moveTo>
                <a:lnTo>
                  <a:pt x="2706" y="667"/>
                </a:lnTo>
                <a:lnTo>
                  <a:pt x="2685" y="696"/>
                </a:lnTo>
                <a:lnTo>
                  <a:pt x="2662" y="728"/>
                </a:lnTo>
                <a:lnTo>
                  <a:pt x="2699" y="772"/>
                </a:lnTo>
                <a:lnTo>
                  <a:pt x="2730" y="818"/>
                </a:lnTo>
                <a:lnTo>
                  <a:pt x="2757" y="866"/>
                </a:lnTo>
                <a:lnTo>
                  <a:pt x="2780" y="917"/>
                </a:lnTo>
                <a:lnTo>
                  <a:pt x="2798" y="970"/>
                </a:lnTo>
                <a:lnTo>
                  <a:pt x="2812" y="1024"/>
                </a:lnTo>
                <a:lnTo>
                  <a:pt x="2820" y="1080"/>
                </a:lnTo>
                <a:lnTo>
                  <a:pt x="2822" y="1136"/>
                </a:lnTo>
                <a:lnTo>
                  <a:pt x="2822" y="1335"/>
                </a:lnTo>
                <a:lnTo>
                  <a:pt x="2867" y="1338"/>
                </a:lnTo>
                <a:lnTo>
                  <a:pt x="2910" y="1348"/>
                </a:lnTo>
                <a:lnTo>
                  <a:pt x="2952" y="1361"/>
                </a:lnTo>
                <a:lnTo>
                  <a:pt x="2991" y="1380"/>
                </a:lnTo>
                <a:lnTo>
                  <a:pt x="3026" y="1402"/>
                </a:lnTo>
                <a:lnTo>
                  <a:pt x="3060" y="1428"/>
                </a:lnTo>
                <a:lnTo>
                  <a:pt x="3045" y="1331"/>
                </a:lnTo>
                <a:lnTo>
                  <a:pt x="3023" y="1235"/>
                </a:lnTo>
                <a:lnTo>
                  <a:pt x="2996" y="1140"/>
                </a:lnTo>
                <a:lnTo>
                  <a:pt x="2964" y="1049"/>
                </a:lnTo>
                <a:lnTo>
                  <a:pt x="2925" y="961"/>
                </a:lnTo>
                <a:lnTo>
                  <a:pt x="2882" y="877"/>
                </a:lnTo>
                <a:lnTo>
                  <a:pt x="2834" y="795"/>
                </a:lnTo>
                <a:lnTo>
                  <a:pt x="2780" y="716"/>
                </a:lnTo>
                <a:lnTo>
                  <a:pt x="2723" y="642"/>
                </a:lnTo>
                <a:close/>
                <a:moveTo>
                  <a:pt x="1952" y="478"/>
                </a:moveTo>
                <a:lnTo>
                  <a:pt x="1908" y="531"/>
                </a:lnTo>
                <a:lnTo>
                  <a:pt x="1860" y="585"/>
                </a:lnTo>
                <a:lnTo>
                  <a:pt x="1807" y="641"/>
                </a:lnTo>
                <a:lnTo>
                  <a:pt x="1751" y="699"/>
                </a:lnTo>
                <a:lnTo>
                  <a:pt x="1690" y="756"/>
                </a:lnTo>
                <a:lnTo>
                  <a:pt x="1624" y="813"/>
                </a:lnTo>
                <a:lnTo>
                  <a:pt x="1555" y="869"/>
                </a:lnTo>
                <a:lnTo>
                  <a:pt x="1481" y="925"/>
                </a:lnTo>
                <a:lnTo>
                  <a:pt x="1402" y="977"/>
                </a:lnTo>
                <a:lnTo>
                  <a:pt x="1319" y="1028"/>
                </a:lnTo>
                <a:lnTo>
                  <a:pt x="1230" y="1078"/>
                </a:lnTo>
                <a:lnTo>
                  <a:pt x="1142" y="1121"/>
                </a:lnTo>
                <a:lnTo>
                  <a:pt x="1055" y="1158"/>
                </a:lnTo>
                <a:lnTo>
                  <a:pt x="969" y="1192"/>
                </a:lnTo>
                <a:lnTo>
                  <a:pt x="885" y="1220"/>
                </a:lnTo>
                <a:lnTo>
                  <a:pt x="803" y="1244"/>
                </a:lnTo>
                <a:lnTo>
                  <a:pt x="725" y="1264"/>
                </a:lnTo>
                <a:lnTo>
                  <a:pt x="650" y="1281"/>
                </a:lnTo>
                <a:lnTo>
                  <a:pt x="579" y="1294"/>
                </a:lnTo>
                <a:lnTo>
                  <a:pt x="512" y="1305"/>
                </a:lnTo>
                <a:lnTo>
                  <a:pt x="450" y="1313"/>
                </a:lnTo>
                <a:lnTo>
                  <a:pt x="393" y="1319"/>
                </a:lnTo>
                <a:lnTo>
                  <a:pt x="342" y="1323"/>
                </a:lnTo>
                <a:lnTo>
                  <a:pt x="297" y="1325"/>
                </a:lnTo>
                <a:lnTo>
                  <a:pt x="275" y="1356"/>
                </a:lnTo>
                <a:lnTo>
                  <a:pt x="256" y="1384"/>
                </a:lnTo>
                <a:lnTo>
                  <a:pt x="238" y="1411"/>
                </a:lnTo>
                <a:lnTo>
                  <a:pt x="223" y="1433"/>
                </a:lnTo>
                <a:lnTo>
                  <a:pt x="256" y="1443"/>
                </a:lnTo>
                <a:lnTo>
                  <a:pt x="294" y="1455"/>
                </a:lnTo>
                <a:lnTo>
                  <a:pt x="338" y="1467"/>
                </a:lnTo>
                <a:lnTo>
                  <a:pt x="389" y="1479"/>
                </a:lnTo>
                <a:lnTo>
                  <a:pt x="443" y="1491"/>
                </a:lnTo>
                <a:lnTo>
                  <a:pt x="503" y="1503"/>
                </a:lnTo>
                <a:lnTo>
                  <a:pt x="567" y="1514"/>
                </a:lnTo>
                <a:lnTo>
                  <a:pt x="635" y="1524"/>
                </a:lnTo>
                <a:lnTo>
                  <a:pt x="707" y="1532"/>
                </a:lnTo>
                <a:lnTo>
                  <a:pt x="781" y="1537"/>
                </a:lnTo>
                <a:lnTo>
                  <a:pt x="860" y="1542"/>
                </a:lnTo>
                <a:lnTo>
                  <a:pt x="940" y="1543"/>
                </a:lnTo>
                <a:lnTo>
                  <a:pt x="1024" y="1541"/>
                </a:lnTo>
                <a:lnTo>
                  <a:pt x="1110" y="1534"/>
                </a:lnTo>
                <a:lnTo>
                  <a:pt x="1197" y="1525"/>
                </a:lnTo>
                <a:lnTo>
                  <a:pt x="1286" y="1510"/>
                </a:lnTo>
                <a:lnTo>
                  <a:pt x="1376" y="1491"/>
                </a:lnTo>
                <a:lnTo>
                  <a:pt x="1466" y="1468"/>
                </a:lnTo>
                <a:lnTo>
                  <a:pt x="1558" y="1439"/>
                </a:lnTo>
                <a:lnTo>
                  <a:pt x="1639" y="1408"/>
                </a:lnTo>
                <a:lnTo>
                  <a:pt x="1717" y="1374"/>
                </a:lnTo>
                <a:lnTo>
                  <a:pt x="1793" y="1336"/>
                </a:lnTo>
                <a:lnTo>
                  <a:pt x="1865" y="1297"/>
                </a:lnTo>
                <a:lnTo>
                  <a:pt x="1934" y="1255"/>
                </a:lnTo>
                <a:lnTo>
                  <a:pt x="2001" y="1210"/>
                </a:lnTo>
                <a:lnTo>
                  <a:pt x="2065" y="1165"/>
                </a:lnTo>
                <a:lnTo>
                  <a:pt x="2125" y="1117"/>
                </a:lnTo>
                <a:lnTo>
                  <a:pt x="2182" y="1070"/>
                </a:lnTo>
                <a:lnTo>
                  <a:pt x="2237" y="1023"/>
                </a:lnTo>
                <a:lnTo>
                  <a:pt x="2288" y="975"/>
                </a:lnTo>
                <a:lnTo>
                  <a:pt x="2336" y="928"/>
                </a:lnTo>
                <a:lnTo>
                  <a:pt x="2381" y="881"/>
                </a:lnTo>
                <a:lnTo>
                  <a:pt x="2423" y="836"/>
                </a:lnTo>
                <a:lnTo>
                  <a:pt x="2461" y="792"/>
                </a:lnTo>
                <a:lnTo>
                  <a:pt x="2496" y="750"/>
                </a:lnTo>
                <a:lnTo>
                  <a:pt x="2528" y="711"/>
                </a:lnTo>
                <a:lnTo>
                  <a:pt x="2557" y="674"/>
                </a:lnTo>
                <a:lnTo>
                  <a:pt x="2582" y="640"/>
                </a:lnTo>
                <a:lnTo>
                  <a:pt x="2603" y="610"/>
                </a:lnTo>
                <a:lnTo>
                  <a:pt x="2622" y="583"/>
                </a:lnTo>
                <a:lnTo>
                  <a:pt x="2588" y="574"/>
                </a:lnTo>
                <a:lnTo>
                  <a:pt x="2548" y="562"/>
                </a:lnTo>
                <a:lnTo>
                  <a:pt x="2501" y="551"/>
                </a:lnTo>
                <a:lnTo>
                  <a:pt x="2449" y="539"/>
                </a:lnTo>
                <a:lnTo>
                  <a:pt x="2393" y="528"/>
                </a:lnTo>
                <a:lnTo>
                  <a:pt x="2332" y="516"/>
                </a:lnTo>
                <a:lnTo>
                  <a:pt x="2266" y="506"/>
                </a:lnTo>
                <a:lnTo>
                  <a:pt x="2196" y="497"/>
                </a:lnTo>
                <a:lnTo>
                  <a:pt x="2123" y="490"/>
                </a:lnTo>
                <a:lnTo>
                  <a:pt x="2046" y="484"/>
                </a:lnTo>
                <a:lnTo>
                  <a:pt x="1967" y="481"/>
                </a:lnTo>
                <a:lnTo>
                  <a:pt x="1961" y="481"/>
                </a:lnTo>
                <a:lnTo>
                  <a:pt x="1957" y="480"/>
                </a:lnTo>
                <a:lnTo>
                  <a:pt x="1952" y="478"/>
                </a:lnTo>
                <a:close/>
                <a:moveTo>
                  <a:pt x="2137" y="214"/>
                </a:moveTo>
                <a:lnTo>
                  <a:pt x="2124" y="237"/>
                </a:lnTo>
                <a:lnTo>
                  <a:pt x="2107" y="263"/>
                </a:lnTo>
                <a:lnTo>
                  <a:pt x="2087" y="294"/>
                </a:lnTo>
                <a:lnTo>
                  <a:pt x="2063" y="330"/>
                </a:lnTo>
                <a:lnTo>
                  <a:pt x="2036" y="368"/>
                </a:lnTo>
                <a:lnTo>
                  <a:pt x="2129" y="374"/>
                </a:lnTo>
                <a:lnTo>
                  <a:pt x="2218" y="383"/>
                </a:lnTo>
                <a:lnTo>
                  <a:pt x="2301" y="394"/>
                </a:lnTo>
                <a:lnTo>
                  <a:pt x="2378" y="406"/>
                </a:lnTo>
                <a:lnTo>
                  <a:pt x="2449" y="420"/>
                </a:lnTo>
                <a:lnTo>
                  <a:pt x="2513" y="435"/>
                </a:lnTo>
                <a:lnTo>
                  <a:pt x="2444" y="381"/>
                </a:lnTo>
                <a:lnTo>
                  <a:pt x="2372" y="333"/>
                </a:lnTo>
                <a:lnTo>
                  <a:pt x="2296" y="288"/>
                </a:lnTo>
                <a:lnTo>
                  <a:pt x="2218" y="249"/>
                </a:lnTo>
                <a:lnTo>
                  <a:pt x="2137" y="214"/>
                </a:lnTo>
                <a:close/>
                <a:moveTo>
                  <a:pt x="2003" y="211"/>
                </a:moveTo>
                <a:lnTo>
                  <a:pt x="1959" y="214"/>
                </a:lnTo>
                <a:lnTo>
                  <a:pt x="1910" y="218"/>
                </a:lnTo>
                <a:lnTo>
                  <a:pt x="1855" y="225"/>
                </a:lnTo>
                <a:lnTo>
                  <a:pt x="1793" y="234"/>
                </a:lnTo>
                <a:lnTo>
                  <a:pt x="1728" y="244"/>
                </a:lnTo>
                <a:lnTo>
                  <a:pt x="1658" y="259"/>
                </a:lnTo>
                <a:lnTo>
                  <a:pt x="1584" y="275"/>
                </a:lnTo>
                <a:lnTo>
                  <a:pt x="1508" y="295"/>
                </a:lnTo>
                <a:lnTo>
                  <a:pt x="1428" y="319"/>
                </a:lnTo>
                <a:lnTo>
                  <a:pt x="1348" y="347"/>
                </a:lnTo>
                <a:lnTo>
                  <a:pt x="1265" y="378"/>
                </a:lnTo>
                <a:lnTo>
                  <a:pt x="1181" y="415"/>
                </a:lnTo>
                <a:lnTo>
                  <a:pt x="1097" y="456"/>
                </a:lnTo>
                <a:lnTo>
                  <a:pt x="1013" y="502"/>
                </a:lnTo>
                <a:lnTo>
                  <a:pt x="937" y="549"/>
                </a:lnTo>
                <a:lnTo>
                  <a:pt x="865" y="597"/>
                </a:lnTo>
                <a:lnTo>
                  <a:pt x="797" y="648"/>
                </a:lnTo>
                <a:lnTo>
                  <a:pt x="733" y="700"/>
                </a:lnTo>
                <a:lnTo>
                  <a:pt x="673" y="752"/>
                </a:lnTo>
                <a:lnTo>
                  <a:pt x="617" y="805"/>
                </a:lnTo>
                <a:lnTo>
                  <a:pt x="565" y="858"/>
                </a:lnTo>
                <a:lnTo>
                  <a:pt x="517" y="909"/>
                </a:lnTo>
                <a:lnTo>
                  <a:pt x="473" y="959"/>
                </a:lnTo>
                <a:lnTo>
                  <a:pt x="434" y="1009"/>
                </a:lnTo>
                <a:lnTo>
                  <a:pt x="397" y="1055"/>
                </a:lnTo>
                <a:lnTo>
                  <a:pt x="365" y="1099"/>
                </a:lnTo>
                <a:lnTo>
                  <a:pt x="336" y="1139"/>
                </a:lnTo>
                <a:lnTo>
                  <a:pt x="312" y="1176"/>
                </a:lnTo>
                <a:lnTo>
                  <a:pt x="291" y="1209"/>
                </a:lnTo>
                <a:lnTo>
                  <a:pt x="333" y="1206"/>
                </a:lnTo>
                <a:lnTo>
                  <a:pt x="381" y="1202"/>
                </a:lnTo>
                <a:lnTo>
                  <a:pt x="435" y="1197"/>
                </a:lnTo>
                <a:lnTo>
                  <a:pt x="493" y="1190"/>
                </a:lnTo>
                <a:lnTo>
                  <a:pt x="557" y="1179"/>
                </a:lnTo>
                <a:lnTo>
                  <a:pt x="625" y="1167"/>
                </a:lnTo>
                <a:lnTo>
                  <a:pt x="696" y="1151"/>
                </a:lnTo>
                <a:lnTo>
                  <a:pt x="772" y="1132"/>
                </a:lnTo>
                <a:lnTo>
                  <a:pt x="849" y="1109"/>
                </a:lnTo>
                <a:lnTo>
                  <a:pt x="929" y="1082"/>
                </a:lnTo>
                <a:lnTo>
                  <a:pt x="1011" y="1050"/>
                </a:lnTo>
                <a:lnTo>
                  <a:pt x="1093" y="1015"/>
                </a:lnTo>
                <a:lnTo>
                  <a:pt x="1177" y="974"/>
                </a:lnTo>
                <a:lnTo>
                  <a:pt x="1261" y="928"/>
                </a:lnTo>
                <a:lnTo>
                  <a:pt x="1333" y="885"/>
                </a:lnTo>
                <a:lnTo>
                  <a:pt x="1401" y="839"/>
                </a:lnTo>
                <a:lnTo>
                  <a:pt x="1466" y="791"/>
                </a:lnTo>
                <a:lnTo>
                  <a:pt x="1528" y="743"/>
                </a:lnTo>
                <a:lnTo>
                  <a:pt x="1585" y="692"/>
                </a:lnTo>
                <a:lnTo>
                  <a:pt x="1641" y="643"/>
                </a:lnTo>
                <a:lnTo>
                  <a:pt x="1692" y="593"/>
                </a:lnTo>
                <a:lnTo>
                  <a:pt x="1740" y="542"/>
                </a:lnTo>
                <a:lnTo>
                  <a:pt x="1785" y="494"/>
                </a:lnTo>
                <a:lnTo>
                  <a:pt x="1826" y="446"/>
                </a:lnTo>
                <a:lnTo>
                  <a:pt x="1864" y="401"/>
                </a:lnTo>
                <a:lnTo>
                  <a:pt x="1899" y="357"/>
                </a:lnTo>
                <a:lnTo>
                  <a:pt x="1930" y="315"/>
                </a:lnTo>
                <a:lnTo>
                  <a:pt x="1957" y="276"/>
                </a:lnTo>
                <a:lnTo>
                  <a:pt x="1982" y="242"/>
                </a:lnTo>
                <a:lnTo>
                  <a:pt x="2003" y="211"/>
                </a:lnTo>
                <a:close/>
                <a:moveTo>
                  <a:pt x="1624" y="116"/>
                </a:moveTo>
                <a:lnTo>
                  <a:pt x="1530" y="119"/>
                </a:lnTo>
                <a:lnTo>
                  <a:pt x="1438" y="128"/>
                </a:lnTo>
                <a:lnTo>
                  <a:pt x="1348" y="143"/>
                </a:lnTo>
                <a:lnTo>
                  <a:pt x="1259" y="164"/>
                </a:lnTo>
                <a:lnTo>
                  <a:pt x="1172" y="191"/>
                </a:lnTo>
                <a:lnTo>
                  <a:pt x="1088" y="223"/>
                </a:lnTo>
                <a:lnTo>
                  <a:pt x="1005" y="260"/>
                </a:lnTo>
                <a:lnTo>
                  <a:pt x="927" y="303"/>
                </a:lnTo>
                <a:lnTo>
                  <a:pt x="850" y="350"/>
                </a:lnTo>
                <a:lnTo>
                  <a:pt x="777" y="401"/>
                </a:lnTo>
                <a:lnTo>
                  <a:pt x="706" y="458"/>
                </a:lnTo>
                <a:lnTo>
                  <a:pt x="640" y="517"/>
                </a:lnTo>
                <a:lnTo>
                  <a:pt x="576" y="582"/>
                </a:lnTo>
                <a:lnTo>
                  <a:pt x="517" y="650"/>
                </a:lnTo>
                <a:lnTo>
                  <a:pt x="462" y="723"/>
                </a:lnTo>
                <a:lnTo>
                  <a:pt x="410" y="799"/>
                </a:lnTo>
                <a:lnTo>
                  <a:pt x="364" y="879"/>
                </a:lnTo>
                <a:lnTo>
                  <a:pt x="323" y="960"/>
                </a:lnTo>
                <a:lnTo>
                  <a:pt x="364" y="908"/>
                </a:lnTo>
                <a:lnTo>
                  <a:pt x="412" y="852"/>
                </a:lnTo>
                <a:lnTo>
                  <a:pt x="463" y="796"/>
                </a:lnTo>
                <a:lnTo>
                  <a:pt x="518" y="738"/>
                </a:lnTo>
                <a:lnTo>
                  <a:pt x="579" y="681"/>
                </a:lnTo>
                <a:lnTo>
                  <a:pt x="644" y="622"/>
                </a:lnTo>
                <a:lnTo>
                  <a:pt x="714" y="564"/>
                </a:lnTo>
                <a:lnTo>
                  <a:pt x="790" y="509"/>
                </a:lnTo>
                <a:lnTo>
                  <a:pt x="869" y="453"/>
                </a:lnTo>
                <a:lnTo>
                  <a:pt x="955" y="401"/>
                </a:lnTo>
                <a:lnTo>
                  <a:pt x="1041" y="354"/>
                </a:lnTo>
                <a:lnTo>
                  <a:pt x="1127" y="312"/>
                </a:lnTo>
                <a:lnTo>
                  <a:pt x="1212" y="274"/>
                </a:lnTo>
                <a:lnTo>
                  <a:pt x="1296" y="242"/>
                </a:lnTo>
                <a:lnTo>
                  <a:pt x="1378" y="213"/>
                </a:lnTo>
                <a:lnTo>
                  <a:pt x="1459" y="187"/>
                </a:lnTo>
                <a:lnTo>
                  <a:pt x="1537" y="167"/>
                </a:lnTo>
                <a:lnTo>
                  <a:pt x="1612" y="149"/>
                </a:lnTo>
                <a:lnTo>
                  <a:pt x="1684" y="134"/>
                </a:lnTo>
                <a:lnTo>
                  <a:pt x="1751" y="121"/>
                </a:lnTo>
                <a:lnTo>
                  <a:pt x="1688" y="117"/>
                </a:lnTo>
                <a:lnTo>
                  <a:pt x="1624" y="116"/>
                </a:lnTo>
                <a:close/>
                <a:moveTo>
                  <a:pt x="1624" y="0"/>
                </a:moveTo>
                <a:lnTo>
                  <a:pt x="1723" y="3"/>
                </a:lnTo>
                <a:lnTo>
                  <a:pt x="1820" y="13"/>
                </a:lnTo>
                <a:lnTo>
                  <a:pt x="1915" y="28"/>
                </a:lnTo>
                <a:lnTo>
                  <a:pt x="2008" y="49"/>
                </a:lnTo>
                <a:lnTo>
                  <a:pt x="2100" y="76"/>
                </a:lnTo>
                <a:lnTo>
                  <a:pt x="2189" y="109"/>
                </a:lnTo>
                <a:lnTo>
                  <a:pt x="2276" y="148"/>
                </a:lnTo>
                <a:lnTo>
                  <a:pt x="2359" y="191"/>
                </a:lnTo>
                <a:lnTo>
                  <a:pt x="2440" y="239"/>
                </a:lnTo>
                <a:lnTo>
                  <a:pt x="2517" y="291"/>
                </a:lnTo>
                <a:lnTo>
                  <a:pt x="2592" y="349"/>
                </a:lnTo>
                <a:lnTo>
                  <a:pt x="2663" y="411"/>
                </a:lnTo>
                <a:lnTo>
                  <a:pt x="2730" y="475"/>
                </a:lnTo>
                <a:lnTo>
                  <a:pt x="2793" y="546"/>
                </a:lnTo>
                <a:lnTo>
                  <a:pt x="2853" y="619"/>
                </a:lnTo>
                <a:lnTo>
                  <a:pt x="2908" y="696"/>
                </a:lnTo>
                <a:lnTo>
                  <a:pt x="2958" y="777"/>
                </a:lnTo>
                <a:lnTo>
                  <a:pt x="3005" y="861"/>
                </a:lnTo>
                <a:lnTo>
                  <a:pt x="3046" y="948"/>
                </a:lnTo>
                <a:lnTo>
                  <a:pt x="3083" y="1037"/>
                </a:lnTo>
                <a:lnTo>
                  <a:pt x="3114" y="1129"/>
                </a:lnTo>
                <a:lnTo>
                  <a:pt x="3140" y="1224"/>
                </a:lnTo>
                <a:lnTo>
                  <a:pt x="3161" y="1321"/>
                </a:lnTo>
                <a:lnTo>
                  <a:pt x="3176" y="1420"/>
                </a:lnTo>
                <a:lnTo>
                  <a:pt x="3186" y="1521"/>
                </a:lnTo>
                <a:lnTo>
                  <a:pt x="3189" y="1623"/>
                </a:lnTo>
                <a:lnTo>
                  <a:pt x="3189" y="1694"/>
                </a:lnTo>
                <a:lnTo>
                  <a:pt x="3188" y="1769"/>
                </a:lnTo>
                <a:lnTo>
                  <a:pt x="3187" y="1845"/>
                </a:lnTo>
                <a:lnTo>
                  <a:pt x="3186" y="1922"/>
                </a:lnTo>
                <a:lnTo>
                  <a:pt x="3182" y="2000"/>
                </a:lnTo>
                <a:lnTo>
                  <a:pt x="3180" y="2079"/>
                </a:lnTo>
                <a:lnTo>
                  <a:pt x="3176" y="2158"/>
                </a:lnTo>
                <a:lnTo>
                  <a:pt x="3171" y="2238"/>
                </a:lnTo>
                <a:lnTo>
                  <a:pt x="3166" y="2317"/>
                </a:lnTo>
                <a:lnTo>
                  <a:pt x="3158" y="2395"/>
                </a:lnTo>
                <a:lnTo>
                  <a:pt x="3150" y="2473"/>
                </a:lnTo>
                <a:lnTo>
                  <a:pt x="3140" y="2548"/>
                </a:lnTo>
                <a:lnTo>
                  <a:pt x="3130" y="2622"/>
                </a:lnTo>
                <a:lnTo>
                  <a:pt x="3117" y="2695"/>
                </a:lnTo>
                <a:lnTo>
                  <a:pt x="3104" y="2764"/>
                </a:lnTo>
                <a:lnTo>
                  <a:pt x="3088" y="2831"/>
                </a:lnTo>
                <a:lnTo>
                  <a:pt x="3071" y="2895"/>
                </a:lnTo>
                <a:lnTo>
                  <a:pt x="3051" y="2955"/>
                </a:lnTo>
                <a:lnTo>
                  <a:pt x="3031" y="3013"/>
                </a:lnTo>
                <a:lnTo>
                  <a:pt x="3008" y="3065"/>
                </a:lnTo>
                <a:lnTo>
                  <a:pt x="2982" y="3114"/>
                </a:lnTo>
                <a:lnTo>
                  <a:pt x="2955" y="3158"/>
                </a:lnTo>
                <a:lnTo>
                  <a:pt x="2926" y="3195"/>
                </a:lnTo>
                <a:lnTo>
                  <a:pt x="2913" y="3207"/>
                </a:lnTo>
                <a:lnTo>
                  <a:pt x="2899" y="3213"/>
                </a:lnTo>
                <a:lnTo>
                  <a:pt x="2882" y="3216"/>
                </a:lnTo>
                <a:lnTo>
                  <a:pt x="2881" y="3216"/>
                </a:lnTo>
                <a:lnTo>
                  <a:pt x="2369" y="3203"/>
                </a:lnTo>
                <a:lnTo>
                  <a:pt x="2367" y="3203"/>
                </a:lnTo>
                <a:lnTo>
                  <a:pt x="2363" y="3202"/>
                </a:lnTo>
                <a:lnTo>
                  <a:pt x="2302" y="3248"/>
                </a:lnTo>
                <a:lnTo>
                  <a:pt x="2236" y="3288"/>
                </a:lnTo>
                <a:lnTo>
                  <a:pt x="2169" y="3326"/>
                </a:lnTo>
                <a:lnTo>
                  <a:pt x="2098" y="3360"/>
                </a:lnTo>
                <a:lnTo>
                  <a:pt x="2024" y="3388"/>
                </a:lnTo>
                <a:lnTo>
                  <a:pt x="1950" y="3412"/>
                </a:lnTo>
                <a:lnTo>
                  <a:pt x="1872" y="3431"/>
                </a:lnTo>
                <a:lnTo>
                  <a:pt x="1793" y="3444"/>
                </a:lnTo>
                <a:lnTo>
                  <a:pt x="1712" y="3453"/>
                </a:lnTo>
                <a:lnTo>
                  <a:pt x="1629" y="3456"/>
                </a:lnTo>
                <a:lnTo>
                  <a:pt x="1588" y="3456"/>
                </a:lnTo>
                <a:lnTo>
                  <a:pt x="1499" y="3453"/>
                </a:lnTo>
                <a:lnTo>
                  <a:pt x="1413" y="3443"/>
                </a:lnTo>
                <a:lnTo>
                  <a:pt x="1328" y="3428"/>
                </a:lnTo>
                <a:lnTo>
                  <a:pt x="1246" y="3406"/>
                </a:lnTo>
                <a:lnTo>
                  <a:pt x="1167" y="3379"/>
                </a:lnTo>
                <a:lnTo>
                  <a:pt x="1089" y="3346"/>
                </a:lnTo>
                <a:lnTo>
                  <a:pt x="1015" y="3308"/>
                </a:lnTo>
                <a:lnTo>
                  <a:pt x="944" y="3266"/>
                </a:lnTo>
                <a:lnTo>
                  <a:pt x="875" y="3219"/>
                </a:lnTo>
                <a:lnTo>
                  <a:pt x="811" y="3167"/>
                </a:lnTo>
                <a:lnTo>
                  <a:pt x="811" y="3167"/>
                </a:lnTo>
                <a:lnTo>
                  <a:pt x="325" y="3155"/>
                </a:lnTo>
                <a:lnTo>
                  <a:pt x="309" y="3153"/>
                </a:lnTo>
                <a:lnTo>
                  <a:pt x="294" y="3146"/>
                </a:lnTo>
                <a:lnTo>
                  <a:pt x="282" y="3134"/>
                </a:lnTo>
                <a:lnTo>
                  <a:pt x="253" y="3095"/>
                </a:lnTo>
                <a:lnTo>
                  <a:pt x="227" y="3051"/>
                </a:lnTo>
                <a:lnTo>
                  <a:pt x="203" y="3000"/>
                </a:lnTo>
                <a:lnTo>
                  <a:pt x="182" y="2947"/>
                </a:lnTo>
                <a:lnTo>
                  <a:pt x="163" y="2889"/>
                </a:lnTo>
                <a:lnTo>
                  <a:pt x="147" y="2829"/>
                </a:lnTo>
                <a:lnTo>
                  <a:pt x="132" y="2764"/>
                </a:lnTo>
                <a:lnTo>
                  <a:pt x="118" y="2698"/>
                </a:lnTo>
                <a:lnTo>
                  <a:pt x="107" y="2629"/>
                </a:lnTo>
                <a:lnTo>
                  <a:pt x="97" y="2558"/>
                </a:lnTo>
                <a:lnTo>
                  <a:pt x="89" y="2486"/>
                </a:lnTo>
                <a:lnTo>
                  <a:pt x="82" y="2414"/>
                </a:lnTo>
                <a:lnTo>
                  <a:pt x="75" y="2341"/>
                </a:lnTo>
                <a:lnTo>
                  <a:pt x="71" y="2267"/>
                </a:lnTo>
                <a:lnTo>
                  <a:pt x="67" y="2195"/>
                </a:lnTo>
                <a:lnTo>
                  <a:pt x="65" y="2124"/>
                </a:lnTo>
                <a:lnTo>
                  <a:pt x="63" y="2054"/>
                </a:lnTo>
                <a:lnTo>
                  <a:pt x="61" y="1985"/>
                </a:lnTo>
                <a:lnTo>
                  <a:pt x="60" y="1919"/>
                </a:lnTo>
                <a:lnTo>
                  <a:pt x="39" y="1881"/>
                </a:lnTo>
                <a:lnTo>
                  <a:pt x="22" y="1841"/>
                </a:lnTo>
                <a:lnTo>
                  <a:pt x="10" y="1799"/>
                </a:lnTo>
                <a:lnTo>
                  <a:pt x="2" y="1755"/>
                </a:lnTo>
                <a:lnTo>
                  <a:pt x="0" y="1710"/>
                </a:lnTo>
                <a:lnTo>
                  <a:pt x="3" y="1663"/>
                </a:lnTo>
                <a:lnTo>
                  <a:pt x="12" y="1617"/>
                </a:lnTo>
                <a:lnTo>
                  <a:pt x="25" y="1573"/>
                </a:lnTo>
                <a:lnTo>
                  <a:pt x="44" y="1530"/>
                </a:lnTo>
                <a:lnTo>
                  <a:pt x="68" y="1490"/>
                </a:lnTo>
                <a:lnTo>
                  <a:pt x="71" y="1427"/>
                </a:lnTo>
                <a:lnTo>
                  <a:pt x="86" y="1327"/>
                </a:lnTo>
                <a:lnTo>
                  <a:pt x="107" y="1228"/>
                </a:lnTo>
                <a:lnTo>
                  <a:pt x="133" y="1132"/>
                </a:lnTo>
                <a:lnTo>
                  <a:pt x="164" y="1039"/>
                </a:lnTo>
                <a:lnTo>
                  <a:pt x="201" y="948"/>
                </a:lnTo>
                <a:lnTo>
                  <a:pt x="243" y="860"/>
                </a:lnTo>
                <a:lnTo>
                  <a:pt x="290" y="776"/>
                </a:lnTo>
                <a:lnTo>
                  <a:pt x="341" y="695"/>
                </a:lnTo>
                <a:lnTo>
                  <a:pt x="397" y="618"/>
                </a:lnTo>
                <a:lnTo>
                  <a:pt x="457" y="544"/>
                </a:lnTo>
                <a:lnTo>
                  <a:pt x="520" y="473"/>
                </a:lnTo>
                <a:lnTo>
                  <a:pt x="587" y="407"/>
                </a:lnTo>
                <a:lnTo>
                  <a:pt x="659" y="347"/>
                </a:lnTo>
                <a:lnTo>
                  <a:pt x="733" y="289"/>
                </a:lnTo>
                <a:lnTo>
                  <a:pt x="812" y="237"/>
                </a:lnTo>
                <a:lnTo>
                  <a:pt x="892" y="189"/>
                </a:lnTo>
                <a:lnTo>
                  <a:pt x="976" y="146"/>
                </a:lnTo>
                <a:lnTo>
                  <a:pt x="1062" y="108"/>
                </a:lnTo>
                <a:lnTo>
                  <a:pt x="1151" y="76"/>
                </a:lnTo>
                <a:lnTo>
                  <a:pt x="1242" y="49"/>
                </a:lnTo>
                <a:lnTo>
                  <a:pt x="1334" y="28"/>
                </a:lnTo>
                <a:lnTo>
                  <a:pt x="1429" y="13"/>
                </a:lnTo>
                <a:lnTo>
                  <a:pt x="1526" y="3"/>
                </a:lnTo>
                <a:lnTo>
                  <a:pt x="1624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scene3d>
            <a:camera prst="perspectiveContrastingRightFacing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D2741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64BFA184-A7FF-4A6F-AE39-0DE3FE72EF64}"/>
              </a:ext>
            </a:extLst>
          </p:cNvPr>
          <p:cNvSpPr/>
          <p:nvPr/>
        </p:nvSpPr>
        <p:spPr>
          <a:xfrm>
            <a:off x="3002782" y="2425086"/>
            <a:ext cx="720779" cy="335918"/>
          </a:xfrm>
          <a:prstGeom prst="roundRect">
            <a:avLst/>
          </a:prstGeom>
          <a:noFill/>
          <a:ln>
            <a:solidFill>
              <a:schemeClr val="bg1"/>
            </a:solidFill>
          </a:ln>
          <a:scene3d>
            <a:camera prst="perspectiveContrastingRightFacing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61CD8FE0-361F-4CDC-973C-3175655D61CA}"/>
              </a:ext>
            </a:extLst>
          </p:cNvPr>
          <p:cNvSpPr/>
          <p:nvPr/>
        </p:nvSpPr>
        <p:spPr>
          <a:xfrm>
            <a:off x="3002782" y="3288253"/>
            <a:ext cx="720779" cy="335918"/>
          </a:xfrm>
          <a:prstGeom prst="roundRect">
            <a:avLst/>
          </a:prstGeom>
          <a:noFill/>
          <a:ln>
            <a:solidFill>
              <a:schemeClr val="bg1"/>
            </a:solidFill>
          </a:ln>
          <a:scene3d>
            <a:camera prst="perspectiveContrastingRightFacing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958BD96E-BA4E-40FD-AA03-3638334AD26D}"/>
              </a:ext>
            </a:extLst>
          </p:cNvPr>
          <p:cNvCxnSpPr/>
          <p:nvPr/>
        </p:nvCxnSpPr>
        <p:spPr>
          <a:xfrm>
            <a:off x="3625191" y="2477611"/>
            <a:ext cx="261257" cy="16540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FC3CED40-73BD-4B9C-BCBD-80EBACA55BE9}"/>
              </a:ext>
            </a:extLst>
          </p:cNvPr>
          <p:cNvCxnSpPr>
            <a:cxnSpLocks/>
            <a:endCxn id="147" idx="1"/>
          </p:cNvCxnSpPr>
          <p:nvPr/>
        </p:nvCxnSpPr>
        <p:spPr>
          <a:xfrm flipV="1">
            <a:off x="3625191" y="3061805"/>
            <a:ext cx="238588" cy="25536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92BC22C2-A2AA-4D24-BE08-F75B2A657674}"/>
              </a:ext>
            </a:extLst>
          </p:cNvPr>
          <p:cNvSpPr/>
          <p:nvPr/>
        </p:nvSpPr>
        <p:spPr>
          <a:xfrm rot="363878">
            <a:off x="4303614" y="2146874"/>
            <a:ext cx="411480" cy="171450"/>
          </a:xfrm>
          <a:custGeom>
            <a:avLst/>
            <a:gdLst>
              <a:gd name="connsiteX0" fmla="*/ 0 w 718457"/>
              <a:gd name="connsiteY0" fmla="*/ 228600 h 228600"/>
              <a:gd name="connsiteX1" fmla="*/ 141514 w 718457"/>
              <a:gd name="connsiteY1" fmla="*/ 217715 h 228600"/>
              <a:gd name="connsiteX2" fmla="*/ 195943 w 718457"/>
              <a:gd name="connsiteY2" fmla="*/ 174172 h 228600"/>
              <a:gd name="connsiteX3" fmla="*/ 337457 w 718457"/>
              <a:gd name="connsiteY3" fmla="*/ 152400 h 228600"/>
              <a:gd name="connsiteX4" fmla="*/ 435429 w 718457"/>
              <a:gd name="connsiteY4" fmla="*/ 76200 h 228600"/>
              <a:gd name="connsiteX5" fmla="*/ 468086 w 718457"/>
              <a:gd name="connsiteY5" fmla="*/ 54429 h 228600"/>
              <a:gd name="connsiteX6" fmla="*/ 533400 w 718457"/>
              <a:gd name="connsiteY6" fmla="*/ 43543 h 228600"/>
              <a:gd name="connsiteX7" fmla="*/ 609600 w 718457"/>
              <a:gd name="connsiteY7" fmla="*/ 0 h 228600"/>
              <a:gd name="connsiteX8" fmla="*/ 674914 w 718457"/>
              <a:gd name="connsiteY8" fmla="*/ 21772 h 228600"/>
              <a:gd name="connsiteX9" fmla="*/ 718457 w 718457"/>
              <a:gd name="connsiteY9" fmla="*/ 32657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457" h="228600">
                <a:moveTo>
                  <a:pt x="0" y="228600"/>
                </a:moveTo>
                <a:cubicBezTo>
                  <a:pt x="47171" y="224972"/>
                  <a:pt x="95014" y="226434"/>
                  <a:pt x="141514" y="217715"/>
                </a:cubicBezTo>
                <a:cubicBezTo>
                  <a:pt x="173199" y="211774"/>
                  <a:pt x="172381" y="188309"/>
                  <a:pt x="195943" y="174172"/>
                </a:cubicBezTo>
                <a:cubicBezTo>
                  <a:pt x="227329" y="155341"/>
                  <a:pt x="331167" y="153029"/>
                  <a:pt x="337457" y="152400"/>
                </a:cubicBezTo>
                <a:cubicBezTo>
                  <a:pt x="370114" y="127000"/>
                  <a:pt x="401005" y="99149"/>
                  <a:pt x="435429" y="76200"/>
                </a:cubicBezTo>
                <a:cubicBezTo>
                  <a:pt x="446315" y="68943"/>
                  <a:pt x="455674" y="58566"/>
                  <a:pt x="468086" y="54429"/>
                </a:cubicBezTo>
                <a:cubicBezTo>
                  <a:pt x="489025" y="47449"/>
                  <a:pt x="511629" y="47172"/>
                  <a:pt x="533400" y="43543"/>
                </a:cubicBezTo>
                <a:cubicBezTo>
                  <a:pt x="546154" y="35041"/>
                  <a:pt x="595790" y="0"/>
                  <a:pt x="609600" y="0"/>
                </a:cubicBezTo>
                <a:cubicBezTo>
                  <a:pt x="632549" y="0"/>
                  <a:pt x="652650" y="16206"/>
                  <a:pt x="674914" y="21772"/>
                </a:cubicBezTo>
                <a:lnTo>
                  <a:pt x="718457" y="32657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1E42407B-0965-45AD-BB4C-12BFDF77CE33}"/>
              </a:ext>
            </a:extLst>
          </p:cNvPr>
          <p:cNvSpPr/>
          <p:nvPr/>
        </p:nvSpPr>
        <p:spPr>
          <a:xfrm rot="303245">
            <a:off x="4321707" y="2377085"/>
            <a:ext cx="411480" cy="171450"/>
          </a:xfrm>
          <a:custGeom>
            <a:avLst/>
            <a:gdLst>
              <a:gd name="connsiteX0" fmla="*/ 0 w 718457"/>
              <a:gd name="connsiteY0" fmla="*/ 228600 h 228600"/>
              <a:gd name="connsiteX1" fmla="*/ 141514 w 718457"/>
              <a:gd name="connsiteY1" fmla="*/ 217715 h 228600"/>
              <a:gd name="connsiteX2" fmla="*/ 195943 w 718457"/>
              <a:gd name="connsiteY2" fmla="*/ 174172 h 228600"/>
              <a:gd name="connsiteX3" fmla="*/ 337457 w 718457"/>
              <a:gd name="connsiteY3" fmla="*/ 152400 h 228600"/>
              <a:gd name="connsiteX4" fmla="*/ 435429 w 718457"/>
              <a:gd name="connsiteY4" fmla="*/ 76200 h 228600"/>
              <a:gd name="connsiteX5" fmla="*/ 468086 w 718457"/>
              <a:gd name="connsiteY5" fmla="*/ 54429 h 228600"/>
              <a:gd name="connsiteX6" fmla="*/ 533400 w 718457"/>
              <a:gd name="connsiteY6" fmla="*/ 43543 h 228600"/>
              <a:gd name="connsiteX7" fmla="*/ 609600 w 718457"/>
              <a:gd name="connsiteY7" fmla="*/ 0 h 228600"/>
              <a:gd name="connsiteX8" fmla="*/ 674914 w 718457"/>
              <a:gd name="connsiteY8" fmla="*/ 21772 h 228600"/>
              <a:gd name="connsiteX9" fmla="*/ 718457 w 718457"/>
              <a:gd name="connsiteY9" fmla="*/ 32657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457" h="228600">
                <a:moveTo>
                  <a:pt x="0" y="228600"/>
                </a:moveTo>
                <a:cubicBezTo>
                  <a:pt x="47171" y="224972"/>
                  <a:pt x="95014" y="226434"/>
                  <a:pt x="141514" y="217715"/>
                </a:cubicBezTo>
                <a:cubicBezTo>
                  <a:pt x="173199" y="211774"/>
                  <a:pt x="172381" y="188309"/>
                  <a:pt x="195943" y="174172"/>
                </a:cubicBezTo>
                <a:cubicBezTo>
                  <a:pt x="227329" y="155341"/>
                  <a:pt x="331167" y="153029"/>
                  <a:pt x="337457" y="152400"/>
                </a:cubicBezTo>
                <a:cubicBezTo>
                  <a:pt x="370114" y="127000"/>
                  <a:pt x="401005" y="99149"/>
                  <a:pt x="435429" y="76200"/>
                </a:cubicBezTo>
                <a:cubicBezTo>
                  <a:pt x="446315" y="68943"/>
                  <a:pt x="455674" y="58566"/>
                  <a:pt x="468086" y="54429"/>
                </a:cubicBezTo>
                <a:cubicBezTo>
                  <a:pt x="489025" y="47449"/>
                  <a:pt x="511629" y="47172"/>
                  <a:pt x="533400" y="43543"/>
                </a:cubicBezTo>
                <a:cubicBezTo>
                  <a:pt x="546154" y="35041"/>
                  <a:pt x="595790" y="0"/>
                  <a:pt x="609600" y="0"/>
                </a:cubicBezTo>
                <a:cubicBezTo>
                  <a:pt x="632549" y="0"/>
                  <a:pt x="652650" y="16206"/>
                  <a:pt x="674914" y="21772"/>
                </a:cubicBezTo>
                <a:lnTo>
                  <a:pt x="718457" y="32657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7" name="Freeform: Shape 156">
            <a:extLst>
              <a:ext uri="{FF2B5EF4-FFF2-40B4-BE49-F238E27FC236}">
                <a16:creationId xmlns:a16="http://schemas.microsoft.com/office/drawing/2014/main" id="{43650680-18BA-4582-8BA8-5322D12EE802}"/>
              </a:ext>
            </a:extLst>
          </p:cNvPr>
          <p:cNvSpPr/>
          <p:nvPr/>
        </p:nvSpPr>
        <p:spPr>
          <a:xfrm rot="473333">
            <a:off x="3177251" y="2927069"/>
            <a:ext cx="411480" cy="171450"/>
          </a:xfrm>
          <a:custGeom>
            <a:avLst/>
            <a:gdLst>
              <a:gd name="connsiteX0" fmla="*/ 0 w 718457"/>
              <a:gd name="connsiteY0" fmla="*/ 228600 h 228600"/>
              <a:gd name="connsiteX1" fmla="*/ 141514 w 718457"/>
              <a:gd name="connsiteY1" fmla="*/ 217715 h 228600"/>
              <a:gd name="connsiteX2" fmla="*/ 195943 w 718457"/>
              <a:gd name="connsiteY2" fmla="*/ 174172 h 228600"/>
              <a:gd name="connsiteX3" fmla="*/ 337457 w 718457"/>
              <a:gd name="connsiteY3" fmla="*/ 152400 h 228600"/>
              <a:gd name="connsiteX4" fmla="*/ 435429 w 718457"/>
              <a:gd name="connsiteY4" fmla="*/ 76200 h 228600"/>
              <a:gd name="connsiteX5" fmla="*/ 468086 w 718457"/>
              <a:gd name="connsiteY5" fmla="*/ 54429 h 228600"/>
              <a:gd name="connsiteX6" fmla="*/ 533400 w 718457"/>
              <a:gd name="connsiteY6" fmla="*/ 43543 h 228600"/>
              <a:gd name="connsiteX7" fmla="*/ 609600 w 718457"/>
              <a:gd name="connsiteY7" fmla="*/ 0 h 228600"/>
              <a:gd name="connsiteX8" fmla="*/ 674914 w 718457"/>
              <a:gd name="connsiteY8" fmla="*/ 21772 h 228600"/>
              <a:gd name="connsiteX9" fmla="*/ 718457 w 718457"/>
              <a:gd name="connsiteY9" fmla="*/ 32657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8457" h="228600">
                <a:moveTo>
                  <a:pt x="0" y="228600"/>
                </a:moveTo>
                <a:cubicBezTo>
                  <a:pt x="47171" y="224972"/>
                  <a:pt x="95014" y="226434"/>
                  <a:pt x="141514" y="217715"/>
                </a:cubicBezTo>
                <a:cubicBezTo>
                  <a:pt x="173199" y="211774"/>
                  <a:pt x="172381" y="188309"/>
                  <a:pt x="195943" y="174172"/>
                </a:cubicBezTo>
                <a:cubicBezTo>
                  <a:pt x="227329" y="155341"/>
                  <a:pt x="331167" y="153029"/>
                  <a:pt x="337457" y="152400"/>
                </a:cubicBezTo>
                <a:cubicBezTo>
                  <a:pt x="370114" y="127000"/>
                  <a:pt x="401005" y="99149"/>
                  <a:pt x="435429" y="76200"/>
                </a:cubicBezTo>
                <a:cubicBezTo>
                  <a:pt x="446315" y="68943"/>
                  <a:pt x="455674" y="58566"/>
                  <a:pt x="468086" y="54429"/>
                </a:cubicBezTo>
                <a:cubicBezTo>
                  <a:pt x="489025" y="47449"/>
                  <a:pt x="511629" y="47172"/>
                  <a:pt x="533400" y="43543"/>
                </a:cubicBezTo>
                <a:cubicBezTo>
                  <a:pt x="546154" y="35041"/>
                  <a:pt x="595790" y="0"/>
                  <a:pt x="609600" y="0"/>
                </a:cubicBezTo>
                <a:cubicBezTo>
                  <a:pt x="632549" y="0"/>
                  <a:pt x="652650" y="16206"/>
                  <a:pt x="674914" y="21772"/>
                </a:cubicBezTo>
                <a:lnTo>
                  <a:pt x="718457" y="32657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627B8236-A00C-41CF-8175-37654043FBB0}"/>
              </a:ext>
            </a:extLst>
          </p:cNvPr>
          <p:cNvSpPr/>
          <p:nvPr/>
        </p:nvSpPr>
        <p:spPr>
          <a:xfrm>
            <a:off x="4261894" y="2699833"/>
            <a:ext cx="720779" cy="335918"/>
          </a:xfrm>
          <a:prstGeom prst="roundRect">
            <a:avLst/>
          </a:prstGeom>
          <a:noFill/>
          <a:ln>
            <a:solidFill>
              <a:schemeClr val="bg1"/>
            </a:solidFill>
          </a:ln>
          <a:scene3d>
            <a:camera prst="perspectiveContrastingRightFacing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A7C55EAD-C994-40FE-A22E-FE4B46D91FBB}"/>
              </a:ext>
            </a:extLst>
          </p:cNvPr>
          <p:cNvCxnSpPr>
            <a:cxnSpLocks/>
          </p:cNvCxnSpPr>
          <p:nvPr/>
        </p:nvCxnSpPr>
        <p:spPr>
          <a:xfrm>
            <a:off x="4141630" y="2852431"/>
            <a:ext cx="228081" cy="6418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8E48C3DE-CF35-44F6-AC19-8B1E8EB1E04F}"/>
              </a:ext>
            </a:extLst>
          </p:cNvPr>
          <p:cNvCxnSpPr/>
          <p:nvPr/>
        </p:nvCxnSpPr>
        <p:spPr>
          <a:xfrm>
            <a:off x="2803616" y="3427475"/>
            <a:ext cx="0" cy="203033"/>
          </a:xfrm>
          <a:prstGeom prst="lin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83610E1-0D59-46BC-8D19-44604C51980F}"/>
              </a:ext>
            </a:extLst>
          </p:cNvPr>
          <p:cNvCxnSpPr>
            <a:cxnSpLocks/>
          </p:cNvCxnSpPr>
          <p:nvPr/>
        </p:nvCxnSpPr>
        <p:spPr>
          <a:xfrm flipV="1">
            <a:off x="-693965" y="3535294"/>
            <a:ext cx="3497580" cy="1"/>
          </a:xfrm>
          <a:prstGeom prst="line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0" name="Oval 109" hidden="1">
            <a:extLst>
              <a:ext uri="{FF2B5EF4-FFF2-40B4-BE49-F238E27FC236}">
                <a16:creationId xmlns:a16="http://schemas.microsoft.com/office/drawing/2014/main" id="{C6FDCC76-2491-4A3B-83B8-64AFFCEB2AAA}"/>
              </a:ext>
            </a:extLst>
          </p:cNvPr>
          <p:cNvSpPr/>
          <p:nvPr/>
        </p:nvSpPr>
        <p:spPr>
          <a:xfrm>
            <a:off x="548229" y="1092243"/>
            <a:ext cx="1078024" cy="1078024"/>
          </a:xfrm>
          <a:prstGeom prst="ellipse">
            <a:avLst/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7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A61DDD94-6072-4A8B-9DE2-5B6BEF7CB542}"/>
              </a:ext>
            </a:extLst>
          </p:cNvPr>
          <p:cNvSpPr/>
          <p:nvPr/>
        </p:nvSpPr>
        <p:spPr>
          <a:xfrm>
            <a:off x="7997257" y="2397491"/>
            <a:ext cx="348518" cy="348518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A4C1DCB4-EE15-461D-9068-281156A76EC3}"/>
              </a:ext>
            </a:extLst>
          </p:cNvPr>
          <p:cNvSpPr/>
          <p:nvPr/>
        </p:nvSpPr>
        <p:spPr>
          <a:xfrm>
            <a:off x="7997257" y="4237111"/>
            <a:ext cx="348518" cy="348518"/>
          </a:xfrm>
          <a:prstGeom prst="ellipse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33A3F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4" name="Rounded Rectangle 207">
            <a:extLst>
              <a:ext uri="{FF2B5EF4-FFF2-40B4-BE49-F238E27FC236}">
                <a16:creationId xmlns:a16="http://schemas.microsoft.com/office/drawing/2014/main" id="{C029D632-DC15-4052-8E92-C33C243CB47D}"/>
              </a:ext>
            </a:extLst>
          </p:cNvPr>
          <p:cNvSpPr/>
          <p:nvPr/>
        </p:nvSpPr>
        <p:spPr>
          <a:xfrm>
            <a:off x="339323" y="3417624"/>
            <a:ext cx="1303020" cy="20047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0646EFC-8CEE-4D28-AB4E-DDF68BDA929E}"/>
              </a:ext>
            </a:extLst>
          </p:cNvPr>
          <p:cNvGrpSpPr/>
          <p:nvPr/>
        </p:nvGrpSpPr>
        <p:grpSpPr>
          <a:xfrm>
            <a:off x="6076738" y="1197370"/>
            <a:ext cx="1858814" cy="844467"/>
            <a:chOff x="8058942" y="1743068"/>
            <a:chExt cx="2478419" cy="1125956"/>
          </a:xfrm>
        </p:grpSpPr>
        <p:sp>
          <p:nvSpPr>
            <p:cNvPr id="82" name="Thought Bubble: Cloud 81">
              <a:extLst>
                <a:ext uri="{FF2B5EF4-FFF2-40B4-BE49-F238E27FC236}">
                  <a16:creationId xmlns:a16="http://schemas.microsoft.com/office/drawing/2014/main" id="{6F8B255C-B2F5-4E2F-825C-CE3ADC3BA6DF}"/>
                </a:ext>
              </a:extLst>
            </p:cNvPr>
            <p:cNvSpPr/>
            <p:nvPr/>
          </p:nvSpPr>
          <p:spPr>
            <a:xfrm flipH="1">
              <a:off x="8058942" y="1743068"/>
              <a:ext cx="2478419" cy="1125956"/>
            </a:xfrm>
            <a:prstGeom prst="cloudCallout">
              <a:avLst>
                <a:gd name="adj1" fmla="val 64422"/>
                <a:gd name="adj2" fmla="val 63287"/>
              </a:avLst>
            </a:prstGeom>
            <a:noFill/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33A3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20C80AE7-D523-4D37-9A4E-3FDFACEAAAFF}"/>
                </a:ext>
              </a:extLst>
            </p:cNvPr>
            <p:cNvSpPr/>
            <p:nvPr/>
          </p:nvSpPr>
          <p:spPr>
            <a:xfrm>
              <a:off x="8261603" y="1868715"/>
              <a:ext cx="2073095" cy="861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2607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Based on what we’ve 	learned, let’s take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	this 	approach.</a:t>
              </a:r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09FC05B-7E63-44E2-81EE-BBE182A47A62}"/>
              </a:ext>
            </a:extLst>
          </p:cNvPr>
          <p:cNvSpPr/>
          <p:nvPr/>
        </p:nvSpPr>
        <p:spPr>
          <a:xfrm>
            <a:off x="4929795" y="2663685"/>
            <a:ext cx="1017814" cy="1665514"/>
          </a:xfrm>
          <a:custGeom>
            <a:avLst/>
            <a:gdLst>
              <a:gd name="connsiteX0" fmla="*/ 1350917 w 1357085"/>
              <a:gd name="connsiteY0" fmla="*/ 962297 h 2220684"/>
              <a:gd name="connsiteX1" fmla="*/ 1178197 w 1357085"/>
              <a:gd name="connsiteY1" fmla="*/ 228237 h 2220684"/>
              <a:gd name="connsiteX2" fmla="*/ 1141185 w 1357085"/>
              <a:gd name="connsiteY2" fmla="*/ 160383 h 2220684"/>
              <a:gd name="connsiteX3" fmla="*/ 882105 w 1357085"/>
              <a:gd name="connsiteY3" fmla="*/ 24674 h 2220684"/>
              <a:gd name="connsiteX4" fmla="*/ 678543 w 1357085"/>
              <a:gd name="connsiteY4" fmla="*/ 0 h 2220684"/>
              <a:gd name="connsiteX5" fmla="*/ 474980 w 1357085"/>
              <a:gd name="connsiteY5" fmla="*/ 30843 h 2220684"/>
              <a:gd name="connsiteX6" fmla="*/ 215900 w 1357085"/>
              <a:gd name="connsiteY6" fmla="*/ 166551 h 2220684"/>
              <a:gd name="connsiteX7" fmla="*/ 178888 w 1357085"/>
              <a:gd name="connsiteY7" fmla="*/ 234406 h 2220684"/>
              <a:gd name="connsiteX8" fmla="*/ 6169 w 1357085"/>
              <a:gd name="connsiteY8" fmla="*/ 968465 h 2220684"/>
              <a:gd name="connsiteX9" fmla="*/ 0 w 1357085"/>
              <a:gd name="connsiteY9" fmla="*/ 999308 h 2220684"/>
              <a:gd name="connsiteX10" fmla="*/ 123371 w 1357085"/>
              <a:gd name="connsiteY10" fmla="*/ 1122680 h 2220684"/>
              <a:gd name="connsiteX11" fmla="*/ 240574 w 1357085"/>
              <a:gd name="connsiteY11" fmla="*/ 1030151 h 2220684"/>
              <a:gd name="connsiteX12" fmla="*/ 370114 w 1357085"/>
              <a:gd name="connsiteY12" fmla="*/ 493486 h 2220684"/>
              <a:gd name="connsiteX13" fmla="*/ 370114 w 1357085"/>
              <a:gd name="connsiteY13" fmla="*/ 2220685 h 2220684"/>
              <a:gd name="connsiteX14" fmla="*/ 616857 w 1357085"/>
              <a:gd name="connsiteY14" fmla="*/ 2220685 h 2220684"/>
              <a:gd name="connsiteX15" fmla="*/ 616857 w 1357085"/>
              <a:gd name="connsiteY15" fmla="*/ 1110342 h 2220684"/>
              <a:gd name="connsiteX16" fmla="*/ 740228 w 1357085"/>
              <a:gd name="connsiteY16" fmla="*/ 1110342 h 2220684"/>
              <a:gd name="connsiteX17" fmla="*/ 740228 w 1357085"/>
              <a:gd name="connsiteY17" fmla="*/ 2220685 h 2220684"/>
              <a:gd name="connsiteX18" fmla="*/ 986971 w 1357085"/>
              <a:gd name="connsiteY18" fmla="*/ 2220685 h 2220684"/>
              <a:gd name="connsiteX19" fmla="*/ 986971 w 1357085"/>
              <a:gd name="connsiteY19" fmla="*/ 487317 h 2220684"/>
              <a:gd name="connsiteX20" fmla="*/ 1116511 w 1357085"/>
              <a:gd name="connsiteY20" fmla="*/ 1023982 h 2220684"/>
              <a:gd name="connsiteX21" fmla="*/ 1233714 w 1357085"/>
              <a:gd name="connsiteY21" fmla="*/ 1116511 h 2220684"/>
              <a:gd name="connsiteX22" fmla="*/ 1357085 w 1357085"/>
              <a:gd name="connsiteY22" fmla="*/ 993140 h 2220684"/>
              <a:gd name="connsiteX23" fmla="*/ 1350917 w 1357085"/>
              <a:gd name="connsiteY23" fmla="*/ 962297 h 2220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57085" h="2220684">
                <a:moveTo>
                  <a:pt x="1350917" y="962297"/>
                </a:moveTo>
                <a:lnTo>
                  <a:pt x="1178197" y="228237"/>
                </a:lnTo>
                <a:cubicBezTo>
                  <a:pt x="1172028" y="203563"/>
                  <a:pt x="1159691" y="178888"/>
                  <a:pt x="1141185" y="160383"/>
                </a:cubicBezTo>
                <a:cubicBezTo>
                  <a:pt x="1067162" y="98697"/>
                  <a:pt x="980802" y="55517"/>
                  <a:pt x="882105" y="24674"/>
                </a:cubicBezTo>
                <a:cubicBezTo>
                  <a:pt x="814251" y="12337"/>
                  <a:pt x="746397" y="0"/>
                  <a:pt x="678543" y="0"/>
                </a:cubicBezTo>
                <a:cubicBezTo>
                  <a:pt x="610688" y="0"/>
                  <a:pt x="542834" y="12337"/>
                  <a:pt x="474980" y="30843"/>
                </a:cubicBezTo>
                <a:cubicBezTo>
                  <a:pt x="376283" y="55517"/>
                  <a:pt x="289923" y="104866"/>
                  <a:pt x="215900" y="166551"/>
                </a:cubicBezTo>
                <a:cubicBezTo>
                  <a:pt x="197394" y="185057"/>
                  <a:pt x="185057" y="209731"/>
                  <a:pt x="178888" y="234406"/>
                </a:cubicBezTo>
                <a:lnTo>
                  <a:pt x="6169" y="968465"/>
                </a:lnTo>
                <a:cubicBezTo>
                  <a:pt x="6169" y="974634"/>
                  <a:pt x="0" y="986971"/>
                  <a:pt x="0" y="999308"/>
                </a:cubicBezTo>
                <a:cubicBezTo>
                  <a:pt x="0" y="1067162"/>
                  <a:pt x="55517" y="1122680"/>
                  <a:pt x="123371" y="1122680"/>
                </a:cubicBezTo>
                <a:cubicBezTo>
                  <a:pt x="178888" y="1122680"/>
                  <a:pt x="228237" y="1079500"/>
                  <a:pt x="240574" y="1030151"/>
                </a:cubicBezTo>
                <a:lnTo>
                  <a:pt x="370114" y="493486"/>
                </a:lnTo>
                <a:lnTo>
                  <a:pt x="370114" y="2220685"/>
                </a:lnTo>
                <a:lnTo>
                  <a:pt x="616857" y="2220685"/>
                </a:lnTo>
                <a:lnTo>
                  <a:pt x="616857" y="1110342"/>
                </a:lnTo>
                <a:lnTo>
                  <a:pt x="740228" y="1110342"/>
                </a:lnTo>
                <a:lnTo>
                  <a:pt x="740228" y="2220685"/>
                </a:lnTo>
                <a:lnTo>
                  <a:pt x="986971" y="2220685"/>
                </a:lnTo>
                <a:lnTo>
                  <a:pt x="986971" y="487317"/>
                </a:lnTo>
                <a:lnTo>
                  <a:pt x="1116511" y="1023982"/>
                </a:lnTo>
                <a:cubicBezTo>
                  <a:pt x="1128848" y="1073331"/>
                  <a:pt x="1178197" y="1116511"/>
                  <a:pt x="1233714" y="1116511"/>
                </a:cubicBezTo>
                <a:cubicBezTo>
                  <a:pt x="1301568" y="1116511"/>
                  <a:pt x="1357085" y="1060994"/>
                  <a:pt x="1357085" y="993140"/>
                </a:cubicBezTo>
                <a:cubicBezTo>
                  <a:pt x="1357085" y="980802"/>
                  <a:pt x="1350917" y="968465"/>
                  <a:pt x="1350917" y="962297"/>
                </a:cubicBezTo>
                <a:close/>
              </a:path>
            </a:pathLst>
          </a:custGeom>
          <a:solidFill>
            <a:srgbClr val="1F1C49"/>
          </a:solidFill>
          <a:ln w="38100" cap="flat">
            <a:solidFill>
              <a:srgbClr val="00B0F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11E3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81" name="Group 4">
            <a:extLst>
              <a:ext uri="{FF2B5EF4-FFF2-40B4-BE49-F238E27FC236}">
                <a16:creationId xmlns:a16="http://schemas.microsoft.com/office/drawing/2014/main" id="{AA36DB3F-D358-400F-B714-2D0242A74C7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164455" y="2024783"/>
            <a:ext cx="563566" cy="615749"/>
            <a:chOff x="5467" y="2764"/>
            <a:chExt cx="918" cy="1003"/>
          </a:xfrm>
          <a:solidFill>
            <a:srgbClr val="00B0F0"/>
          </a:solidFill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58826179-1D58-48FA-9EA4-B6F09504B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67" y="2764"/>
              <a:ext cx="918" cy="1003"/>
            </a:xfrm>
            <a:custGeom>
              <a:avLst/>
              <a:gdLst>
                <a:gd name="T0" fmla="*/ 563 w 675"/>
                <a:gd name="T1" fmla="*/ 103 h 739"/>
                <a:gd name="T2" fmla="*/ 560 w 675"/>
                <a:gd name="T3" fmla="*/ 40 h 739"/>
                <a:gd name="T4" fmla="*/ 535 w 675"/>
                <a:gd name="T5" fmla="*/ 17 h 739"/>
                <a:gd name="T6" fmla="*/ 148 w 675"/>
                <a:gd name="T7" fmla="*/ 112 h 739"/>
                <a:gd name="T8" fmla="*/ 54 w 675"/>
                <a:gd name="T9" fmla="*/ 369 h 739"/>
                <a:gd name="T10" fmla="*/ 76 w 675"/>
                <a:gd name="T11" fmla="*/ 543 h 739"/>
                <a:gd name="T12" fmla="*/ 188 w 675"/>
                <a:gd name="T13" fmla="*/ 701 h 739"/>
                <a:gd name="T14" fmla="*/ 190 w 675"/>
                <a:gd name="T15" fmla="*/ 703 h 739"/>
                <a:gd name="T16" fmla="*/ 207 w 675"/>
                <a:gd name="T17" fmla="*/ 712 h 739"/>
                <a:gd name="T18" fmla="*/ 230 w 675"/>
                <a:gd name="T19" fmla="*/ 722 h 739"/>
                <a:gd name="T20" fmla="*/ 354 w 675"/>
                <a:gd name="T21" fmla="*/ 739 h 739"/>
                <a:gd name="T22" fmla="*/ 465 w 675"/>
                <a:gd name="T23" fmla="*/ 713 h 739"/>
                <a:gd name="T24" fmla="*/ 480 w 675"/>
                <a:gd name="T25" fmla="*/ 705 h 739"/>
                <a:gd name="T26" fmla="*/ 485 w 675"/>
                <a:gd name="T27" fmla="*/ 702 h 739"/>
                <a:gd name="T28" fmla="*/ 510 w 675"/>
                <a:gd name="T29" fmla="*/ 685 h 739"/>
                <a:gd name="T30" fmla="*/ 599 w 675"/>
                <a:gd name="T31" fmla="*/ 543 h 739"/>
                <a:gd name="T32" fmla="*/ 617 w 675"/>
                <a:gd name="T33" fmla="*/ 368 h 739"/>
                <a:gd name="T34" fmla="*/ 69 w 675"/>
                <a:gd name="T35" fmla="*/ 405 h 739"/>
                <a:gd name="T36" fmla="*/ 70 w 675"/>
                <a:gd name="T37" fmla="*/ 501 h 739"/>
                <a:gd name="T38" fmla="*/ 566 w 675"/>
                <a:gd name="T39" fmla="*/ 488 h 739"/>
                <a:gd name="T40" fmla="*/ 320 w 675"/>
                <a:gd name="T41" fmla="*/ 700 h 739"/>
                <a:gd name="T42" fmla="*/ 108 w 675"/>
                <a:gd name="T43" fmla="*/ 404 h 739"/>
                <a:gd name="T44" fmla="*/ 153 w 675"/>
                <a:gd name="T45" fmla="*/ 412 h 739"/>
                <a:gd name="T46" fmla="*/ 176 w 675"/>
                <a:gd name="T47" fmla="*/ 336 h 739"/>
                <a:gd name="T48" fmla="*/ 314 w 675"/>
                <a:gd name="T49" fmla="*/ 296 h 739"/>
                <a:gd name="T50" fmla="*/ 505 w 675"/>
                <a:gd name="T51" fmla="*/ 319 h 739"/>
                <a:gd name="T52" fmla="*/ 528 w 675"/>
                <a:gd name="T53" fmla="*/ 413 h 739"/>
                <a:gd name="T54" fmla="*/ 548 w 675"/>
                <a:gd name="T55" fmla="*/ 413 h 739"/>
                <a:gd name="T56" fmla="*/ 566 w 675"/>
                <a:gd name="T57" fmla="*/ 488 h 739"/>
                <a:gd name="T58" fmla="*/ 562 w 675"/>
                <a:gd name="T59" fmla="*/ 364 h 739"/>
                <a:gd name="T60" fmla="*/ 532 w 675"/>
                <a:gd name="T61" fmla="*/ 291 h 739"/>
                <a:gd name="T62" fmla="*/ 326 w 675"/>
                <a:gd name="T63" fmla="*/ 259 h 739"/>
                <a:gd name="T64" fmla="*/ 140 w 675"/>
                <a:gd name="T65" fmla="*/ 321 h 739"/>
                <a:gd name="T66" fmla="*/ 127 w 675"/>
                <a:gd name="T67" fmla="*/ 369 h 739"/>
                <a:gd name="T68" fmla="*/ 108 w 675"/>
                <a:gd name="T69" fmla="*/ 363 h 739"/>
                <a:gd name="T70" fmla="*/ 116 w 675"/>
                <a:gd name="T71" fmla="*/ 171 h 739"/>
                <a:gd name="T72" fmla="*/ 180 w 675"/>
                <a:gd name="T73" fmla="*/ 137 h 739"/>
                <a:gd name="T74" fmla="*/ 517 w 675"/>
                <a:gd name="T75" fmla="*/ 62 h 739"/>
                <a:gd name="T76" fmla="*/ 535 w 675"/>
                <a:gd name="T77" fmla="*/ 130 h 739"/>
                <a:gd name="T78" fmla="*/ 604 w 675"/>
                <a:gd name="T79" fmla="*/ 501 h 739"/>
                <a:gd name="T80" fmla="*/ 606 w 675"/>
                <a:gd name="T81" fmla="*/ 405 h 739"/>
                <a:gd name="T82" fmla="*/ 604 w 675"/>
                <a:gd name="T83" fmla="*/ 501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5" h="739">
                  <a:moveTo>
                    <a:pt x="617" y="368"/>
                  </a:moveTo>
                  <a:cubicBezTo>
                    <a:pt x="653" y="202"/>
                    <a:pt x="588" y="131"/>
                    <a:pt x="563" y="103"/>
                  </a:cubicBezTo>
                  <a:cubicBezTo>
                    <a:pt x="561" y="101"/>
                    <a:pt x="559" y="98"/>
                    <a:pt x="557" y="96"/>
                  </a:cubicBezTo>
                  <a:cubicBezTo>
                    <a:pt x="553" y="90"/>
                    <a:pt x="555" y="63"/>
                    <a:pt x="560" y="40"/>
                  </a:cubicBezTo>
                  <a:cubicBezTo>
                    <a:pt x="562" y="33"/>
                    <a:pt x="560" y="26"/>
                    <a:pt x="554" y="21"/>
                  </a:cubicBezTo>
                  <a:cubicBezTo>
                    <a:pt x="549" y="16"/>
                    <a:pt x="541" y="15"/>
                    <a:pt x="535" y="17"/>
                  </a:cubicBezTo>
                  <a:cubicBezTo>
                    <a:pt x="534" y="17"/>
                    <a:pt x="463" y="43"/>
                    <a:pt x="339" y="20"/>
                  </a:cubicBezTo>
                  <a:cubicBezTo>
                    <a:pt x="232" y="0"/>
                    <a:pt x="170" y="65"/>
                    <a:pt x="148" y="112"/>
                  </a:cubicBezTo>
                  <a:cubicBezTo>
                    <a:pt x="133" y="114"/>
                    <a:pt x="109" y="121"/>
                    <a:pt x="88" y="143"/>
                  </a:cubicBezTo>
                  <a:cubicBezTo>
                    <a:pt x="49" y="185"/>
                    <a:pt x="37" y="261"/>
                    <a:pt x="54" y="369"/>
                  </a:cubicBezTo>
                  <a:cubicBezTo>
                    <a:pt x="22" y="384"/>
                    <a:pt x="0" y="416"/>
                    <a:pt x="0" y="453"/>
                  </a:cubicBezTo>
                  <a:cubicBezTo>
                    <a:pt x="0" y="498"/>
                    <a:pt x="32" y="535"/>
                    <a:pt x="76" y="543"/>
                  </a:cubicBezTo>
                  <a:cubicBezTo>
                    <a:pt x="91" y="609"/>
                    <a:pt x="132" y="666"/>
                    <a:pt x="188" y="701"/>
                  </a:cubicBezTo>
                  <a:cubicBezTo>
                    <a:pt x="188" y="701"/>
                    <a:pt x="188" y="701"/>
                    <a:pt x="188" y="701"/>
                  </a:cubicBezTo>
                  <a:cubicBezTo>
                    <a:pt x="188" y="701"/>
                    <a:pt x="189" y="701"/>
                    <a:pt x="189" y="701"/>
                  </a:cubicBezTo>
                  <a:cubicBezTo>
                    <a:pt x="189" y="702"/>
                    <a:pt x="190" y="702"/>
                    <a:pt x="190" y="703"/>
                  </a:cubicBezTo>
                  <a:cubicBezTo>
                    <a:pt x="192" y="704"/>
                    <a:pt x="195" y="705"/>
                    <a:pt x="197" y="706"/>
                  </a:cubicBezTo>
                  <a:cubicBezTo>
                    <a:pt x="201" y="707"/>
                    <a:pt x="204" y="710"/>
                    <a:pt x="207" y="712"/>
                  </a:cubicBezTo>
                  <a:cubicBezTo>
                    <a:pt x="211" y="714"/>
                    <a:pt x="215" y="716"/>
                    <a:pt x="220" y="718"/>
                  </a:cubicBezTo>
                  <a:cubicBezTo>
                    <a:pt x="223" y="719"/>
                    <a:pt x="227" y="720"/>
                    <a:pt x="230" y="722"/>
                  </a:cubicBezTo>
                  <a:cubicBezTo>
                    <a:pt x="258" y="733"/>
                    <a:pt x="289" y="739"/>
                    <a:pt x="320" y="739"/>
                  </a:cubicBezTo>
                  <a:cubicBezTo>
                    <a:pt x="354" y="739"/>
                    <a:pt x="354" y="739"/>
                    <a:pt x="354" y="739"/>
                  </a:cubicBezTo>
                  <a:cubicBezTo>
                    <a:pt x="394" y="739"/>
                    <a:pt x="432" y="729"/>
                    <a:pt x="465" y="712"/>
                  </a:cubicBezTo>
                  <a:cubicBezTo>
                    <a:pt x="465" y="713"/>
                    <a:pt x="465" y="713"/>
                    <a:pt x="465" y="713"/>
                  </a:cubicBezTo>
                  <a:cubicBezTo>
                    <a:pt x="466" y="713"/>
                    <a:pt x="466" y="712"/>
                    <a:pt x="467" y="712"/>
                  </a:cubicBezTo>
                  <a:cubicBezTo>
                    <a:pt x="471" y="710"/>
                    <a:pt x="476" y="707"/>
                    <a:pt x="480" y="705"/>
                  </a:cubicBezTo>
                  <a:cubicBezTo>
                    <a:pt x="481" y="704"/>
                    <a:pt x="482" y="704"/>
                    <a:pt x="483" y="703"/>
                  </a:cubicBezTo>
                  <a:cubicBezTo>
                    <a:pt x="484" y="703"/>
                    <a:pt x="484" y="702"/>
                    <a:pt x="485" y="702"/>
                  </a:cubicBezTo>
                  <a:cubicBezTo>
                    <a:pt x="494" y="697"/>
                    <a:pt x="502" y="692"/>
                    <a:pt x="510" y="685"/>
                  </a:cubicBezTo>
                  <a:cubicBezTo>
                    <a:pt x="510" y="685"/>
                    <a:pt x="510" y="685"/>
                    <a:pt x="510" y="685"/>
                  </a:cubicBezTo>
                  <a:cubicBezTo>
                    <a:pt x="510" y="685"/>
                    <a:pt x="510" y="684"/>
                    <a:pt x="510" y="684"/>
                  </a:cubicBezTo>
                  <a:cubicBezTo>
                    <a:pt x="554" y="649"/>
                    <a:pt x="586" y="600"/>
                    <a:pt x="599" y="543"/>
                  </a:cubicBezTo>
                  <a:cubicBezTo>
                    <a:pt x="642" y="536"/>
                    <a:pt x="675" y="498"/>
                    <a:pt x="675" y="453"/>
                  </a:cubicBezTo>
                  <a:cubicBezTo>
                    <a:pt x="675" y="414"/>
                    <a:pt x="651" y="381"/>
                    <a:pt x="617" y="368"/>
                  </a:cubicBezTo>
                  <a:close/>
                  <a:moveTo>
                    <a:pt x="38" y="453"/>
                  </a:moveTo>
                  <a:cubicBezTo>
                    <a:pt x="38" y="432"/>
                    <a:pt x="51" y="413"/>
                    <a:pt x="69" y="405"/>
                  </a:cubicBezTo>
                  <a:cubicBezTo>
                    <a:pt x="69" y="488"/>
                    <a:pt x="69" y="488"/>
                    <a:pt x="69" y="488"/>
                  </a:cubicBezTo>
                  <a:cubicBezTo>
                    <a:pt x="69" y="492"/>
                    <a:pt x="70" y="496"/>
                    <a:pt x="70" y="501"/>
                  </a:cubicBezTo>
                  <a:cubicBezTo>
                    <a:pt x="51" y="493"/>
                    <a:pt x="38" y="474"/>
                    <a:pt x="38" y="453"/>
                  </a:cubicBezTo>
                  <a:close/>
                  <a:moveTo>
                    <a:pt x="566" y="488"/>
                  </a:moveTo>
                  <a:cubicBezTo>
                    <a:pt x="566" y="605"/>
                    <a:pt x="471" y="700"/>
                    <a:pt x="354" y="700"/>
                  </a:cubicBezTo>
                  <a:cubicBezTo>
                    <a:pt x="320" y="700"/>
                    <a:pt x="320" y="700"/>
                    <a:pt x="320" y="700"/>
                  </a:cubicBezTo>
                  <a:cubicBezTo>
                    <a:pt x="203" y="700"/>
                    <a:pt x="108" y="605"/>
                    <a:pt x="108" y="488"/>
                  </a:cubicBezTo>
                  <a:cubicBezTo>
                    <a:pt x="108" y="404"/>
                    <a:pt x="108" y="404"/>
                    <a:pt x="108" y="404"/>
                  </a:cubicBezTo>
                  <a:cubicBezTo>
                    <a:pt x="136" y="414"/>
                    <a:pt x="136" y="414"/>
                    <a:pt x="136" y="414"/>
                  </a:cubicBezTo>
                  <a:cubicBezTo>
                    <a:pt x="142" y="416"/>
                    <a:pt x="148" y="416"/>
                    <a:pt x="153" y="412"/>
                  </a:cubicBezTo>
                  <a:cubicBezTo>
                    <a:pt x="159" y="408"/>
                    <a:pt x="162" y="402"/>
                    <a:pt x="162" y="396"/>
                  </a:cubicBezTo>
                  <a:cubicBezTo>
                    <a:pt x="162" y="390"/>
                    <a:pt x="169" y="360"/>
                    <a:pt x="176" y="336"/>
                  </a:cubicBezTo>
                  <a:cubicBezTo>
                    <a:pt x="210" y="259"/>
                    <a:pt x="255" y="275"/>
                    <a:pt x="304" y="292"/>
                  </a:cubicBezTo>
                  <a:cubicBezTo>
                    <a:pt x="314" y="296"/>
                    <a:pt x="314" y="296"/>
                    <a:pt x="314" y="296"/>
                  </a:cubicBezTo>
                  <a:cubicBezTo>
                    <a:pt x="368" y="315"/>
                    <a:pt x="434" y="316"/>
                    <a:pt x="492" y="315"/>
                  </a:cubicBezTo>
                  <a:cubicBezTo>
                    <a:pt x="499" y="314"/>
                    <a:pt x="503" y="317"/>
                    <a:pt x="505" y="319"/>
                  </a:cubicBezTo>
                  <a:cubicBezTo>
                    <a:pt x="517" y="332"/>
                    <a:pt x="517" y="368"/>
                    <a:pt x="517" y="383"/>
                  </a:cubicBezTo>
                  <a:cubicBezTo>
                    <a:pt x="517" y="396"/>
                    <a:pt x="517" y="407"/>
                    <a:pt x="528" y="413"/>
                  </a:cubicBezTo>
                  <a:cubicBezTo>
                    <a:pt x="531" y="415"/>
                    <a:pt x="534" y="416"/>
                    <a:pt x="538" y="416"/>
                  </a:cubicBezTo>
                  <a:cubicBezTo>
                    <a:pt x="541" y="416"/>
                    <a:pt x="545" y="415"/>
                    <a:pt x="548" y="413"/>
                  </a:cubicBezTo>
                  <a:cubicBezTo>
                    <a:pt x="550" y="411"/>
                    <a:pt x="557" y="408"/>
                    <a:pt x="567" y="404"/>
                  </a:cubicBezTo>
                  <a:lnTo>
                    <a:pt x="566" y="488"/>
                  </a:lnTo>
                  <a:close/>
                  <a:moveTo>
                    <a:pt x="580" y="357"/>
                  </a:moveTo>
                  <a:cubicBezTo>
                    <a:pt x="574" y="359"/>
                    <a:pt x="568" y="362"/>
                    <a:pt x="562" y="364"/>
                  </a:cubicBezTo>
                  <a:cubicBezTo>
                    <a:pt x="560" y="364"/>
                    <a:pt x="558" y="365"/>
                    <a:pt x="556" y="366"/>
                  </a:cubicBezTo>
                  <a:cubicBezTo>
                    <a:pt x="555" y="342"/>
                    <a:pt x="551" y="310"/>
                    <a:pt x="532" y="291"/>
                  </a:cubicBezTo>
                  <a:cubicBezTo>
                    <a:pt x="521" y="281"/>
                    <a:pt x="507" y="276"/>
                    <a:pt x="491" y="276"/>
                  </a:cubicBezTo>
                  <a:cubicBezTo>
                    <a:pt x="440" y="277"/>
                    <a:pt x="375" y="276"/>
                    <a:pt x="326" y="259"/>
                  </a:cubicBezTo>
                  <a:cubicBezTo>
                    <a:pt x="317" y="256"/>
                    <a:pt x="317" y="256"/>
                    <a:pt x="317" y="256"/>
                  </a:cubicBezTo>
                  <a:cubicBezTo>
                    <a:pt x="269" y="239"/>
                    <a:pt x="188" y="210"/>
                    <a:pt x="140" y="321"/>
                  </a:cubicBezTo>
                  <a:cubicBezTo>
                    <a:pt x="139" y="322"/>
                    <a:pt x="139" y="323"/>
                    <a:pt x="139" y="324"/>
                  </a:cubicBezTo>
                  <a:cubicBezTo>
                    <a:pt x="137" y="332"/>
                    <a:pt x="131" y="352"/>
                    <a:pt x="127" y="369"/>
                  </a:cubicBezTo>
                  <a:cubicBezTo>
                    <a:pt x="127" y="369"/>
                    <a:pt x="127" y="369"/>
                    <a:pt x="126" y="368"/>
                  </a:cubicBezTo>
                  <a:cubicBezTo>
                    <a:pt x="120" y="366"/>
                    <a:pt x="114" y="364"/>
                    <a:pt x="108" y="363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75" y="244"/>
                    <a:pt x="95" y="193"/>
                    <a:pt x="116" y="171"/>
                  </a:cubicBezTo>
                  <a:cubicBezTo>
                    <a:pt x="136" y="149"/>
                    <a:pt x="159" y="150"/>
                    <a:pt x="160" y="150"/>
                  </a:cubicBezTo>
                  <a:cubicBezTo>
                    <a:pt x="168" y="151"/>
                    <a:pt x="177" y="145"/>
                    <a:pt x="180" y="137"/>
                  </a:cubicBezTo>
                  <a:cubicBezTo>
                    <a:pt x="181" y="133"/>
                    <a:pt x="217" y="36"/>
                    <a:pt x="332" y="58"/>
                  </a:cubicBezTo>
                  <a:cubicBezTo>
                    <a:pt x="419" y="74"/>
                    <a:pt x="482" y="68"/>
                    <a:pt x="517" y="62"/>
                  </a:cubicBezTo>
                  <a:cubicBezTo>
                    <a:pt x="515" y="81"/>
                    <a:pt x="515" y="104"/>
                    <a:pt x="526" y="119"/>
                  </a:cubicBezTo>
                  <a:cubicBezTo>
                    <a:pt x="528" y="122"/>
                    <a:pt x="531" y="125"/>
                    <a:pt x="535" y="130"/>
                  </a:cubicBezTo>
                  <a:cubicBezTo>
                    <a:pt x="557" y="155"/>
                    <a:pt x="610" y="213"/>
                    <a:pt x="580" y="357"/>
                  </a:cubicBezTo>
                  <a:close/>
                  <a:moveTo>
                    <a:pt x="604" y="501"/>
                  </a:moveTo>
                  <a:cubicBezTo>
                    <a:pt x="605" y="497"/>
                    <a:pt x="605" y="492"/>
                    <a:pt x="605" y="488"/>
                  </a:cubicBezTo>
                  <a:cubicBezTo>
                    <a:pt x="606" y="405"/>
                    <a:pt x="606" y="405"/>
                    <a:pt x="606" y="405"/>
                  </a:cubicBezTo>
                  <a:cubicBezTo>
                    <a:pt x="624" y="413"/>
                    <a:pt x="636" y="432"/>
                    <a:pt x="636" y="453"/>
                  </a:cubicBezTo>
                  <a:cubicBezTo>
                    <a:pt x="636" y="474"/>
                    <a:pt x="623" y="493"/>
                    <a:pt x="604" y="5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5" name="Oval 6">
              <a:extLst>
                <a:ext uri="{FF2B5EF4-FFF2-40B4-BE49-F238E27FC236}">
                  <a16:creationId xmlns:a16="http://schemas.microsoft.com/office/drawing/2014/main" id="{6C724CD3-5FB4-4863-B484-CAA2ACFED8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" y="3243"/>
              <a:ext cx="69" cy="6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86" name="Oval 7">
              <a:extLst>
                <a:ext uri="{FF2B5EF4-FFF2-40B4-BE49-F238E27FC236}">
                  <a16:creationId xmlns:a16="http://schemas.microsoft.com/office/drawing/2014/main" id="{7FD9BD0C-6615-49A2-B726-325592A7F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9" y="3243"/>
              <a:ext cx="68" cy="6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11E33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7" name="Title 8">
            <a:extLst>
              <a:ext uri="{FF2B5EF4-FFF2-40B4-BE49-F238E27FC236}">
                <a16:creationId xmlns:a16="http://schemas.microsoft.com/office/drawing/2014/main" id="{A13C965C-9A05-494D-B59F-52261E97B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Customer engagement capabilities</a:t>
            </a:r>
            <a:endParaRPr lang="en-GB">
              <a:solidFill>
                <a:schemeClr val="bg1"/>
              </a:solidFill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A59C0AD-45C2-47D0-8E14-EED5F11B14C5}"/>
              </a:ext>
            </a:extLst>
          </p:cNvPr>
          <p:cNvCxnSpPr>
            <a:cxnSpLocks/>
          </p:cNvCxnSpPr>
          <p:nvPr/>
        </p:nvCxnSpPr>
        <p:spPr>
          <a:xfrm>
            <a:off x="-2074143" y="1013332"/>
            <a:ext cx="6804097" cy="0"/>
          </a:xfrm>
          <a:prstGeom prst="line">
            <a:avLst/>
          </a:prstGeom>
          <a:ln w="19050">
            <a:gradFill flip="none" rotWithShape="1">
              <a:gsLst>
                <a:gs pos="52000">
                  <a:srgbClr val="C865A7"/>
                </a:gs>
                <a:gs pos="87000">
                  <a:schemeClr val="accent4"/>
                </a:gs>
                <a:gs pos="1000">
                  <a:schemeClr val="accent4">
                    <a:alpha val="0"/>
                  </a:schemeClr>
                </a:gs>
                <a:gs pos="99000">
                  <a:schemeClr val="accent4">
                    <a:alpha val="0"/>
                  </a:schemeClr>
                </a:gs>
                <a:gs pos="18000">
                  <a:schemeClr val="accent4"/>
                </a:gs>
              </a:gsLst>
              <a:lin ang="10800000" scaled="1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4BB0935-7C4A-4292-A0FF-36A75F1088AE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1209387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2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2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animBg="1"/>
      <p:bldP spid="142" grpId="0" animBg="1"/>
      <p:bldP spid="147" grpId="0" animBg="1"/>
      <p:bldP spid="148" grpId="0" animBg="1"/>
      <p:bldP spid="150" grpId="0" animBg="1"/>
      <p:bldP spid="154" grpId="0" animBg="1"/>
      <p:bldP spid="155" grpId="0" animBg="1"/>
      <p:bldP spid="157" grpId="0" animBg="1"/>
      <p:bldP spid="15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 descr="Billedresultat for elephant icon free">
            <a:extLst>
              <a:ext uri="{FF2B5EF4-FFF2-40B4-BE49-F238E27FC236}">
                <a16:creationId xmlns:a16="http://schemas.microsoft.com/office/drawing/2014/main" id="{B7EA5180-0E37-446C-BDDE-F2B4920366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0" r="76278" b="10263"/>
          <a:stretch/>
        </p:blipFill>
        <p:spPr bwMode="auto">
          <a:xfrm>
            <a:off x="530410" y="1279063"/>
            <a:ext cx="917646" cy="3027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  <p:pic>
        <p:nvPicPr>
          <p:cNvPr id="14" name="Picture 8" descr="Billedresultat for elephant icon free">
            <a:extLst>
              <a:ext uri="{FF2B5EF4-FFF2-40B4-BE49-F238E27FC236}">
                <a16:creationId xmlns:a16="http://schemas.microsoft.com/office/drawing/2014/main" id="{23C8E2CD-C855-40CB-9560-C1922ECFD38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2" t="11470" r="56959" b="10263"/>
          <a:stretch/>
        </p:blipFill>
        <p:spPr bwMode="auto">
          <a:xfrm>
            <a:off x="1590280" y="1279063"/>
            <a:ext cx="692355" cy="3027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  <p:pic>
        <p:nvPicPr>
          <p:cNvPr id="15" name="Picture 8" descr="Billedresultat for elephant icon free">
            <a:extLst>
              <a:ext uri="{FF2B5EF4-FFF2-40B4-BE49-F238E27FC236}">
                <a16:creationId xmlns:a16="http://schemas.microsoft.com/office/drawing/2014/main" id="{2C62BA22-B38B-4C60-ABA9-1744321DAE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52" t="11470" r="36786" b="10263"/>
          <a:stretch/>
        </p:blipFill>
        <p:spPr bwMode="auto">
          <a:xfrm>
            <a:off x="2424859" y="1279063"/>
            <a:ext cx="752796" cy="3027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  <p:pic>
        <p:nvPicPr>
          <p:cNvPr id="23" name="Picture 8" descr="Billedresultat for elephant icon free">
            <a:extLst>
              <a:ext uri="{FF2B5EF4-FFF2-40B4-BE49-F238E27FC236}">
                <a16:creationId xmlns:a16="http://schemas.microsoft.com/office/drawing/2014/main" id="{95876462-C321-4768-A5A5-25D4A7263C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93" t="11470" r="-291" b="10263"/>
          <a:stretch/>
        </p:blipFill>
        <p:spPr bwMode="auto">
          <a:xfrm>
            <a:off x="3319880" y="1279063"/>
            <a:ext cx="1384709" cy="30276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191357CD-9EE2-47A1-A320-2B3639378057}"/>
              </a:ext>
            </a:extLst>
          </p:cNvPr>
          <p:cNvSpPr/>
          <p:nvPr/>
        </p:nvSpPr>
        <p:spPr>
          <a:xfrm>
            <a:off x="4846815" y="1279064"/>
            <a:ext cx="3698698" cy="693160"/>
          </a:xfrm>
          <a:prstGeom prst="rect">
            <a:avLst/>
          </a:prstGeom>
          <a:solidFill>
            <a:srgbClr val="4D596C"/>
          </a:solidFill>
        </p:spPr>
        <p:txBody>
          <a:bodyPr wrap="square" lIns="108000" tIns="36000" rIns="36000" bIns="36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all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Get the key</a:t>
            </a:r>
            <a:r>
              <a:rPr kumimoji="0" lang="en-US" sz="1600" b="1" i="0" u="none" strike="noStrike" kern="1200" cap="all" spc="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insight from your customers </a:t>
            </a:r>
            <a:endParaRPr kumimoji="0" lang="en-US" sz="1600" b="1" i="0" u="none" strike="noStrike" kern="1200" cap="all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49ABB2C-10E0-4389-AF19-1AD58E955C92}"/>
              </a:ext>
            </a:extLst>
          </p:cNvPr>
          <p:cNvSpPr/>
          <p:nvPr/>
        </p:nvSpPr>
        <p:spPr>
          <a:xfrm>
            <a:off x="4846814" y="2057237"/>
            <a:ext cx="3698699" cy="693160"/>
          </a:xfrm>
          <a:prstGeom prst="rect">
            <a:avLst/>
          </a:prstGeom>
          <a:solidFill>
            <a:srgbClr val="00925A"/>
          </a:solidFill>
        </p:spPr>
        <p:txBody>
          <a:bodyPr wrap="square" lIns="108000" tIns="36000" rIns="36000" bIns="36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What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are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the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ustomers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really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looking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fo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AC6EB44-7015-4D71-BEC6-2E7A8D525A38}"/>
              </a:ext>
            </a:extLst>
          </p:cNvPr>
          <p:cNvSpPr/>
          <p:nvPr/>
        </p:nvSpPr>
        <p:spPr>
          <a:xfrm>
            <a:off x="4846815" y="2835410"/>
            <a:ext cx="3698698" cy="693160"/>
          </a:xfrm>
          <a:prstGeom prst="rect">
            <a:avLst/>
          </a:prstGeom>
          <a:solidFill>
            <a:srgbClr val="3834C6"/>
          </a:solidFill>
        </p:spPr>
        <p:txBody>
          <a:bodyPr wrap="square" lIns="108000" tIns="36000" rIns="36000" bIns="3600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Make the right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interaction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in real time and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act</a:t>
            </a:r>
            <a:r>
              <a:rPr kumimoji="0" lang="da-DK" sz="1600" b="1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in the right </a:t>
            </a:r>
            <a:r>
              <a:rPr kumimoji="0" lang="da-DK" sz="1600" b="1" i="0" u="none" strike="noStrike" kern="1200" cap="all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hannel</a:t>
            </a:r>
            <a:endParaRPr kumimoji="0" lang="da-DK" sz="1600" b="1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9309633-E44D-4255-9ED1-7FC0A2726EDA}"/>
              </a:ext>
            </a:extLst>
          </p:cNvPr>
          <p:cNvSpPr/>
          <p:nvPr/>
        </p:nvSpPr>
        <p:spPr>
          <a:xfrm>
            <a:off x="4846814" y="3613583"/>
            <a:ext cx="3698698" cy="693160"/>
          </a:xfrm>
          <a:prstGeom prst="rect">
            <a:avLst/>
          </a:prstGeom>
          <a:solidFill>
            <a:srgbClr val="CD9B06"/>
          </a:solidFill>
        </p:spPr>
        <p:txBody>
          <a:bodyPr wrap="square" lIns="108000" tIns="36000" rIns="36000" bIns="36000" anchor="ctr">
            <a:noAutofit/>
          </a:bodyPr>
          <a:lstStyle/>
          <a:p>
            <a:pPr defTabSz="914378">
              <a:defRPr/>
            </a:pPr>
            <a:r>
              <a:rPr lang="en-US" sz="1600" b="1">
                <a:solidFill>
                  <a:srgbClr val="FFFFFF"/>
                </a:solidFill>
              </a:rPr>
              <a:t>FUTURE STATE:</a:t>
            </a:r>
          </a:p>
          <a:p>
            <a:pPr lvl="0" defTabSz="914378">
              <a:defRPr/>
            </a:pPr>
            <a:r>
              <a:rPr lang="en-GB" sz="1600" b="1">
                <a:solidFill>
                  <a:srgbClr val="FFFFFF"/>
                </a:solidFill>
              </a:rPr>
              <a:t>ADVANCE ANALYTIC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93526E-4FCD-4AB5-BC24-2862299E6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9557"/>
            <a:ext cx="7886700" cy="457200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Slice the elephant</a:t>
            </a:r>
            <a:br>
              <a:rPr lang="en-US">
                <a:solidFill>
                  <a:schemeClr val="bg1"/>
                </a:solidFill>
              </a:rPr>
            </a:br>
            <a:r>
              <a:rPr lang="en-US" sz="2800">
                <a:solidFill>
                  <a:schemeClr val="bg1"/>
                </a:solidFill>
              </a:rPr>
              <a:t>Modularity in SAS® marketing solution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7E1D83-C3C3-4306-B864-9206870F9FD0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20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9C62FAB-B85C-45CE-91FD-F6F426B567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0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9C62FAB-B85C-45CE-91FD-F6F426B567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C0D3B670-6741-46BA-B152-7230247247A4}"/>
              </a:ext>
            </a:extLst>
          </p:cNvPr>
          <p:cNvGrpSpPr/>
          <p:nvPr/>
        </p:nvGrpSpPr>
        <p:grpSpPr>
          <a:xfrm>
            <a:off x="7725344" y="4509442"/>
            <a:ext cx="1188000" cy="477859"/>
            <a:chOff x="6145213" y="4384676"/>
            <a:chExt cx="1582738" cy="649287"/>
          </a:xfrm>
          <a:solidFill>
            <a:schemeClr val="bg1"/>
          </a:solidFill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ADD7EF7A-E390-49CB-A1A8-18928B3F7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40513" y="4454526"/>
              <a:ext cx="341313" cy="449263"/>
            </a:xfrm>
            <a:custGeom>
              <a:avLst/>
              <a:gdLst>
                <a:gd name="T0" fmla="*/ 485 w 859"/>
                <a:gd name="T1" fmla="*/ 5 h 1132"/>
                <a:gd name="T2" fmla="*/ 603 w 859"/>
                <a:gd name="T3" fmla="*/ 31 h 1132"/>
                <a:gd name="T4" fmla="*/ 699 w 859"/>
                <a:gd name="T5" fmla="*/ 82 h 1132"/>
                <a:gd name="T6" fmla="*/ 771 w 859"/>
                <a:gd name="T7" fmla="*/ 167 h 1132"/>
                <a:gd name="T8" fmla="*/ 810 w 859"/>
                <a:gd name="T9" fmla="*/ 290 h 1132"/>
                <a:gd name="T10" fmla="*/ 642 w 859"/>
                <a:gd name="T11" fmla="*/ 307 h 1132"/>
                <a:gd name="T12" fmla="*/ 606 w 859"/>
                <a:gd name="T13" fmla="*/ 231 h 1132"/>
                <a:gd name="T14" fmla="*/ 544 w 859"/>
                <a:gd name="T15" fmla="*/ 184 h 1132"/>
                <a:gd name="T16" fmla="*/ 467 w 859"/>
                <a:gd name="T17" fmla="*/ 162 h 1132"/>
                <a:gd name="T18" fmla="*/ 385 w 859"/>
                <a:gd name="T19" fmla="*/ 158 h 1132"/>
                <a:gd name="T20" fmla="*/ 304 w 859"/>
                <a:gd name="T21" fmla="*/ 172 h 1132"/>
                <a:gd name="T22" fmla="*/ 236 w 859"/>
                <a:gd name="T23" fmla="*/ 207 h 1132"/>
                <a:gd name="T24" fmla="*/ 200 w 859"/>
                <a:gd name="T25" fmla="*/ 268 h 1132"/>
                <a:gd name="T26" fmla="*/ 207 w 859"/>
                <a:gd name="T27" fmla="*/ 344 h 1132"/>
                <a:gd name="T28" fmla="*/ 256 w 859"/>
                <a:gd name="T29" fmla="*/ 397 h 1132"/>
                <a:gd name="T30" fmla="*/ 334 w 859"/>
                <a:gd name="T31" fmla="*/ 434 h 1132"/>
                <a:gd name="T32" fmla="*/ 428 w 859"/>
                <a:gd name="T33" fmla="*/ 460 h 1132"/>
                <a:gd name="T34" fmla="*/ 528 w 859"/>
                <a:gd name="T35" fmla="*/ 484 h 1132"/>
                <a:gd name="T36" fmla="*/ 634 w 859"/>
                <a:gd name="T37" fmla="*/ 513 h 1132"/>
                <a:gd name="T38" fmla="*/ 728 w 859"/>
                <a:gd name="T39" fmla="*/ 556 h 1132"/>
                <a:gd name="T40" fmla="*/ 804 w 859"/>
                <a:gd name="T41" fmla="*/ 620 h 1132"/>
                <a:gd name="T42" fmla="*/ 850 w 859"/>
                <a:gd name="T43" fmla="*/ 711 h 1132"/>
                <a:gd name="T44" fmla="*/ 857 w 859"/>
                <a:gd name="T45" fmla="*/ 838 h 1132"/>
                <a:gd name="T46" fmla="*/ 821 w 859"/>
                <a:gd name="T47" fmla="*/ 954 h 1132"/>
                <a:gd name="T48" fmla="*/ 750 w 859"/>
                <a:gd name="T49" fmla="*/ 1037 h 1132"/>
                <a:gd name="T50" fmla="*/ 655 w 859"/>
                <a:gd name="T51" fmla="*/ 1093 h 1132"/>
                <a:gd name="T52" fmla="*/ 545 w 859"/>
                <a:gd name="T53" fmla="*/ 1124 h 1132"/>
                <a:gd name="T54" fmla="*/ 428 w 859"/>
                <a:gd name="T55" fmla="*/ 1132 h 1132"/>
                <a:gd name="T56" fmla="*/ 297 w 859"/>
                <a:gd name="T57" fmla="*/ 1120 h 1132"/>
                <a:gd name="T58" fmla="*/ 182 w 859"/>
                <a:gd name="T59" fmla="*/ 1081 h 1132"/>
                <a:gd name="T60" fmla="*/ 89 w 859"/>
                <a:gd name="T61" fmla="*/ 1012 h 1132"/>
                <a:gd name="T62" fmla="*/ 26 w 859"/>
                <a:gd name="T63" fmla="*/ 908 h 1132"/>
                <a:gd name="T64" fmla="*/ 0 w 859"/>
                <a:gd name="T65" fmla="*/ 767 h 1132"/>
                <a:gd name="T66" fmla="*/ 178 w 859"/>
                <a:gd name="T67" fmla="*/ 838 h 1132"/>
                <a:gd name="T68" fmla="*/ 229 w 859"/>
                <a:gd name="T69" fmla="*/ 913 h 1132"/>
                <a:gd name="T70" fmla="*/ 308 w 859"/>
                <a:gd name="T71" fmla="*/ 957 h 1132"/>
                <a:gd name="T72" fmla="*/ 404 w 859"/>
                <a:gd name="T73" fmla="*/ 974 h 1132"/>
                <a:gd name="T74" fmla="*/ 488 w 859"/>
                <a:gd name="T75" fmla="*/ 974 h 1132"/>
                <a:gd name="T76" fmla="*/ 564 w 859"/>
                <a:gd name="T77" fmla="*/ 960 h 1132"/>
                <a:gd name="T78" fmla="*/ 630 w 859"/>
                <a:gd name="T79" fmla="*/ 927 h 1132"/>
                <a:gd name="T80" fmla="*/ 674 w 859"/>
                <a:gd name="T81" fmla="*/ 871 h 1132"/>
                <a:gd name="T82" fmla="*/ 681 w 859"/>
                <a:gd name="T83" fmla="*/ 787 h 1132"/>
                <a:gd name="T84" fmla="*/ 647 w 859"/>
                <a:gd name="T85" fmla="*/ 722 h 1132"/>
                <a:gd name="T86" fmla="*/ 580 w 859"/>
                <a:gd name="T87" fmla="*/ 677 h 1132"/>
                <a:gd name="T88" fmla="*/ 490 w 859"/>
                <a:gd name="T89" fmla="*/ 647 h 1132"/>
                <a:gd name="T90" fmla="*/ 387 w 859"/>
                <a:gd name="T91" fmla="*/ 622 h 1132"/>
                <a:gd name="T92" fmla="*/ 281 w 859"/>
                <a:gd name="T93" fmla="*/ 595 h 1132"/>
                <a:gd name="T94" fmla="*/ 183 w 859"/>
                <a:gd name="T95" fmla="*/ 558 h 1132"/>
                <a:gd name="T96" fmla="*/ 99 w 859"/>
                <a:gd name="T97" fmla="*/ 504 h 1132"/>
                <a:gd name="T98" fmla="*/ 42 w 859"/>
                <a:gd name="T99" fmla="*/ 423 h 1132"/>
                <a:gd name="T100" fmla="*/ 21 w 859"/>
                <a:gd name="T101" fmla="*/ 308 h 1132"/>
                <a:gd name="T102" fmla="*/ 43 w 859"/>
                <a:gd name="T103" fmla="*/ 193 h 1132"/>
                <a:gd name="T104" fmla="*/ 103 w 859"/>
                <a:gd name="T105" fmla="*/ 107 h 1132"/>
                <a:gd name="T106" fmla="*/ 190 w 859"/>
                <a:gd name="T107" fmla="*/ 46 h 1132"/>
                <a:gd name="T108" fmla="*/ 292 w 859"/>
                <a:gd name="T109" fmla="*/ 12 h 1132"/>
                <a:gd name="T110" fmla="*/ 399 w 859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9" h="1132">
                  <a:moveTo>
                    <a:pt x="399" y="0"/>
                  </a:moveTo>
                  <a:lnTo>
                    <a:pt x="443" y="2"/>
                  </a:lnTo>
                  <a:lnTo>
                    <a:pt x="485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3" y="31"/>
                  </a:lnTo>
                  <a:lnTo>
                    <a:pt x="637" y="44"/>
                  </a:lnTo>
                  <a:lnTo>
                    <a:pt x="670" y="62"/>
                  </a:lnTo>
                  <a:lnTo>
                    <a:pt x="699" y="82"/>
                  </a:lnTo>
                  <a:lnTo>
                    <a:pt x="726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7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2" y="307"/>
                  </a:lnTo>
                  <a:lnTo>
                    <a:pt x="634" y="278"/>
                  </a:lnTo>
                  <a:lnTo>
                    <a:pt x="621" y="254"/>
                  </a:lnTo>
                  <a:lnTo>
                    <a:pt x="606" y="231"/>
                  </a:lnTo>
                  <a:lnTo>
                    <a:pt x="587" y="213"/>
                  </a:lnTo>
                  <a:lnTo>
                    <a:pt x="567" y="197"/>
                  </a:lnTo>
                  <a:lnTo>
                    <a:pt x="544" y="184"/>
                  </a:lnTo>
                  <a:lnTo>
                    <a:pt x="519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0" y="158"/>
                  </a:lnTo>
                  <a:lnTo>
                    <a:pt x="412" y="157"/>
                  </a:lnTo>
                  <a:lnTo>
                    <a:pt x="385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4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6" y="207"/>
                  </a:lnTo>
                  <a:lnTo>
                    <a:pt x="221" y="224"/>
                  </a:lnTo>
                  <a:lnTo>
                    <a:pt x="208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7" y="344"/>
                  </a:lnTo>
                  <a:lnTo>
                    <a:pt x="219" y="365"/>
                  </a:lnTo>
                  <a:lnTo>
                    <a:pt x="236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4" y="423"/>
                  </a:lnTo>
                  <a:lnTo>
                    <a:pt x="334" y="434"/>
                  </a:lnTo>
                  <a:lnTo>
                    <a:pt x="363" y="443"/>
                  </a:lnTo>
                  <a:lnTo>
                    <a:pt x="395" y="452"/>
                  </a:lnTo>
                  <a:lnTo>
                    <a:pt x="428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4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6" y="527"/>
                  </a:lnTo>
                  <a:lnTo>
                    <a:pt x="698" y="540"/>
                  </a:lnTo>
                  <a:lnTo>
                    <a:pt x="728" y="556"/>
                  </a:lnTo>
                  <a:lnTo>
                    <a:pt x="756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8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59" y="792"/>
                  </a:lnTo>
                  <a:lnTo>
                    <a:pt x="857" y="838"/>
                  </a:lnTo>
                  <a:lnTo>
                    <a:pt x="849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89" y="1077"/>
                  </a:lnTo>
                  <a:lnTo>
                    <a:pt x="655" y="1093"/>
                  </a:lnTo>
                  <a:lnTo>
                    <a:pt x="619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8" y="1132"/>
                  </a:lnTo>
                  <a:lnTo>
                    <a:pt x="383" y="1131"/>
                  </a:lnTo>
                  <a:lnTo>
                    <a:pt x="340" y="1128"/>
                  </a:lnTo>
                  <a:lnTo>
                    <a:pt x="297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8" y="1061"/>
                  </a:lnTo>
                  <a:lnTo>
                    <a:pt x="117" y="1038"/>
                  </a:lnTo>
                  <a:lnTo>
                    <a:pt x="89" y="1012"/>
                  </a:lnTo>
                  <a:lnTo>
                    <a:pt x="65" y="980"/>
                  </a:lnTo>
                  <a:lnTo>
                    <a:pt x="43" y="947"/>
                  </a:lnTo>
                  <a:lnTo>
                    <a:pt x="26" y="908"/>
                  </a:lnTo>
                  <a:lnTo>
                    <a:pt x="13" y="865"/>
                  </a:lnTo>
                  <a:lnTo>
                    <a:pt x="4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0" y="804"/>
                  </a:lnTo>
                  <a:lnTo>
                    <a:pt x="178" y="838"/>
                  </a:lnTo>
                  <a:lnTo>
                    <a:pt x="191" y="867"/>
                  </a:lnTo>
                  <a:lnTo>
                    <a:pt x="208" y="891"/>
                  </a:lnTo>
                  <a:lnTo>
                    <a:pt x="229" y="913"/>
                  </a:lnTo>
                  <a:lnTo>
                    <a:pt x="253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8" y="966"/>
                  </a:lnTo>
                  <a:lnTo>
                    <a:pt x="371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2" y="976"/>
                  </a:lnTo>
                  <a:lnTo>
                    <a:pt x="488" y="974"/>
                  </a:lnTo>
                  <a:lnTo>
                    <a:pt x="513" y="971"/>
                  </a:lnTo>
                  <a:lnTo>
                    <a:pt x="539" y="966"/>
                  </a:lnTo>
                  <a:lnTo>
                    <a:pt x="564" y="960"/>
                  </a:lnTo>
                  <a:lnTo>
                    <a:pt x="589" y="951"/>
                  </a:lnTo>
                  <a:lnTo>
                    <a:pt x="610" y="941"/>
                  </a:lnTo>
                  <a:lnTo>
                    <a:pt x="630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3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1" y="740"/>
                  </a:lnTo>
                  <a:lnTo>
                    <a:pt x="647" y="722"/>
                  </a:lnTo>
                  <a:lnTo>
                    <a:pt x="627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2" y="656"/>
                  </a:lnTo>
                  <a:lnTo>
                    <a:pt x="490" y="647"/>
                  </a:lnTo>
                  <a:lnTo>
                    <a:pt x="457" y="639"/>
                  </a:lnTo>
                  <a:lnTo>
                    <a:pt x="422" y="630"/>
                  </a:lnTo>
                  <a:lnTo>
                    <a:pt x="387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1" y="595"/>
                  </a:lnTo>
                  <a:lnTo>
                    <a:pt x="247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7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1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3" y="193"/>
                  </a:lnTo>
                  <a:lnTo>
                    <a:pt x="60" y="161"/>
                  </a:lnTo>
                  <a:lnTo>
                    <a:pt x="80" y="132"/>
                  </a:lnTo>
                  <a:lnTo>
                    <a:pt x="103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0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2" y="12"/>
                  </a:lnTo>
                  <a:lnTo>
                    <a:pt x="327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95891E3-D5E5-4019-BFD6-31AF28ABC6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994526" y="4454526"/>
              <a:ext cx="377825" cy="449263"/>
            </a:xfrm>
            <a:custGeom>
              <a:avLst/>
              <a:gdLst>
                <a:gd name="T0" fmla="*/ 629 w 951"/>
                <a:gd name="T1" fmla="*/ 576 h 1132"/>
                <a:gd name="T2" fmla="*/ 530 w 951"/>
                <a:gd name="T3" fmla="*/ 600 h 1132"/>
                <a:gd name="T4" fmla="*/ 417 w 951"/>
                <a:gd name="T5" fmla="*/ 616 h 1132"/>
                <a:gd name="T6" fmla="*/ 322 w 951"/>
                <a:gd name="T7" fmla="*/ 636 h 1132"/>
                <a:gd name="T8" fmla="*/ 247 w 951"/>
                <a:gd name="T9" fmla="*/ 670 h 1132"/>
                <a:gd name="T10" fmla="*/ 196 w 951"/>
                <a:gd name="T11" fmla="*/ 728 h 1132"/>
                <a:gd name="T12" fmla="*/ 176 w 951"/>
                <a:gd name="T13" fmla="*/ 817 h 1132"/>
                <a:gd name="T14" fmla="*/ 194 w 951"/>
                <a:gd name="T15" fmla="*/ 897 h 1132"/>
                <a:gd name="T16" fmla="*/ 245 w 951"/>
                <a:gd name="T17" fmla="*/ 947 h 1132"/>
                <a:gd name="T18" fmla="*/ 317 w 951"/>
                <a:gd name="T19" fmla="*/ 972 h 1132"/>
                <a:gd name="T20" fmla="*/ 417 w 951"/>
                <a:gd name="T21" fmla="*/ 974 h 1132"/>
                <a:gd name="T22" fmla="*/ 528 w 951"/>
                <a:gd name="T23" fmla="*/ 944 h 1132"/>
                <a:gd name="T24" fmla="*/ 609 w 951"/>
                <a:gd name="T25" fmla="*/ 890 h 1132"/>
                <a:gd name="T26" fmla="*/ 658 w 951"/>
                <a:gd name="T27" fmla="*/ 822 h 1132"/>
                <a:gd name="T28" fmla="*/ 679 w 951"/>
                <a:gd name="T29" fmla="*/ 753 h 1132"/>
                <a:gd name="T30" fmla="*/ 468 w 951"/>
                <a:gd name="T31" fmla="*/ 0 h 1132"/>
                <a:gd name="T32" fmla="*/ 570 w 951"/>
                <a:gd name="T33" fmla="*/ 6 h 1132"/>
                <a:gd name="T34" fmla="*/ 668 w 951"/>
                <a:gd name="T35" fmla="*/ 28 h 1132"/>
                <a:gd name="T36" fmla="*/ 752 w 951"/>
                <a:gd name="T37" fmla="*/ 72 h 1132"/>
                <a:gd name="T38" fmla="*/ 814 w 951"/>
                <a:gd name="T39" fmla="*/ 145 h 1132"/>
                <a:gd name="T40" fmla="*/ 845 w 951"/>
                <a:gd name="T41" fmla="*/ 253 h 1132"/>
                <a:gd name="T42" fmla="*/ 848 w 951"/>
                <a:gd name="T43" fmla="*/ 884 h 1132"/>
                <a:gd name="T44" fmla="*/ 854 w 951"/>
                <a:gd name="T45" fmla="*/ 947 h 1132"/>
                <a:gd name="T46" fmla="*/ 883 w 951"/>
                <a:gd name="T47" fmla="*/ 974 h 1132"/>
                <a:gd name="T48" fmla="*/ 932 w 951"/>
                <a:gd name="T49" fmla="*/ 972 h 1132"/>
                <a:gd name="T50" fmla="*/ 933 w 951"/>
                <a:gd name="T51" fmla="*/ 1114 h 1132"/>
                <a:gd name="T52" fmla="*/ 861 w 951"/>
                <a:gd name="T53" fmla="*/ 1131 h 1132"/>
                <a:gd name="T54" fmla="*/ 779 w 951"/>
                <a:gd name="T55" fmla="*/ 1125 h 1132"/>
                <a:gd name="T56" fmla="*/ 721 w 951"/>
                <a:gd name="T57" fmla="*/ 1083 h 1132"/>
                <a:gd name="T58" fmla="*/ 692 w 951"/>
                <a:gd name="T59" fmla="*/ 1002 h 1132"/>
                <a:gd name="T60" fmla="*/ 616 w 951"/>
                <a:gd name="T61" fmla="*/ 1041 h 1132"/>
                <a:gd name="T62" fmla="*/ 485 w 951"/>
                <a:gd name="T63" fmla="*/ 1111 h 1132"/>
                <a:gd name="T64" fmla="*/ 334 w 951"/>
                <a:gd name="T65" fmla="*/ 1132 h 1132"/>
                <a:gd name="T66" fmla="*/ 222 w 951"/>
                <a:gd name="T67" fmla="*/ 1120 h 1132"/>
                <a:gd name="T68" fmla="*/ 125 w 951"/>
                <a:gd name="T69" fmla="*/ 1082 h 1132"/>
                <a:gd name="T70" fmla="*/ 52 w 951"/>
                <a:gd name="T71" fmla="*/ 1013 h 1132"/>
                <a:gd name="T72" fmla="*/ 9 w 951"/>
                <a:gd name="T73" fmla="*/ 914 h 1132"/>
                <a:gd name="T74" fmla="*/ 1 w 951"/>
                <a:gd name="T75" fmla="*/ 784 h 1132"/>
                <a:gd name="T76" fmla="*/ 33 w 951"/>
                <a:gd name="T77" fmla="*/ 671 h 1132"/>
                <a:gd name="T78" fmla="*/ 94 w 951"/>
                <a:gd name="T79" fmla="*/ 594 h 1132"/>
                <a:gd name="T80" fmla="*/ 176 w 951"/>
                <a:gd name="T81" fmla="*/ 545 h 1132"/>
                <a:gd name="T82" fmla="*/ 273 w 951"/>
                <a:gd name="T83" fmla="*/ 512 h 1132"/>
                <a:gd name="T84" fmla="*/ 381 w 951"/>
                <a:gd name="T85" fmla="*/ 489 h 1132"/>
                <a:gd name="T86" fmla="*/ 491 w 951"/>
                <a:gd name="T87" fmla="*/ 472 h 1132"/>
                <a:gd name="T88" fmla="*/ 582 w 951"/>
                <a:gd name="T89" fmla="*/ 453 h 1132"/>
                <a:gd name="T90" fmla="*/ 647 w 951"/>
                <a:gd name="T91" fmla="*/ 422 h 1132"/>
                <a:gd name="T92" fmla="*/ 680 w 951"/>
                <a:gd name="T93" fmla="*/ 365 h 1132"/>
                <a:gd name="T94" fmla="*/ 675 w 951"/>
                <a:gd name="T95" fmla="*/ 276 h 1132"/>
                <a:gd name="T96" fmla="*/ 638 w 951"/>
                <a:gd name="T97" fmla="*/ 210 h 1132"/>
                <a:gd name="T98" fmla="*/ 578 w 951"/>
                <a:gd name="T99" fmla="*/ 175 h 1132"/>
                <a:gd name="T100" fmla="*/ 506 w 951"/>
                <a:gd name="T101" fmla="*/ 160 h 1132"/>
                <a:gd name="T102" fmla="*/ 423 w 951"/>
                <a:gd name="T103" fmla="*/ 158 h 1132"/>
                <a:gd name="T104" fmla="*/ 332 w 951"/>
                <a:gd name="T105" fmla="*/ 175 h 1132"/>
                <a:gd name="T106" fmla="*/ 261 w 951"/>
                <a:gd name="T107" fmla="*/ 218 h 1132"/>
                <a:gd name="T108" fmla="*/ 216 w 951"/>
                <a:gd name="T109" fmla="*/ 292 h 1132"/>
                <a:gd name="T110" fmla="*/ 39 w 951"/>
                <a:gd name="T111" fmla="*/ 362 h 1132"/>
                <a:gd name="T112" fmla="*/ 66 w 951"/>
                <a:gd name="T113" fmla="*/ 222 h 1132"/>
                <a:gd name="T114" fmla="*/ 129 w 951"/>
                <a:gd name="T115" fmla="*/ 120 h 1132"/>
                <a:gd name="T116" fmla="*/ 222 w 951"/>
                <a:gd name="T117" fmla="*/ 51 h 1132"/>
                <a:gd name="T118" fmla="*/ 338 w 951"/>
                <a:gd name="T119" fmla="*/ 12 h 1132"/>
                <a:gd name="T120" fmla="*/ 468 w 951"/>
                <a:gd name="T12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1" h="1132">
                  <a:moveTo>
                    <a:pt x="681" y="550"/>
                  </a:moveTo>
                  <a:lnTo>
                    <a:pt x="657" y="564"/>
                  </a:lnTo>
                  <a:lnTo>
                    <a:pt x="629" y="576"/>
                  </a:lnTo>
                  <a:lnTo>
                    <a:pt x="599" y="586"/>
                  </a:lnTo>
                  <a:lnTo>
                    <a:pt x="565" y="593"/>
                  </a:lnTo>
                  <a:lnTo>
                    <a:pt x="530" y="600"/>
                  </a:lnTo>
                  <a:lnTo>
                    <a:pt x="493" y="605"/>
                  </a:lnTo>
                  <a:lnTo>
                    <a:pt x="455" y="611"/>
                  </a:lnTo>
                  <a:lnTo>
                    <a:pt x="417" y="616"/>
                  </a:lnTo>
                  <a:lnTo>
                    <a:pt x="379" y="622"/>
                  </a:lnTo>
                  <a:lnTo>
                    <a:pt x="350" y="629"/>
                  </a:lnTo>
                  <a:lnTo>
                    <a:pt x="322" y="636"/>
                  </a:lnTo>
                  <a:lnTo>
                    <a:pt x="295" y="646"/>
                  </a:lnTo>
                  <a:lnTo>
                    <a:pt x="270" y="657"/>
                  </a:lnTo>
                  <a:lnTo>
                    <a:pt x="247" y="670"/>
                  </a:lnTo>
                  <a:lnTo>
                    <a:pt x="227" y="686"/>
                  </a:lnTo>
                  <a:lnTo>
                    <a:pt x="209" y="705"/>
                  </a:lnTo>
                  <a:lnTo>
                    <a:pt x="196" y="728"/>
                  </a:lnTo>
                  <a:lnTo>
                    <a:pt x="185" y="753"/>
                  </a:lnTo>
                  <a:lnTo>
                    <a:pt x="177" y="784"/>
                  </a:lnTo>
                  <a:lnTo>
                    <a:pt x="176" y="817"/>
                  </a:lnTo>
                  <a:lnTo>
                    <a:pt x="177" y="848"/>
                  </a:lnTo>
                  <a:lnTo>
                    <a:pt x="185" y="874"/>
                  </a:lnTo>
                  <a:lnTo>
                    <a:pt x="194" y="897"/>
                  </a:lnTo>
                  <a:lnTo>
                    <a:pt x="209" y="916"/>
                  </a:lnTo>
                  <a:lnTo>
                    <a:pt x="226" y="933"/>
                  </a:lnTo>
                  <a:lnTo>
                    <a:pt x="245" y="947"/>
                  </a:lnTo>
                  <a:lnTo>
                    <a:pt x="267" y="957"/>
                  </a:lnTo>
                  <a:lnTo>
                    <a:pt x="292" y="966"/>
                  </a:lnTo>
                  <a:lnTo>
                    <a:pt x="317" y="972"/>
                  </a:lnTo>
                  <a:lnTo>
                    <a:pt x="344" y="974"/>
                  </a:lnTo>
                  <a:lnTo>
                    <a:pt x="372" y="976"/>
                  </a:lnTo>
                  <a:lnTo>
                    <a:pt x="417" y="974"/>
                  </a:lnTo>
                  <a:lnTo>
                    <a:pt x="458" y="967"/>
                  </a:lnTo>
                  <a:lnTo>
                    <a:pt x="496" y="957"/>
                  </a:lnTo>
                  <a:lnTo>
                    <a:pt x="528" y="944"/>
                  </a:lnTo>
                  <a:lnTo>
                    <a:pt x="559" y="929"/>
                  </a:lnTo>
                  <a:lnTo>
                    <a:pt x="585" y="910"/>
                  </a:lnTo>
                  <a:lnTo>
                    <a:pt x="609" y="890"/>
                  </a:lnTo>
                  <a:lnTo>
                    <a:pt x="628" y="869"/>
                  </a:lnTo>
                  <a:lnTo>
                    <a:pt x="645" y="846"/>
                  </a:lnTo>
                  <a:lnTo>
                    <a:pt x="658" y="822"/>
                  </a:lnTo>
                  <a:lnTo>
                    <a:pt x="668" y="799"/>
                  </a:lnTo>
                  <a:lnTo>
                    <a:pt x="675" y="775"/>
                  </a:lnTo>
                  <a:lnTo>
                    <a:pt x="679" y="753"/>
                  </a:lnTo>
                  <a:lnTo>
                    <a:pt x="681" y="732"/>
                  </a:lnTo>
                  <a:lnTo>
                    <a:pt x="681" y="550"/>
                  </a:lnTo>
                  <a:close/>
                  <a:moveTo>
                    <a:pt x="468" y="0"/>
                  </a:moveTo>
                  <a:lnTo>
                    <a:pt x="502" y="2"/>
                  </a:lnTo>
                  <a:lnTo>
                    <a:pt x="536" y="3"/>
                  </a:lnTo>
                  <a:lnTo>
                    <a:pt x="570" y="6"/>
                  </a:lnTo>
                  <a:lnTo>
                    <a:pt x="604" y="11"/>
                  </a:lnTo>
                  <a:lnTo>
                    <a:pt x="636" y="18"/>
                  </a:lnTo>
                  <a:lnTo>
                    <a:pt x="668" y="28"/>
                  </a:lnTo>
                  <a:lnTo>
                    <a:pt x="697" y="40"/>
                  </a:lnTo>
                  <a:lnTo>
                    <a:pt x="725" y="55"/>
                  </a:lnTo>
                  <a:lnTo>
                    <a:pt x="752" y="72"/>
                  </a:lnTo>
                  <a:lnTo>
                    <a:pt x="775" y="93"/>
                  </a:lnTo>
                  <a:lnTo>
                    <a:pt x="796" y="117"/>
                  </a:lnTo>
                  <a:lnTo>
                    <a:pt x="814" y="145"/>
                  </a:lnTo>
                  <a:lnTo>
                    <a:pt x="828" y="177"/>
                  </a:lnTo>
                  <a:lnTo>
                    <a:pt x="838" y="213"/>
                  </a:lnTo>
                  <a:lnTo>
                    <a:pt x="845" y="253"/>
                  </a:lnTo>
                  <a:lnTo>
                    <a:pt x="848" y="298"/>
                  </a:lnTo>
                  <a:lnTo>
                    <a:pt x="848" y="855"/>
                  </a:lnTo>
                  <a:lnTo>
                    <a:pt x="848" y="884"/>
                  </a:lnTo>
                  <a:lnTo>
                    <a:pt x="848" y="909"/>
                  </a:lnTo>
                  <a:lnTo>
                    <a:pt x="850" y="930"/>
                  </a:lnTo>
                  <a:lnTo>
                    <a:pt x="854" y="947"/>
                  </a:lnTo>
                  <a:lnTo>
                    <a:pt x="860" y="960"/>
                  </a:lnTo>
                  <a:lnTo>
                    <a:pt x="870" y="968"/>
                  </a:lnTo>
                  <a:lnTo>
                    <a:pt x="883" y="974"/>
                  </a:lnTo>
                  <a:lnTo>
                    <a:pt x="900" y="976"/>
                  </a:lnTo>
                  <a:lnTo>
                    <a:pt x="915" y="976"/>
                  </a:lnTo>
                  <a:lnTo>
                    <a:pt x="932" y="972"/>
                  </a:lnTo>
                  <a:lnTo>
                    <a:pt x="951" y="966"/>
                  </a:lnTo>
                  <a:lnTo>
                    <a:pt x="951" y="1104"/>
                  </a:lnTo>
                  <a:lnTo>
                    <a:pt x="933" y="1114"/>
                  </a:lnTo>
                  <a:lnTo>
                    <a:pt x="911" y="1122"/>
                  </a:lnTo>
                  <a:lnTo>
                    <a:pt x="888" y="1128"/>
                  </a:lnTo>
                  <a:lnTo>
                    <a:pt x="861" y="1131"/>
                  </a:lnTo>
                  <a:lnTo>
                    <a:pt x="832" y="1132"/>
                  </a:lnTo>
                  <a:lnTo>
                    <a:pt x="804" y="1131"/>
                  </a:lnTo>
                  <a:lnTo>
                    <a:pt x="779" y="1125"/>
                  </a:lnTo>
                  <a:lnTo>
                    <a:pt x="757" y="1116"/>
                  </a:lnTo>
                  <a:lnTo>
                    <a:pt x="737" y="1101"/>
                  </a:lnTo>
                  <a:lnTo>
                    <a:pt x="721" y="1083"/>
                  </a:lnTo>
                  <a:lnTo>
                    <a:pt x="708" y="1061"/>
                  </a:lnTo>
                  <a:lnTo>
                    <a:pt x="698" y="1034"/>
                  </a:lnTo>
                  <a:lnTo>
                    <a:pt x="692" y="1002"/>
                  </a:lnTo>
                  <a:lnTo>
                    <a:pt x="691" y="966"/>
                  </a:lnTo>
                  <a:lnTo>
                    <a:pt x="655" y="1006"/>
                  </a:lnTo>
                  <a:lnTo>
                    <a:pt x="616" y="1041"/>
                  </a:lnTo>
                  <a:lnTo>
                    <a:pt x="575" y="1069"/>
                  </a:lnTo>
                  <a:lnTo>
                    <a:pt x="531" y="1093"/>
                  </a:lnTo>
                  <a:lnTo>
                    <a:pt x="485" y="1111"/>
                  </a:lnTo>
                  <a:lnTo>
                    <a:pt x="436" y="1123"/>
                  </a:lnTo>
                  <a:lnTo>
                    <a:pt x="386" y="1130"/>
                  </a:lnTo>
                  <a:lnTo>
                    <a:pt x="334" y="1132"/>
                  </a:lnTo>
                  <a:lnTo>
                    <a:pt x="295" y="1131"/>
                  </a:lnTo>
                  <a:lnTo>
                    <a:pt x="258" y="1128"/>
                  </a:lnTo>
                  <a:lnTo>
                    <a:pt x="222" y="1120"/>
                  </a:lnTo>
                  <a:lnTo>
                    <a:pt x="187" y="1111"/>
                  </a:lnTo>
                  <a:lnTo>
                    <a:pt x="155" y="1097"/>
                  </a:lnTo>
                  <a:lnTo>
                    <a:pt x="125" y="1082"/>
                  </a:lnTo>
                  <a:lnTo>
                    <a:pt x="98" y="1062"/>
                  </a:lnTo>
                  <a:lnTo>
                    <a:pt x="73" y="1040"/>
                  </a:lnTo>
                  <a:lnTo>
                    <a:pt x="52" y="1013"/>
                  </a:lnTo>
                  <a:lnTo>
                    <a:pt x="34" y="984"/>
                  </a:lnTo>
                  <a:lnTo>
                    <a:pt x="19" y="951"/>
                  </a:lnTo>
                  <a:lnTo>
                    <a:pt x="9" y="914"/>
                  </a:lnTo>
                  <a:lnTo>
                    <a:pt x="1" y="874"/>
                  </a:lnTo>
                  <a:lnTo>
                    <a:pt x="0" y="830"/>
                  </a:lnTo>
                  <a:lnTo>
                    <a:pt x="1" y="784"/>
                  </a:lnTo>
                  <a:lnTo>
                    <a:pt x="9" y="741"/>
                  </a:lnTo>
                  <a:lnTo>
                    <a:pt x="18" y="704"/>
                  </a:lnTo>
                  <a:lnTo>
                    <a:pt x="33" y="671"/>
                  </a:lnTo>
                  <a:lnTo>
                    <a:pt x="50" y="642"/>
                  </a:lnTo>
                  <a:lnTo>
                    <a:pt x="70" y="617"/>
                  </a:lnTo>
                  <a:lnTo>
                    <a:pt x="94" y="594"/>
                  </a:lnTo>
                  <a:lnTo>
                    <a:pt x="119" y="575"/>
                  </a:lnTo>
                  <a:lnTo>
                    <a:pt x="147" y="559"/>
                  </a:lnTo>
                  <a:lnTo>
                    <a:pt x="176" y="545"/>
                  </a:lnTo>
                  <a:lnTo>
                    <a:pt x="208" y="533"/>
                  </a:lnTo>
                  <a:lnTo>
                    <a:pt x="241" y="522"/>
                  </a:lnTo>
                  <a:lnTo>
                    <a:pt x="273" y="512"/>
                  </a:lnTo>
                  <a:lnTo>
                    <a:pt x="307" y="505"/>
                  </a:lnTo>
                  <a:lnTo>
                    <a:pt x="343" y="496"/>
                  </a:lnTo>
                  <a:lnTo>
                    <a:pt x="381" y="489"/>
                  </a:lnTo>
                  <a:lnTo>
                    <a:pt x="419" y="483"/>
                  </a:lnTo>
                  <a:lnTo>
                    <a:pt x="455" y="477"/>
                  </a:lnTo>
                  <a:lnTo>
                    <a:pt x="491" y="472"/>
                  </a:lnTo>
                  <a:lnTo>
                    <a:pt x="523" y="466"/>
                  </a:lnTo>
                  <a:lnTo>
                    <a:pt x="554" y="460"/>
                  </a:lnTo>
                  <a:lnTo>
                    <a:pt x="582" y="453"/>
                  </a:lnTo>
                  <a:lnTo>
                    <a:pt x="606" y="445"/>
                  </a:lnTo>
                  <a:lnTo>
                    <a:pt x="629" y="434"/>
                  </a:lnTo>
                  <a:lnTo>
                    <a:pt x="647" y="422"/>
                  </a:lnTo>
                  <a:lnTo>
                    <a:pt x="662" y="406"/>
                  </a:lnTo>
                  <a:lnTo>
                    <a:pt x="674" y="387"/>
                  </a:lnTo>
                  <a:lnTo>
                    <a:pt x="680" y="365"/>
                  </a:lnTo>
                  <a:lnTo>
                    <a:pt x="683" y="338"/>
                  </a:lnTo>
                  <a:lnTo>
                    <a:pt x="680" y="304"/>
                  </a:lnTo>
                  <a:lnTo>
                    <a:pt x="675" y="276"/>
                  </a:lnTo>
                  <a:lnTo>
                    <a:pt x="666" y="250"/>
                  </a:lnTo>
                  <a:lnTo>
                    <a:pt x="652" y="228"/>
                  </a:lnTo>
                  <a:lnTo>
                    <a:pt x="638" y="210"/>
                  </a:lnTo>
                  <a:lnTo>
                    <a:pt x="619" y="196"/>
                  </a:lnTo>
                  <a:lnTo>
                    <a:pt x="600" y="184"/>
                  </a:lnTo>
                  <a:lnTo>
                    <a:pt x="578" y="175"/>
                  </a:lnTo>
                  <a:lnTo>
                    <a:pt x="555" y="168"/>
                  </a:lnTo>
                  <a:lnTo>
                    <a:pt x="532" y="163"/>
                  </a:lnTo>
                  <a:lnTo>
                    <a:pt x="506" y="160"/>
                  </a:lnTo>
                  <a:lnTo>
                    <a:pt x="482" y="158"/>
                  </a:lnTo>
                  <a:lnTo>
                    <a:pt x="458" y="157"/>
                  </a:lnTo>
                  <a:lnTo>
                    <a:pt x="423" y="158"/>
                  </a:lnTo>
                  <a:lnTo>
                    <a:pt x="391" y="162"/>
                  </a:lnTo>
                  <a:lnTo>
                    <a:pt x="360" y="168"/>
                  </a:lnTo>
                  <a:lnTo>
                    <a:pt x="332" y="175"/>
                  </a:lnTo>
                  <a:lnTo>
                    <a:pt x="305" y="186"/>
                  </a:lnTo>
                  <a:lnTo>
                    <a:pt x="282" y="201"/>
                  </a:lnTo>
                  <a:lnTo>
                    <a:pt x="261" y="218"/>
                  </a:lnTo>
                  <a:lnTo>
                    <a:pt x="243" y="239"/>
                  </a:lnTo>
                  <a:lnTo>
                    <a:pt x="228" y="263"/>
                  </a:lnTo>
                  <a:lnTo>
                    <a:pt x="216" y="292"/>
                  </a:lnTo>
                  <a:lnTo>
                    <a:pt x="209" y="325"/>
                  </a:lnTo>
                  <a:lnTo>
                    <a:pt x="205" y="362"/>
                  </a:lnTo>
                  <a:lnTo>
                    <a:pt x="39" y="362"/>
                  </a:lnTo>
                  <a:lnTo>
                    <a:pt x="43" y="312"/>
                  </a:lnTo>
                  <a:lnTo>
                    <a:pt x="52" y="265"/>
                  </a:lnTo>
                  <a:lnTo>
                    <a:pt x="66" y="222"/>
                  </a:lnTo>
                  <a:lnTo>
                    <a:pt x="83" y="184"/>
                  </a:lnTo>
                  <a:lnTo>
                    <a:pt x="104" y="150"/>
                  </a:lnTo>
                  <a:lnTo>
                    <a:pt x="129" y="120"/>
                  </a:lnTo>
                  <a:lnTo>
                    <a:pt x="157" y="93"/>
                  </a:lnTo>
                  <a:lnTo>
                    <a:pt x="188" y="70"/>
                  </a:lnTo>
                  <a:lnTo>
                    <a:pt x="222" y="51"/>
                  </a:lnTo>
                  <a:lnTo>
                    <a:pt x="259" y="35"/>
                  </a:lnTo>
                  <a:lnTo>
                    <a:pt x="296" y="22"/>
                  </a:lnTo>
                  <a:lnTo>
                    <a:pt x="338" y="12"/>
                  </a:lnTo>
                  <a:lnTo>
                    <a:pt x="379" y="6"/>
                  </a:lnTo>
                  <a:lnTo>
                    <a:pt x="423" y="3"/>
                  </a:lnTo>
                  <a:lnTo>
                    <a:pt x="4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471918F8-48E6-4AEC-B723-4E68738237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67588" y="4454526"/>
              <a:ext cx="341313" cy="449263"/>
            </a:xfrm>
            <a:custGeom>
              <a:avLst/>
              <a:gdLst>
                <a:gd name="T0" fmla="*/ 486 w 860"/>
                <a:gd name="T1" fmla="*/ 5 h 1132"/>
                <a:gd name="T2" fmla="*/ 604 w 860"/>
                <a:gd name="T3" fmla="*/ 31 h 1132"/>
                <a:gd name="T4" fmla="*/ 701 w 860"/>
                <a:gd name="T5" fmla="*/ 82 h 1132"/>
                <a:gd name="T6" fmla="*/ 771 w 860"/>
                <a:gd name="T7" fmla="*/ 167 h 1132"/>
                <a:gd name="T8" fmla="*/ 810 w 860"/>
                <a:gd name="T9" fmla="*/ 290 h 1132"/>
                <a:gd name="T10" fmla="*/ 644 w 860"/>
                <a:gd name="T11" fmla="*/ 307 h 1132"/>
                <a:gd name="T12" fmla="*/ 606 w 860"/>
                <a:gd name="T13" fmla="*/ 231 h 1132"/>
                <a:gd name="T14" fmla="*/ 545 w 860"/>
                <a:gd name="T15" fmla="*/ 184 h 1132"/>
                <a:gd name="T16" fmla="*/ 467 w 860"/>
                <a:gd name="T17" fmla="*/ 162 h 1132"/>
                <a:gd name="T18" fmla="*/ 386 w 860"/>
                <a:gd name="T19" fmla="*/ 158 h 1132"/>
                <a:gd name="T20" fmla="*/ 305 w 860"/>
                <a:gd name="T21" fmla="*/ 172 h 1132"/>
                <a:gd name="T22" fmla="*/ 238 w 860"/>
                <a:gd name="T23" fmla="*/ 207 h 1132"/>
                <a:gd name="T24" fmla="*/ 200 w 860"/>
                <a:gd name="T25" fmla="*/ 268 h 1132"/>
                <a:gd name="T26" fmla="*/ 208 w 860"/>
                <a:gd name="T27" fmla="*/ 344 h 1132"/>
                <a:gd name="T28" fmla="*/ 256 w 860"/>
                <a:gd name="T29" fmla="*/ 397 h 1132"/>
                <a:gd name="T30" fmla="*/ 334 w 860"/>
                <a:gd name="T31" fmla="*/ 434 h 1132"/>
                <a:gd name="T32" fmla="*/ 429 w 860"/>
                <a:gd name="T33" fmla="*/ 460 h 1132"/>
                <a:gd name="T34" fmla="*/ 528 w 860"/>
                <a:gd name="T35" fmla="*/ 484 h 1132"/>
                <a:gd name="T36" fmla="*/ 634 w 860"/>
                <a:gd name="T37" fmla="*/ 513 h 1132"/>
                <a:gd name="T38" fmla="*/ 729 w 860"/>
                <a:gd name="T39" fmla="*/ 556 h 1132"/>
                <a:gd name="T40" fmla="*/ 804 w 860"/>
                <a:gd name="T41" fmla="*/ 620 h 1132"/>
                <a:gd name="T42" fmla="*/ 850 w 860"/>
                <a:gd name="T43" fmla="*/ 711 h 1132"/>
                <a:gd name="T44" fmla="*/ 857 w 860"/>
                <a:gd name="T45" fmla="*/ 838 h 1132"/>
                <a:gd name="T46" fmla="*/ 821 w 860"/>
                <a:gd name="T47" fmla="*/ 954 h 1132"/>
                <a:gd name="T48" fmla="*/ 750 w 860"/>
                <a:gd name="T49" fmla="*/ 1037 h 1132"/>
                <a:gd name="T50" fmla="*/ 656 w 860"/>
                <a:gd name="T51" fmla="*/ 1093 h 1132"/>
                <a:gd name="T52" fmla="*/ 545 w 860"/>
                <a:gd name="T53" fmla="*/ 1124 h 1132"/>
                <a:gd name="T54" fmla="*/ 429 w 860"/>
                <a:gd name="T55" fmla="*/ 1132 h 1132"/>
                <a:gd name="T56" fmla="*/ 299 w 860"/>
                <a:gd name="T57" fmla="*/ 1120 h 1132"/>
                <a:gd name="T58" fmla="*/ 182 w 860"/>
                <a:gd name="T59" fmla="*/ 1081 h 1132"/>
                <a:gd name="T60" fmla="*/ 90 w 860"/>
                <a:gd name="T61" fmla="*/ 1012 h 1132"/>
                <a:gd name="T62" fmla="*/ 27 w 860"/>
                <a:gd name="T63" fmla="*/ 908 h 1132"/>
                <a:gd name="T64" fmla="*/ 0 w 860"/>
                <a:gd name="T65" fmla="*/ 767 h 1132"/>
                <a:gd name="T66" fmla="*/ 180 w 860"/>
                <a:gd name="T67" fmla="*/ 838 h 1132"/>
                <a:gd name="T68" fmla="*/ 229 w 860"/>
                <a:gd name="T69" fmla="*/ 913 h 1132"/>
                <a:gd name="T70" fmla="*/ 308 w 860"/>
                <a:gd name="T71" fmla="*/ 957 h 1132"/>
                <a:gd name="T72" fmla="*/ 404 w 860"/>
                <a:gd name="T73" fmla="*/ 974 h 1132"/>
                <a:gd name="T74" fmla="*/ 488 w 860"/>
                <a:gd name="T75" fmla="*/ 974 h 1132"/>
                <a:gd name="T76" fmla="*/ 565 w 860"/>
                <a:gd name="T77" fmla="*/ 960 h 1132"/>
                <a:gd name="T78" fmla="*/ 631 w 860"/>
                <a:gd name="T79" fmla="*/ 927 h 1132"/>
                <a:gd name="T80" fmla="*/ 674 w 860"/>
                <a:gd name="T81" fmla="*/ 871 h 1132"/>
                <a:gd name="T82" fmla="*/ 681 w 860"/>
                <a:gd name="T83" fmla="*/ 787 h 1132"/>
                <a:gd name="T84" fmla="*/ 647 w 860"/>
                <a:gd name="T85" fmla="*/ 722 h 1132"/>
                <a:gd name="T86" fmla="*/ 580 w 860"/>
                <a:gd name="T87" fmla="*/ 677 h 1132"/>
                <a:gd name="T88" fmla="*/ 491 w 860"/>
                <a:gd name="T89" fmla="*/ 647 h 1132"/>
                <a:gd name="T90" fmla="*/ 389 w 860"/>
                <a:gd name="T91" fmla="*/ 622 h 1132"/>
                <a:gd name="T92" fmla="*/ 283 w 860"/>
                <a:gd name="T93" fmla="*/ 595 h 1132"/>
                <a:gd name="T94" fmla="*/ 183 w 860"/>
                <a:gd name="T95" fmla="*/ 558 h 1132"/>
                <a:gd name="T96" fmla="*/ 99 w 860"/>
                <a:gd name="T97" fmla="*/ 504 h 1132"/>
                <a:gd name="T98" fmla="*/ 42 w 860"/>
                <a:gd name="T99" fmla="*/ 423 h 1132"/>
                <a:gd name="T100" fmla="*/ 22 w 860"/>
                <a:gd name="T101" fmla="*/ 308 h 1132"/>
                <a:gd name="T102" fmla="*/ 44 w 860"/>
                <a:gd name="T103" fmla="*/ 193 h 1132"/>
                <a:gd name="T104" fmla="*/ 104 w 860"/>
                <a:gd name="T105" fmla="*/ 107 h 1132"/>
                <a:gd name="T106" fmla="*/ 191 w 860"/>
                <a:gd name="T107" fmla="*/ 46 h 1132"/>
                <a:gd name="T108" fmla="*/ 293 w 860"/>
                <a:gd name="T109" fmla="*/ 12 h 1132"/>
                <a:gd name="T110" fmla="*/ 399 w 860"/>
                <a:gd name="T111" fmla="*/ 0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0" h="1132">
                  <a:moveTo>
                    <a:pt x="399" y="0"/>
                  </a:moveTo>
                  <a:lnTo>
                    <a:pt x="443" y="2"/>
                  </a:lnTo>
                  <a:lnTo>
                    <a:pt x="486" y="5"/>
                  </a:lnTo>
                  <a:lnTo>
                    <a:pt x="527" y="11"/>
                  </a:lnTo>
                  <a:lnTo>
                    <a:pt x="566" y="20"/>
                  </a:lnTo>
                  <a:lnTo>
                    <a:pt x="604" y="31"/>
                  </a:lnTo>
                  <a:lnTo>
                    <a:pt x="639" y="44"/>
                  </a:lnTo>
                  <a:lnTo>
                    <a:pt x="670" y="62"/>
                  </a:lnTo>
                  <a:lnTo>
                    <a:pt x="701" y="82"/>
                  </a:lnTo>
                  <a:lnTo>
                    <a:pt x="727" y="107"/>
                  </a:lnTo>
                  <a:lnTo>
                    <a:pt x="750" y="134"/>
                  </a:lnTo>
                  <a:lnTo>
                    <a:pt x="771" y="167"/>
                  </a:lnTo>
                  <a:lnTo>
                    <a:pt x="788" y="203"/>
                  </a:lnTo>
                  <a:lnTo>
                    <a:pt x="800" y="244"/>
                  </a:lnTo>
                  <a:lnTo>
                    <a:pt x="810" y="290"/>
                  </a:lnTo>
                  <a:lnTo>
                    <a:pt x="815" y="339"/>
                  </a:lnTo>
                  <a:lnTo>
                    <a:pt x="648" y="339"/>
                  </a:lnTo>
                  <a:lnTo>
                    <a:pt x="644" y="307"/>
                  </a:lnTo>
                  <a:lnTo>
                    <a:pt x="634" y="278"/>
                  </a:lnTo>
                  <a:lnTo>
                    <a:pt x="622" y="254"/>
                  </a:lnTo>
                  <a:lnTo>
                    <a:pt x="606" y="231"/>
                  </a:lnTo>
                  <a:lnTo>
                    <a:pt x="588" y="213"/>
                  </a:lnTo>
                  <a:lnTo>
                    <a:pt x="567" y="197"/>
                  </a:lnTo>
                  <a:lnTo>
                    <a:pt x="545" y="184"/>
                  </a:lnTo>
                  <a:lnTo>
                    <a:pt x="520" y="174"/>
                  </a:lnTo>
                  <a:lnTo>
                    <a:pt x="494" y="167"/>
                  </a:lnTo>
                  <a:lnTo>
                    <a:pt x="467" y="162"/>
                  </a:lnTo>
                  <a:lnTo>
                    <a:pt x="441" y="158"/>
                  </a:lnTo>
                  <a:lnTo>
                    <a:pt x="413" y="157"/>
                  </a:lnTo>
                  <a:lnTo>
                    <a:pt x="386" y="158"/>
                  </a:lnTo>
                  <a:lnTo>
                    <a:pt x="358" y="161"/>
                  </a:lnTo>
                  <a:lnTo>
                    <a:pt x="330" y="166"/>
                  </a:lnTo>
                  <a:lnTo>
                    <a:pt x="305" y="172"/>
                  </a:lnTo>
                  <a:lnTo>
                    <a:pt x="279" y="180"/>
                  </a:lnTo>
                  <a:lnTo>
                    <a:pt x="257" y="192"/>
                  </a:lnTo>
                  <a:lnTo>
                    <a:pt x="238" y="207"/>
                  </a:lnTo>
                  <a:lnTo>
                    <a:pt x="221" y="224"/>
                  </a:lnTo>
                  <a:lnTo>
                    <a:pt x="209" y="244"/>
                  </a:lnTo>
                  <a:lnTo>
                    <a:pt x="200" y="268"/>
                  </a:lnTo>
                  <a:lnTo>
                    <a:pt x="198" y="296"/>
                  </a:lnTo>
                  <a:lnTo>
                    <a:pt x="200" y="321"/>
                  </a:lnTo>
                  <a:lnTo>
                    <a:pt x="208" y="344"/>
                  </a:lnTo>
                  <a:lnTo>
                    <a:pt x="220" y="365"/>
                  </a:lnTo>
                  <a:lnTo>
                    <a:pt x="237" y="382"/>
                  </a:lnTo>
                  <a:lnTo>
                    <a:pt x="256" y="397"/>
                  </a:lnTo>
                  <a:lnTo>
                    <a:pt x="279" y="411"/>
                  </a:lnTo>
                  <a:lnTo>
                    <a:pt x="305" y="423"/>
                  </a:lnTo>
                  <a:lnTo>
                    <a:pt x="334" y="434"/>
                  </a:lnTo>
                  <a:lnTo>
                    <a:pt x="364" y="443"/>
                  </a:lnTo>
                  <a:lnTo>
                    <a:pt x="396" y="452"/>
                  </a:lnTo>
                  <a:lnTo>
                    <a:pt x="429" y="460"/>
                  </a:lnTo>
                  <a:lnTo>
                    <a:pt x="461" y="467"/>
                  </a:lnTo>
                  <a:lnTo>
                    <a:pt x="495" y="476"/>
                  </a:lnTo>
                  <a:lnTo>
                    <a:pt x="528" y="484"/>
                  </a:lnTo>
                  <a:lnTo>
                    <a:pt x="565" y="493"/>
                  </a:lnTo>
                  <a:lnTo>
                    <a:pt x="600" y="502"/>
                  </a:lnTo>
                  <a:lnTo>
                    <a:pt x="634" y="513"/>
                  </a:lnTo>
                  <a:lnTo>
                    <a:pt x="667" y="527"/>
                  </a:lnTo>
                  <a:lnTo>
                    <a:pt x="699" y="540"/>
                  </a:lnTo>
                  <a:lnTo>
                    <a:pt x="729" y="556"/>
                  </a:lnTo>
                  <a:lnTo>
                    <a:pt x="757" y="575"/>
                  </a:lnTo>
                  <a:lnTo>
                    <a:pt x="782" y="595"/>
                  </a:lnTo>
                  <a:lnTo>
                    <a:pt x="804" y="620"/>
                  </a:lnTo>
                  <a:lnTo>
                    <a:pt x="823" y="646"/>
                  </a:lnTo>
                  <a:lnTo>
                    <a:pt x="839" y="676"/>
                  </a:lnTo>
                  <a:lnTo>
                    <a:pt x="850" y="711"/>
                  </a:lnTo>
                  <a:lnTo>
                    <a:pt x="857" y="750"/>
                  </a:lnTo>
                  <a:lnTo>
                    <a:pt x="860" y="792"/>
                  </a:lnTo>
                  <a:lnTo>
                    <a:pt x="857" y="838"/>
                  </a:lnTo>
                  <a:lnTo>
                    <a:pt x="850" y="880"/>
                  </a:lnTo>
                  <a:lnTo>
                    <a:pt x="838" y="919"/>
                  </a:lnTo>
                  <a:lnTo>
                    <a:pt x="821" y="954"/>
                  </a:lnTo>
                  <a:lnTo>
                    <a:pt x="801" y="985"/>
                  </a:lnTo>
                  <a:lnTo>
                    <a:pt x="777" y="1013"/>
                  </a:lnTo>
                  <a:lnTo>
                    <a:pt x="750" y="1037"/>
                  </a:lnTo>
                  <a:lnTo>
                    <a:pt x="721" y="1059"/>
                  </a:lnTo>
                  <a:lnTo>
                    <a:pt x="690" y="1077"/>
                  </a:lnTo>
                  <a:lnTo>
                    <a:pt x="656" y="1093"/>
                  </a:lnTo>
                  <a:lnTo>
                    <a:pt x="621" y="1106"/>
                  </a:lnTo>
                  <a:lnTo>
                    <a:pt x="583" y="1116"/>
                  </a:lnTo>
                  <a:lnTo>
                    <a:pt x="545" y="1124"/>
                  </a:lnTo>
                  <a:lnTo>
                    <a:pt x="506" y="1129"/>
                  </a:lnTo>
                  <a:lnTo>
                    <a:pt x="467" y="1132"/>
                  </a:lnTo>
                  <a:lnTo>
                    <a:pt x="429" y="1132"/>
                  </a:lnTo>
                  <a:lnTo>
                    <a:pt x="384" y="1131"/>
                  </a:lnTo>
                  <a:lnTo>
                    <a:pt x="340" y="1128"/>
                  </a:lnTo>
                  <a:lnTo>
                    <a:pt x="299" y="1120"/>
                  </a:lnTo>
                  <a:lnTo>
                    <a:pt x="257" y="1111"/>
                  </a:lnTo>
                  <a:lnTo>
                    <a:pt x="218" y="1097"/>
                  </a:lnTo>
                  <a:lnTo>
                    <a:pt x="182" y="1081"/>
                  </a:lnTo>
                  <a:lnTo>
                    <a:pt x="149" y="1061"/>
                  </a:lnTo>
                  <a:lnTo>
                    <a:pt x="118" y="1038"/>
                  </a:lnTo>
                  <a:lnTo>
                    <a:pt x="90" y="1012"/>
                  </a:lnTo>
                  <a:lnTo>
                    <a:pt x="65" y="980"/>
                  </a:lnTo>
                  <a:lnTo>
                    <a:pt x="44" y="947"/>
                  </a:lnTo>
                  <a:lnTo>
                    <a:pt x="27" y="908"/>
                  </a:lnTo>
                  <a:lnTo>
                    <a:pt x="13" y="865"/>
                  </a:lnTo>
                  <a:lnTo>
                    <a:pt x="5" y="819"/>
                  </a:lnTo>
                  <a:lnTo>
                    <a:pt x="0" y="767"/>
                  </a:lnTo>
                  <a:lnTo>
                    <a:pt x="166" y="767"/>
                  </a:lnTo>
                  <a:lnTo>
                    <a:pt x="171" y="804"/>
                  </a:lnTo>
                  <a:lnTo>
                    <a:pt x="180" y="838"/>
                  </a:lnTo>
                  <a:lnTo>
                    <a:pt x="192" y="867"/>
                  </a:lnTo>
                  <a:lnTo>
                    <a:pt x="209" y="891"/>
                  </a:lnTo>
                  <a:lnTo>
                    <a:pt x="229" y="913"/>
                  </a:lnTo>
                  <a:lnTo>
                    <a:pt x="254" y="931"/>
                  </a:lnTo>
                  <a:lnTo>
                    <a:pt x="279" y="945"/>
                  </a:lnTo>
                  <a:lnTo>
                    <a:pt x="308" y="957"/>
                  </a:lnTo>
                  <a:lnTo>
                    <a:pt x="339" y="966"/>
                  </a:lnTo>
                  <a:lnTo>
                    <a:pt x="372" y="972"/>
                  </a:lnTo>
                  <a:lnTo>
                    <a:pt x="404" y="974"/>
                  </a:lnTo>
                  <a:lnTo>
                    <a:pt x="438" y="976"/>
                  </a:lnTo>
                  <a:lnTo>
                    <a:pt x="463" y="976"/>
                  </a:lnTo>
                  <a:lnTo>
                    <a:pt x="488" y="974"/>
                  </a:lnTo>
                  <a:lnTo>
                    <a:pt x="515" y="971"/>
                  </a:lnTo>
                  <a:lnTo>
                    <a:pt x="540" y="966"/>
                  </a:lnTo>
                  <a:lnTo>
                    <a:pt x="565" y="960"/>
                  </a:lnTo>
                  <a:lnTo>
                    <a:pt x="589" y="951"/>
                  </a:lnTo>
                  <a:lnTo>
                    <a:pt x="611" y="941"/>
                  </a:lnTo>
                  <a:lnTo>
                    <a:pt x="631" y="927"/>
                  </a:lnTo>
                  <a:lnTo>
                    <a:pt x="648" y="912"/>
                  </a:lnTo>
                  <a:lnTo>
                    <a:pt x="663" y="892"/>
                  </a:lnTo>
                  <a:lnTo>
                    <a:pt x="674" y="871"/>
                  </a:lnTo>
                  <a:lnTo>
                    <a:pt x="681" y="844"/>
                  </a:lnTo>
                  <a:lnTo>
                    <a:pt x="684" y="815"/>
                  </a:lnTo>
                  <a:lnTo>
                    <a:pt x="681" y="787"/>
                  </a:lnTo>
                  <a:lnTo>
                    <a:pt x="674" y="762"/>
                  </a:lnTo>
                  <a:lnTo>
                    <a:pt x="662" y="740"/>
                  </a:lnTo>
                  <a:lnTo>
                    <a:pt x="647" y="722"/>
                  </a:lnTo>
                  <a:lnTo>
                    <a:pt x="628" y="705"/>
                  </a:lnTo>
                  <a:lnTo>
                    <a:pt x="606" y="691"/>
                  </a:lnTo>
                  <a:lnTo>
                    <a:pt x="580" y="677"/>
                  </a:lnTo>
                  <a:lnTo>
                    <a:pt x="552" y="667"/>
                  </a:lnTo>
                  <a:lnTo>
                    <a:pt x="523" y="656"/>
                  </a:lnTo>
                  <a:lnTo>
                    <a:pt x="491" y="647"/>
                  </a:lnTo>
                  <a:lnTo>
                    <a:pt x="458" y="639"/>
                  </a:lnTo>
                  <a:lnTo>
                    <a:pt x="424" y="630"/>
                  </a:lnTo>
                  <a:lnTo>
                    <a:pt x="389" y="622"/>
                  </a:lnTo>
                  <a:lnTo>
                    <a:pt x="352" y="613"/>
                  </a:lnTo>
                  <a:lnTo>
                    <a:pt x="317" y="605"/>
                  </a:lnTo>
                  <a:lnTo>
                    <a:pt x="283" y="595"/>
                  </a:lnTo>
                  <a:lnTo>
                    <a:pt x="248" y="585"/>
                  </a:lnTo>
                  <a:lnTo>
                    <a:pt x="215" y="572"/>
                  </a:lnTo>
                  <a:lnTo>
                    <a:pt x="183" y="558"/>
                  </a:lnTo>
                  <a:lnTo>
                    <a:pt x="153" y="542"/>
                  </a:lnTo>
                  <a:lnTo>
                    <a:pt x="125" y="524"/>
                  </a:lnTo>
                  <a:lnTo>
                    <a:pt x="99" y="504"/>
                  </a:lnTo>
                  <a:lnTo>
                    <a:pt x="78" y="480"/>
                  </a:lnTo>
                  <a:lnTo>
                    <a:pt x="58" y="453"/>
                  </a:lnTo>
                  <a:lnTo>
                    <a:pt x="42" y="423"/>
                  </a:lnTo>
                  <a:lnTo>
                    <a:pt x="31" y="389"/>
                  </a:lnTo>
                  <a:lnTo>
                    <a:pt x="24" y="350"/>
                  </a:lnTo>
                  <a:lnTo>
                    <a:pt x="22" y="308"/>
                  </a:lnTo>
                  <a:lnTo>
                    <a:pt x="24" y="267"/>
                  </a:lnTo>
                  <a:lnTo>
                    <a:pt x="31" y="228"/>
                  </a:lnTo>
                  <a:lnTo>
                    <a:pt x="44" y="193"/>
                  </a:lnTo>
                  <a:lnTo>
                    <a:pt x="61" y="161"/>
                  </a:lnTo>
                  <a:lnTo>
                    <a:pt x="80" y="132"/>
                  </a:lnTo>
                  <a:lnTo>
                    <a:pt x="104" y="107"/>
                  </a:lnTo>
                  <a:lnTo>
                    <a:pt x="130" y="84"/>
                  </a:lnTo>
                  <a:lnTo>
                    <a:pt x="159" y="63"/>
                  </a:lnTo>
                  <a:lnTo>
                    <a:pt x="191" y="46"/>
                  </a:lnTo>
                  <a:lnTo>
                    <a:pt x="223" y="32"/>
                  </a:lnTo>
                  <a:lnTo>
                    <a:pt x="257" y="21"/>
                  </a:lnTo>
                  <a:lnTo>
                    <a:pt x="293" y="12"/>
                  </a:lnTo>
                  <a:lnTo>
                    <a:pt x="328" y="6"/>
                  </a:lnTo>
                  <a:lnTo>
                    <a:pt x="364" y="2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84542D1E-F33B-4F0B-B545-FDEDF848FA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6801" y="4554538"/>
              <a:ext cx="434975" cy="479425"/>
            </a:xfrm>
            <a:custGeom>
              <a:avLst/>
              <a:gdLst>
                <a:gd name="T0" fmla="*/ 621 w 1095"/>
                <a:gd name="T1" fmla="*/ 1 h 1208"/>
                <a:gd name="T2" fmla="*/ 664 w 1095"/>
                <a:gd name="T3" fmla="*/ 18 h 1208"/>
                <a:gd name="T4" fmla="*/ 709 w 1095"/>
                <a:gd name="T5" fmla="*/ 67 h 1208"/>
                <a:gd name="T6" fmla="*/ 947 w 1095"/>
                <a:gd name="T7" fmla="*/ 353 h 1208"/>
                <a:gd name="T8" fmla="*/ 1027 w 1095"/>
                <a:gd name="T9" fmla="*/ 469 h 1208"/>
                <a:gd name="T10" fmla="*/ 1076 w 1095"/>
                <a:gd name="T11" fmla="*/ 580 h 1208"/>
                <a:gd name="T12" fmla="*/ 1095 w 1095"/>
                <a:gd name="T13" fmla="*/ 687 h 1208"/>
                <a:gd name="T14" fmla="*/ 1090 w 1095"/>
                <a:gd name="T15" fmla="*/ 786 h 1208"/>
                <a:gd name="T16" fmla="*/ 1064 w 1095"/>
                <a:gd name="T17" fmla="*/ 877 h 1208"/>
                <a:gd name="T18" fmla="*/ 1020 w 1095"/>
                <a:gd name="T19" fmla="*/ 959 h 1208"/>
                <a:gd name="T20" fmla="*/ 962 w 1095"/>
                <a:gd name="T21" fmla="*/ 1032 h 1208"/>
                <a:gd name="T22" fmla="*/ 892 w 1095"/>
                <a:gd name="T23" fmla="*/ 1093 h 1208"/>
                <a:gd name="T24" fmla="*/ 817 w 1095"/>
                <a:gd name="T25" fmla="*/ 1142 h 1208"/>
                <a:gd name="T26" fmla="*/ 738 w 1095"/>
                <a:gd name="T27" fmla="*/ 1177 h 1208"/>
                <a:gd name="T28" fmla="*/ 630 w 1095"/>
                <a:gd name="T29" fmla="*/ 1202 h 1208"/>
                <a:gd name="T30" fmla="*/ 498 w 1095"/>
                <a:gd name="T31" fmla="*/ 1207 h 1208"/>
                <a:gd name="T32" fmla="*/ 374 w 1095"/>
                <a:gd name="T33" fmla="*/ 1187 h 1208"/>
                <a:gd name="T34" fmla="*/ 261 w 1095"/>
                <a:gd name="T35" fmla="*/ 1144 h 1208"/>
                <a:gd name="T36" fmla="*/ 162 w 1095"/>
                <a:gd name="T37" fmla="*/ 1080 h 1208"/>
                <a:gd name="T38" fmla="*/ 82 w 1095"/>
                <a:gd name="T39" fmla="*/ 998 h 1208"/>
                <a:gd name="T40" fmla="*/ 22 w 1095"/>
                <a:gd name="T41" fmla="*/ 901 h 1208"/>
                <a:gd name="T42" fmla="*/ 25 w 1095"/>
                <a:gd name="T43" fmla="*/ 883 h 1208"/>
                <a:gd name="T44" fmla="*/ 90 w 1095"/>
                <a:gd name="T45" fmla="*/ 940 h 1208"/>
                <a:gd name="T46" fmla="*/ 170 w 1095"/>
                <a:gd name="T47" fmla="*/ 982 h 1208"/>
                <a:gd name="T48" fmla="*/ 258 w 1095"/>
                <a:gd name="T49" fmla="*/ 1009 h 1208"/>
                <a:gd name="T50" fmla="*/ 353 w 1095"/>
                <a:gd name="T51" fmla="*/ 1020 h 1208"/>
                <a:gd name="T52" fmla="*/ 447 w 1095"/>
                <a:gd name="T53" fmla="*/ 1015 h 1208"/>
                <a:gd name="T54" fmla="*/ 534 w 1095"/>
                <a:gd name="T55" fmla="*/ 994 h 1208"/>
                <a:gd name="T56" fmla="*/ 612 w 1095"/>
                <a:gd name="T57" fmla="*/ 958 h 1208"/>
                <a:gd name="T58" fmla="*/ 694 w 1095"/>
                <a:gd name="T59" fmla="*/ 894 h 1208"/>
                <a:gd name="T60" fmla="*/ 756 w 1095"/>
                <a:gd name="T61" fmla="*/ 821 h 1208"/>
                <a:gd name="T62" fmla="*/ 796 w 1095"/>
                <a:gd name="T63" fmla="*/ 738 h 1208"/>
                <a:gd name="T64" fmla="*/ 811 w 1095"/>
                <a:gd name="T65" fmla="*/ 652 h 1208"/>
                <a:gd name="T66" fmla="*/ 800 w 1095"/>
                <a:gd name="T67" fmla="*/ 563 h 1208"/>
                <a:gd name="T68" fmla="*/ 761 w 1095"/>
                <a:gd name="T69" fmla="*/ 478 h 1208"/>
                <a:gd name="T70" fmla="*/ 728 w 1095"/>
                <a:gd name="T71" fmla="*/ 433 h 1208"/>
                <a:gd name="T72" fmla="*/ 714 w 1095"/>
                <a:gd name="T73" fmla="*/ 415 h 1208"/>
                <a:gd name="T74" fmla="*/ 687 w 1095"/>
                <a:gd name="T75" fmla="*/ 382 h 1208"/>
                <a:gd name="T76" fmla="*/ 651 w 1095"/>
                <a:gd name="T77" fmla="*/ 340 h 1208"/>
                <a:gd name="T78" fmla="*/ 609 w 1095"/>
                <a:gd name="T79" fmla="*/ 291 h 1208"/>
                <a:gd name="T80" fmla="*/ 567 w 1095"/>
                <a:gd name="T81" fmla="*/ 239 h 1208"/>
                <a:gd name="T82" fmla="*/ 524 w 1095"/>
                <a:gd name="T83" fmla="*/ 188 h 1208"/>
                <a:gd name="T84" fmla="*/ 521 w 1095"/>
                <a:gd name="T85" fmla="*/ 184 h 1208"/>
                <a:gd name="T86" fmla="*/ 515 w 1095"/>
                <a:gd name="T87" fmla="*/ 177 h 1208"/>
                <a:gd name="T88" fmla="*/ 512 w 1095"/>
                <a:gd name="T89" fmla="*/ 175 h 1208"/>
                <a:gd name="T90" fmla="*/ 492 w 1095"/>
                <a:gd name="T91" fmla="*/ 131 h 1208"/>
                <a:gd name="T92" fmla="*/ 494 w 1095"/>
                <a:gd name="T93" fmla="*/ 87 h 1208"/>
                <a:gd name="T94" fmla="*/ 517 w 1095"/>
                <a:gd name="T95" fmla="*/ 44 h 1208"/>
                <a:gd name="T96" fmla="*/ 555 w 1095"/>
                <a:gd name="T97" fmla="*/ 13 h 1208"/>
                <a:gd name="T98" fmla="*/ 600 w 1095"/>
                <a:gd name="T99" fmla="*/ 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5" h="1208">
                  <a:moveTo>
                    <a:pt x="600" y="0"/>
                  </a:moveTo>
                  <a:lnTo>
                    <a:pt x="621" y="1"/>
                  </a:lnTo>
                  <a:lnTo>
                    <a:pt x="643" y="7"/>
                  </a:lnTo>
                  <a:lnTo>
                    <a:pt x="664" y="18"/>
                  </a:lnTo>
                  <a:lnTo>
                    <a:pt x="682" y="35"/>
                  </a:lnTo>
                  <a:lnTo>
                    <a:pt x="709" y="67"/>
                  </a:lnTo>
                  <a:lnTo>
                    <a:pt x="694" y="50"/>
                  </a:lnTo>
                  <a:lnTo>
                    <a:pt x="947" y="353"/>
                  </a:lnTo>
                  <a:lnTo>
                    <a:pt x="991" y="411"/>
                  </a:lnTo>
                  <a:lnTo>
                    <a:pt x="1027" y="469"/>
                  </a:lnTo>
                  <a:lnTo>
                    <a:pt x="1055" y="525"/>
                  </a:lnTo>
                  <a:lnTo>
                    <a:pt x="1076" y="580"/>
                  </a:lnTo>
                  <a:lnTo>
                    <a:pt x="1088" y="633"/>
                  </a:lnTo>
                  <a:lnTo>
                    <a:pt x="1095" y="687"/>
                  </a:lnTo>
                  <a:lnTo>
                    <a:pt x="1095" y="737"/>
                  </a:lnTo>
                  <a:lnTo>
                    <a:pt x="1090" y="786"/>
                  </a:lnTo>
                  <a:lnTo>
                    <a:pt x="1079" y="833"/>
                  </a:lnTo>
                  <a:lnTo>
                    <a:pt x="1064" y="877"/>
                  </a:lnTo>
                  <a:lnTo>
                    <a:pt x="1044" y="920"/>
                  </a:lnTo>
                  <a:lnTo>
                    <a:pt x="1020" y="959"/>
                  </a:lnTo>
                  <a:lnTo>
                    <a:pt x="992" y="998"/>
                  </a:lnTo>
                  <a:lnTo>
                    <a:pt x="962" y="1032"/>
                  </a:lnTo>
                  <a:lnTo>
                    <a:pt x="929" y="1064"/>
                  </a:lnTo>
                  <a:lnTo>
                    <a:pt x="892" y="1093"/>
                  </a:lnTo>
                  <a:lnTo>
                    <a:pt x="856" y="1119"/>
                  </a:lnTo>
                  <a:lnTo>
                    <a:pt x="817" y="1142"/>
                  </a:lnTo>
                  <a:lnTo>
                    <a:pt x="778" y="1161"/>
                  </a:lnTo>
                  <a:lnTo>
                    <a:pt x="738" y="1177"/>
                  </a:lnTo>
                  <a:lnTo>
                    <a:pt x="698" y="1189"/>
                  </a:lnTo>
                  <a:lnTo>
                    <a:pt x="630" y="1202"/>
                  </a:lnTo>
                  <a:lnTo>
                    <a:pt x="563" y="1208"/>
                  </a:lnTo>
                  <a:lnTo>
                    <a:pt x="498" y="1207"/>
                  </a:lnTo>
                  <a:lnTo>
                    <a:pt x="434" y="1201"/>
                  </a:lnTo>
                  <a:lnTo>
                    <a:pt x="374" y="1187"/>
                  </a:lnTo>
                  <a:lnTo>
                    <a:pt x="315" y="1168"/>
                  </a:lnTo>
                  <a:lnTo>
                    <a:pt x="261" y="1144"/>
                  </a:lnTo>
                  <a:lnTo>
                    <a:pt x="210" y="1114"/>
                  </a:lnTo>
                  <a:lnTo>
                    <a:pt x="162" y="1080"/>
                  </a:lnTo>
                  <a:lnTo>
                    <a:pt x="120" y="1040"/>
                  </a:lnTo>
                  <a:lnTo>
                    <a:pt x="82" y="998"/>
                  </a:lnTo>
                  <a:lnTo>
                    <a:pt x="49" y="951"/>
                  </a:lnTo>
                  <a:lnTo>
                    <a:pt x="22" y="901"/>
                  </a:lnTo>
                  <a:lnTo>
                    <a:pt x="0" y="848"/>
                  </a:lnTo>
                  <a:lnTo>
                    <a:pt x="25" y="883"/>
                  </a:lnTo>
                  <a:lnTo>
                    <a:pt x="56" y="913"/>
                  </a:lnTo>
                  <a:lnTo>
                    <a:pt x="90" y="940"/>
                  </a:lnTo>
                  <a:lnTo>
                    <a:pt x="128" y="963"/>
                  </a:lnTo>
                  <a:lnTo>
                    <a:pt x="170" y="982"/>
                  </a:lnTo>
                  <a:lnTo>
                    <a:pt x="213" y="997"/>
                  </a:lnTo>
                  <a:lnTo>
                    <a:pt x="258" y="1009"/>
                  </a:lnTo>
                  <a:lnTo>
                    <a:pt x="306" y="1016"/>
                  </a:lnTo>
                  <a:lnTo>
                    <a:pt x="353" y="1020"/>
                  </a:lnTo>
                  <a:lnTo>
                    <a:pt x="399" y="1019"/>
                  </a:lnTo>
                  <a:lnTo>
                    <a:pt x="447" y="1015"/>
                  </a:lnTo>
                  <a:lnTo>
                    <a:pt x="492" y="1006"/>
                  </a:lnTo>
                  <a:lnTo>
                    <a:pt x="534" y="994"/>
                  </a:lnTo>
                  <a:lnTo>
                    <a:pt x="575" y="979"/>
                  </a:lnTo>
                  <a:lnTo>
                    <a:pt x="612" y="958"/>
                  </a:lnTo>
                  <a:lnTo>
                    <a:pt x="655" y="928"/>
                  </a:lnTo>
                  <a:lnTo>
                    <a:pt x="694" y="894"/>
                  </a:lnTo>
                  <a:lnTo>
                    <a:pt x="728" y="858"/>
                  </a:lnTo>
                  <a:lnTo>
                    <a:pt x="756" y="821"/>
                  </a:lnTo>
                  <a:lnTo>
                    <a:pt x="779" y="780"/>
                  </a:lnTo>
                  <a:lnTo>
                    <a:pt x="796" y="738"/>
                  </a:lnTo>
                  <a:lnTo>
                    <a:pt x="806" y="695"/>
                  </a:lnTo>
                  <a:lnTo>
                    <a:pt x="811" y="652"/>
                  </a:lnTo>
                  <a:lnTo>
                    <a:pt x="809" y="608"/>
                  </a:lnTo>
                  <a:lnTo>
                    <a:pt x="800" y="563"/>
                  </a:lnTo>
                  <a:lnTo>
                    <a:pt x="784" y="520"/>
                  </a:lnTo>
                  <a:lnTo>
                    <a:pt x="761" y="478"/>
                  </a:lnTo>
                  <a:lnTo>
                    <a:pt x="731" y="436"/>
                  </a:lnTo>
                  <a:lnTo>
                    <a:pt x="728" y="433"/>
                  </a:lnTo>
                  <a:lnTo>
                    <a:pt x="724" y="426"/>
                  </a:lnTo>
                  <a:lnTo>
                    <a:pt x="714" y="415"/>
                  </a:lnTo>
                  <a:lnTo>
                    <a:pt x="702" y="401"/>
                  </a:lnTo>
                  <a:lnTo>
                    <a:pt x="687" y="382"/>
                  </a:lnTo>
                  <a:lnTo>
                    <a:pt x="670" y="363"/>
                  </a:lnTo>
                  <a:lnTo>
                    <a:pt x="651" y="340"/>
                  </a:lnTo>
                  <a:lnTo>
                    <a:pt x="631" y="316"/>
                  </a:lnTo>
                  <a:lnTo>
                    <a:pt x="609" y="291"/>
                  </a:lnTo>
                  <a:lnTo>
                    <a:pt x="589" y="265"/>
                  </a:lnTo>
                  <a:lnTo>
                    <a:pt x="567" y="239"/>
                  </a:lnTo>
                  <a:lnTo>
                    <a:pt x="545" y="213"/>
                  </a:lnTo>
                  <a:lnTo>
                    <a:pt x="524" y="188"/>
                  </a:lnTo>
                  <a:lnTo>
                    <a:pt x="526" y="189"/>
                  </a:lnTo>
                  <a:lnTo>
                    <a:pt x="521" y="184"/>
                  </a:lnTo>
                  <a:lnTo>
                    <a:pt x="517" y="180"/>
                  </a:lnTo>
                  <a:lnTo>
                    <a:pt x="515" y="177"/>
                  </a:lnTo>
                  <a:lnTo>
                    <a:pt x="513" y="175"/>
                  </a:lnTo>
                  <a:lnTo>
                    <a:pt x="512" y="175"/>
                  </a:lnTo>
                  <a:lnTo>
                    <a:pt x="499" y="154"/>
                  </a:lnTo>
                  <a:lnTo>
                    <a:pt x="492" y="131"/>
                  </a:lnTo>
                  <a:lnTo>
                    <a:pt x="490" y="110"/>
                  </a:lnTo>
                  <a:lnTo>
                    <a:pt x="494" y="87"/>
                  </a:lnTo>
                  <a:lnTo>
                    <a:pt x="502" y="65"/>
                  </a:lnTo>
                  <a:lnTo>
                    <a:pt x="517" y="44"/>
                  </a:lnTo>
                  <a:lnTo>
                    <a:pt x="534" y="28"/>
                  </a:lnTo>
                  <a:lnTo>
                    <a:pt x="555" y="13"/>
                  </a:lnTo>
                  <a:lnTo>
                    <a:pt x="577" y="5"/>
                  </a:lnTo>
                  <a:lnTo>
                    <a:pt x="6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2FEFB4C7-C37A-4074-B1A5-0AFD4C746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45213" y="4384676"/>
              <a:ext cx="434975" cy="476250"/>
            </a:xfrm>
            <a:custGeom>
              <a:avLst/>
              <a:gdLst>
                <a:gd name="T0" fmla="*/ 599 w 1096"/>
                <a:gd name="T1" fmla="*/ 0 h 1202"/>
                <a:gd name="T2" fmla="*/ 723 w 1096"/>
                <a:gd name="T3" fmla="*/ 21 h 1202"/>
                <a:gd name="T4" fmla="*/ 834 w 1096"/>
                <a:gd name="T5" fmla="*/ 64 h 1202"/>
                <a:gd name="T6" fmla="*/ 933 w 1096"/>
                <a:gd name="T7" fmla="*/ 128 h 1202"/>
                <a:gd name="T8" fmla="*/ 1014 w 1096"/>
                <a:gd name="T9" fmla="*/ 210 h 1202"/>
                <a:gd name="T10" fmla="*/ 1075 w 1096"/>
                <a:gd name="T11" fmla="*/ 307 h 1202"/>
                <a:gd name="T12" fmla="*/ 1071 w 1096"/>
                <a:gd name="T13" fmla="*/ 325 h 1202"/>
                <a:gd name="T14" fmla="*/ 1007 w 1096"/>
                <a:gd name="T15" fmla="*/ 268 h 1202"/>
                <a:gd name="T16" fmla="*/ 927 w 1096"/>
                <a:gd name="T17" fmla="*/ 226 h 1202"/>
                <a:gd name="T18" fmla="*/ 838 w 1096"/>
                <a:gd name="T19" fmla="*/ 199 h 1202"/>
                <a:gd name="T20" fmla="*/ 743 w 1096"/>
                <a:gd name="T21" fmla="*/ 188 h 1202"/>
                <a:gd name="T22" fmla="*/ 650 w 1096"/>
                <a:gd name="T23" fmla="*/ 193 h 1202"/>
                <a:gd name="T24" fmla="*/ 561 w 1096"/>
                <a:gd name="T25" fmla="*/ 214 h 1202"/>
                <a:gd name="T26" fmla="*/ 483 w 1096"/>
                <a:gd name="T27" fmla="*/ 249 h 1202"/>
                <a:gd name="T28" fmla="*/ 401 w 1096"/>
                <a:gd name="T29" fmla="*/ 313 h 1202"/>
                <a:gd name="T30" fmla="*/ 339 w 1096"/>
                <a:gd name="T31" fmla="*/ 388 h 1202"/>
                <a:gd name="T32" fmla="*/ 300 w 1096"/>
                <a:gd name="T33" fmla="*/ 470 h 1202"/>
                <a:gd name="T34" fmla="*/ 285 w 1096"/>
                <a:gd name="T35" fmla="*/ 555 h 1202"/>
                <a:gd name="T36" fmla="*/ 296 w 1096"/>
                <a:gd name="T37" fmla="*/ 643 h 1202"/>
                <a:gd name="T38" fmla="*/ 335 w 1096"/>
                <a:gd name="T39" fmla="*/ 730 h 1202"/>
                <a:gd name="T40" fmla="*/ 367 w 1096"/>
                <a:gd name="T41" fmla="*/ 775 h 1202"/>
                <a:gd name="T42" fmla="*/ 383 w 1096"/>
                <a:gd name="T43" fmla="*/ 793 h 1202"/>
                <a:gd name="T44" fmla="*/ 411 w 1096"/>
                <a:gd name="T45" fmla="*/ 827 h 1202"/>
                <a:gd name="T46" fmla="*/ 447 w 1096"/>
                <a:gd name="T47" fmla="*/ 870 h 1202"/>
                <a:gd name="T48" fmla="*/ 489 w 1096"/>
                <a:gd name="T49" fmla="*/ 921 h 1202"/>
                <a:gd name="T50" fmla="*/ 534 w 1096"/>
                <a:gd name="T51" fmla="*/ 974 h 1202"/>
                <a:gd name="T52" fmla="*/ 523 w 1096"/>
                <a:gd name="T53" fmla="*/ 962 h 1202"/>
                <a:gd name="T54" fmla="*/ 551 w 1096"/>
                <a:gd name="T55" fmla="*/ 996 h 1202"/>
                <a:gd name="T56" fmla="*/ 571 w 1096"/>
                <a:gd name="T57" fmla="*/ 1020 h 1202"/>
                <a:gd name="T58" fmla="*/ 578 w 1096"/>
                <a:gd name="T59" fmla="*/ 1028 h 1202"/>
                <a:gd name="T60" fmla="*/ 599 w 1096"/>
                <a:gd name="T61" fmla="*/ 1071 h 1202"/>
                <a:gd name="T62" fmla="*/ 596 w 1096"/>
                <a:gd name="T63" fmla="*/ 1115 h 1202"/>
                <a:gd name="T64" fmla="*/ 574 w 1096"/>
                <a:gd name="T65" fmla="*/ 1158 h 1202"/>
                <a:gd name="T66" fmla="*/ 536 w 1096"/>
                <a:gd name="T67" fmla="*/ 1189 h 1202"/>
                <a:gd name="T68" fmla="*/ 491 w 1096"/>
                <a:gd name="T69" fmla="*/ 1202 h 1202"/>
                <a:gd name="T70" fmla="*/ 447 w 1096"/>
                <a:gd name="T71" fmla="*/ 1196 h 1202"/>
                <a:gd name="T72" fmla="*/ 409 w 1096"/>
                <a:gd name="T73" fmla="*/ 1168 h 1202"/>
                <a:gd name="T74" fmla="*/ 390 w 1096"/>
                <a:gd name="T75" fmla="*/ 1143 h 1202"/>
                <a:gd name="T76" fmla="*/ 104 w 1096"/>
                <a:gd name="T77" fmla="*/ 796 h 1202"/>
                <a:gd name="T78" fmla="*/ 41 w 1096"/>
                <a:gd name="T79" fmla="*/ 682 h 1202"/>
                <a:gd name="T80" fmla="*/ 7 w 1096"/>
                <a:gd name="T81" fmla="*/ 573 h 1202"/>
                <a:gd name="T82" fmla="*/ 0 w 1096"/>
                <a:gd name="T83" fmla="*/ 471 h 1202"/>
                <a:gd name="T84" fmla="*/ 17 w 1096"/>
                <a:gd name="T85" fmla="*/ 375 h 1202"/>
                <a:gd name="T86" fmla="*/ 52 w 1096"/>
                <a:gd name="T87" fmla="*/ 287 h 1202"/>
                <a:gd name="T88" fmla="*/ 103 w 1096"/>
                <a:gd name="T89" fmla="*/ 210 h 1202"/>
                <a:gd name="T90" fmla="*/ 168 w 1096"/>
                <a:gd name="T91" fmla="*/ 144 h 1202"/>
                <a:gd name="T92" fmla="*/ 240 w 1096"/>
                <a:gd name="T93" fmla="*/ 88 h 1202"/>
                <a:gd name="T94" fmla="*/ 318 w 1096"/>
                <a:gd name="T95" fmla="*/ 47 h 1202"/>
                <a:gd name="T96" fmla="*/ 398 w 1096"/>
                <a:gd name="T97" fmla="*/ 19 h 1202"/>
                <a:gd name="T98" fmla="*/ 533 w 1096"/>
                <a:gd name="T99" fmla="*/ 0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96" h="1202">
                  <a:moveTo>
                    <a:pt x="533" y="0"/>
                  </a:moveTo>
                  <a:lnTo>
                    <a:pt x="599" y="0"/>
                  </a:lnTo>
                  <a:lnTo>
                    <a:pt x="662" y="7"/>
                  </a:lnTo>
                  <a:lnTo>
                    <a:pt x="723" y="21"/>
                  </a:lnTo>
                  <a:lnTo>
                    <a:pt x="780" y="40"/>
                  </a:lnTo>
                  <a:lnTo>
                    <a:pt x="834" y="64"/>
                  </a:lnTo>
                  <a:lnTo>
                    <a:pt x="887" y="94"/>
                  </a:lnTo>
                  <a:lnTo>
                    <a:pt x="933" y="128"/>
                  </a:lnTo>
                  <a:lnTo>
                    <a:pt x="976" y="167"/>
                  </a:lnTo>
                  <a:lnTo>
                    <a:pt x="1014" y="210"/>
                  </a:lnTo>
                  <a:lnTo>
                    <a:pt x="1047" y="256"/>
                  </a:lnTo>
                  <a:lnTo>
                    <a:pt x="1075" y="307"/>
                  </a:lnTo>
                  <a:lnTo>
                    <a:pt x="1096" y="360"/>
                  </a:lnTo>
                  <a:lnTo>
                    <a:pt x="1071" y="325"/>
                  </a:lnTo>
                  <a:lnTo>
                    <a:pt x="1041" y="295"/>
                  </a:lnTo>
                  <a:lnTo>
                    <a:pt x="1007" y="268"/>
                  </a:lnTo>
                  <a:lnTo>
                    <a:pt x="968" y="245"/>
                  </a:lnTo>
                  <a:lnTo>
                    <a:pt x="927" y="226"/>
                  </a:lnTo>
                  <a:lnTo>
                    <a:pt x="883" y="210"/>
                  </a:lnTo>
                  <a:lnTo>
                    <a:pt x="838" y="199"/>
                  </a:lnTo>
                  <a:lnTo>
                    <a:pt x="791" y="192"/>
                  </a:lnTo>
                  <a:lnTo>
                    <a:pt x="743" y="188"/>
                  </a:lnTo>
                  <a:lnTo>
                    <a:pt x="696" y="188"/>
                  </a:lnTo>
                  <a:lnTo>
                    <a:pt x="650" y="193"/>
                  </a:lnTo>
                  <a:lnTo>
                    <a:pt x="605" y="202"/>
                  </a:lnTo>
                  <a:lnTo>
                    <a:pt x="561" y="214"/>
                  </a:lnTo>
                  <a:lnTo>
                    <a:pt x="521" y="229"/>
                  </a:lnTo>
                  <a:lnTo>
                    <a:pt x="483" y="249"/>
                  </a:lnTo>
                  <a:lnTo>
                    <a:pt x="440" y="280"/>
                  </a:lnTo>
                  <a:lnTo>
                    <a:pt x="401" y="313"/>
                  </a:lnTo>
                  <a:lnTo>
                    <a:pt x="368" y="349"/>
                  </a:lnTo>
                  <a:lnTo>
                    <a:pt x="339" y="388"/>
                  </a:lnTo>
                  <a:lnTo>
                    <a:pt x="317" y="427"/>
                  </a:lnTo>
                  <a:lnTo>
                    <a:pt x="300" y="470"/>
                  </a:lnTo>
                  <a:lnTo>
                    <a:pt x="289" y="512"/>
                  </a:lnTo>
                  <a:lnTo>
                    <a:pt x="285" y="555"/>
                  </a:lnTo>
                  <a:lnTo>
                    <a:pt x="287" y="600"/>
                  </a:lnTo>
                  <a:lnTo>
                    <a:pt x="296" y="643"/>
                  </a:lnTo>
                  <a:lnTo>
                    <a:pt x="312" y="687"/>
                  </a:lnTo>
                  <a:lnTo>
                    <a:pt x="335" y="730"/>
                  </a:lnTo>
                  <a:lnTo>
                    <a:pt x="366" y="773"/>
                  </a:lnTo>
                  <a:lnTo>
                    <a:pt x="367" y="775"/>
                  </a:lnTo>
                  <a:lnTo>
                    <a:pt x="373" y="782"/>
                  </a:lnTo>
                  <a:lnTo>
                    <a:pt x="383" y="793"/>
                  </a:lnTo>
                  <a:lnTo>
                    <a:pt x="396" y="809"/>
                  </a:lnTo>
                  <a:lnTo>
                    <a:pt x="411" y="827"/>
                  </a:lnTo>
                  <a:lnTo>
                    <a:pt x="429" y="847"/>
                  </a:lnTo>
                  <a:lnTo>
                    <a:pt x="447" y="870"/>
                  </a:lnTo>
                  <a:lnTo>
                    <a:pt x="468" y="896"/>
                  </a:lnTo>
                  <a:lnTo>
                    <a:pt x="489" y="921"/>
                  </a:lnTo>
                  <a:lnTo>
                    <a:pt x="511" y="948"/>
                  </a:lnTo>
                  <a:lnTo>
                    <a:pt x="534" y="974"/>
                  </a:lnTo>
                  <a:lnTo>
                    <a:pt x="556" y="999"/>
                  </a:lnTo>
                  <a:lnTo>
                    <a:pt x="523" y="962"/>
                  </a:lnTo>
                  <a:lnTo>
                    <a:pt x="538" y="980"/>
                  </a:lnTo>
                  <a:lnTo>
                    <a:pt x="551" y="996"/>
                  </a:lnTo>
                  <a:lnTo>
                    <a:pt x="562" y="1009"/>
                  </a:lnTo>
                  <a:lnTo>
                    <a:pt x="571" y="1020"/>
                  </a:lnTo>
                  <a:lnTo>
                    <a:pt x="577" y="1026"/>
                  </a:lnTo>
                  <a:lnTo>
                    <a:pt x="578" y="1028"/>
                  </a:lnTo>
                  <a:lnTo>
                    <a:pt x="591" y="1049"/>
                  </a:lnTo>
                  <a:lnTo>
                    <a:pt x="599" y="1071"/>
                  </a:lnTo>
                  <a:lnTo>
                    <a:pt x="600" y="1094"/>
                  </a:lnTo>
                  <a:lnTo>
                    <a:pt x="596" y="1115"/>
                  </a:lnTo>
                  <a:lnTo>
                    <a:pt x="588" y="1137"/>
                  </a:lnTo>
                  <a:lnTo>
                    <a:pt x="574" y="1158"/>
                  </a:lnTo>
                  <a:lnTo>
                    <a:pt x="556" y="1176"/>
                  </a:lnTo>
                  <a:lnTo>
                    <a:pt x="536" y="1189"/>
                  </a:lnTo>
                  <a:lnTo>
                    <a:pt x="514" y="1199"/>
                  </a:lnTo>
                  <a:lnTo>
                    <a:pt x="491" y="1202"/>
                  </a:lnTo>
                  <a:lnTo>
                    <a:pt x="469" y="1202"/>
                  </a:lnTo>
                  <a:lnTo>
                    <a:pt x="447" y="1196"/>
                  </a:lnTo>
                  <a:lnTo>
                    <a:pt x="428" y="1184"/>
                  </a:lnTo>
                  <a:lnTo>
                    <a:pt x="409" y="1168"/>
                  </a:lnTo>
                  <a:lnTo>
                    <a:pt x="352" y="1098"/>
                  </a:lnTo>
                  <a:lnTo>
                    <a:pt x="390" y="1143"/>
                  </a:lnTo>
                  <a:lnTo>
                    <a:pt x="149" y="855"/>
                  </a:lnTo>
                  <a:lnTo>
                    <a:pt x="104" y="796"/>
                  </a:lnTo>
                  <a:lnTo>
                    <a:pt x="69" y="739"/>
                  </a:lnTo>
                  <a:lnTo>
                    <a:pt x="41" y="682"/>
                  </a:lnTo>
                  <a:lnTo>
                    <a:pt x="21" y="628"/>
                  </a:lnTo>
                  <a:lnTo>
                    <a:pt x="7" y="573"/>
                  </a:lnTo>
                  <a:lnTo>
                    <a:pt x="1" y="522"/>
                  </a:lnTo>
                  <a:lnTo>
                    <a:pt x="0" y="471"/>
                  </a:lnTo>
                  <a:lnTo>
                    <a:pt x="6" y="421"/>
                  </a:lnTo>
                  <a:lnTo>
                    <a:pt x="17" y="375"/>
                  </a:lnTo>
                  <a:lnTo>
                    <a:pt x="33" y="331"/>
                  </a:lnTo>
                  <a:lnTo>
                    <a:pt x="52" y="287"/>
                  </a:lnTo>
                  <a:lnTo>
                    <a:pt x="77" y="248"/>
                  </a:lnTo>
                  <a:lnTo>
                    <a:pt x="103" y="210"/>
                  </a:lnTo>
                  <a:lnTo>
                    <a:pt x="135" y="175"/>
                  </a:lnTo>
                  <a:lnTo>
                    <a:pt x="168" y="144"/>
                  </a:lnTo>
                  <a:lnTo>
                    <a:pt x="203" y="115"/>
                  </a:lnTo>
                  <a:lnTo>
                    <a:pt x="240" y="88"/>
                  </a:lnTo>
                  <a:lnTo>
                    <a:pt x="279" y="65"/>
                  </a:lnTo>
                  <a:lnTo>
                    <a:pt x="318" y="47"/>
                  </a:lnTo>
                  <a:lnTo>
                    <a:pt x="358" y="31"/>
                  </a:lnTo>
                  <a:lnTo>
                    <a:pt x="398" y="19"/>
                  </a:lnTo>
                  <a:lnTo>
                    <a:pt x="466" y="6"/>
                  </a:lnTo>
                  <a:lnTo>
                    <a:pt x="5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12AD014A-7389-4502-A675-209402B86B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75563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70 w 130"/>
                <a:gd name="T3" fmla="*/ 60 h 128"/>
                <a:gd name="T4" fmla="*/ 77 w 130"/>
                <a:gd name="T5" fmla="*/ 59 h 128"/>
                <a:gd name="T6" fmla="*/ 82 w 130"/>
                <a:gd name="T7" fmla="*/ 55 h 128"/>
                <a:gd name="T8" fmla="*/ 83 w 130"/>
                <a:gd name="T9" fmla="*/ 48 h 128"/>
                <a:gd name="T10" fmla="*/ 82 w 130"/>
                <a:gd name="T11" fmla="*/ 42 h 128"/>
                <a:gd name="T12" fmla="*/ 77 w 130"/>
                <a:gd name="T13" fmla="*/ 38 h 128"/>
                <a:gd name="T14" fmla="*/ 71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9 w 130"/>
                <a:gd name="T21" fmla="*/ 32 h 128"/>
                <a:gd name="T22" fmla="*/ 95 w 130"/>
                <a:gd name="T23" fmla="*/ 48 h 128"/>
                <a:gd name="T24" fmla="*/ 90 w 130"/>
                <a:gd name="T25" fmla="*/ 63 h 128"/>
                <a:gd name="T26" fmla="*/ 76 w 130"/>
                <a:gd name="T27" fmla="*/ 69 h 128"/>
                <a:gd name="T28" fmla="*/ 84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6 w 130"/>
                <a:gd name="T35" fmla="*/ 11 h 128"/>
                <a:gd name="T36" fmla="*/ 34 w 130"/>
                <a:gd name="T37" fmla="*/ 20 h 128"/>
                <a:gd name="T38" fmla="*/ 16 w 130"/>
                <a:gd name="T39" fmla="*/ 47 h 128"/>
                <a:gd name="T40" fmla="*/ 16 w 130"/>
                <a:gd name="T41" fmla="*/ 82 h 128"/>
                <a:gd name="T42" fmla="*/ 34 w 130"/>
                <a:gd name="T43" fmla="*/ 107 h 128"/>
                <a:gd name="T44" fmla="*/ 66 w 130"/>
                <a:gd name="T45" fmla="*/ 117 h 128"/>
                <a:gd name="T46" fmla="*/ 96 w 130"/>
                <a:gd name="T47" fmla="*/ 107 h 128"/>
                <a:gd name="T48" fmla="*/ 115 w 130"/>
                <a:gd name="T49" fmla="*/ 82 h 128"/>
                <a:gd name="T50" fmla="*/ 115 w 130"/>
                <a:gd name="T51" fmla="*/ 47 h 128"/>
                <a:gd name="T52" fmla="*/ 96 w 130"/>
                <a:gd name="T53" fmla="*/ 20 h 128"/>
                <a:gd name="T54" fmla="*/ 66 w 130"/>
                <a:gd name="T55" fmla="*/ 11 h 128"/>
                <a:gd name="T56" fmla="*/ 85 w 130"/>
                <a:gd name="T57" fmla="*/ 3 h 128"/>
                <a:gd name="T58" fmla="*/ 118 w 130"/>
                <a:gd name="T59" fmla="*/ 25 h 128"/>
                <a:gd name="T60" fmla="*/ 130 w 130"/>
                <a:gd name="T61" fmla="*/ 64 h 128"/>
                <a:gd name="T62" fmla="*/ 118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3 w 130"/>
                <a:gd name="T69" fmla="*/ 102 h 128"/>
                <a:gd name="T70" fmla="*/ 0 w 130"/>
                <a:gd name="T71" fmla="*/ 64 h 128"/>
                <a:gd name="T72" fmla="*/ 13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7" y="59"/>
                  </a:lnTo>
                  <a:lnTo>
                    <a:pt x="79" y="56"/>
                  </a:lnTo>
                  <a:lnTo>
                    <a:pt x="82" y="55"/>
                  </a:lnTo>
                  <a:lnTo>
                    <a:pt x="83" y="52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2" y="42"/>
                  </a:lnTo>
                  <a:lnTo>
                    <a:pt x="79" y="40"/>
                  </a:lnTo>
                  <a:lnTo>
                    <a:pt x="77" y="38"/>
                  </a:lnTo>
                  <a:lnTo>
                    <a:pt x="73" y="37"/>
                  </a:lnTo>
                  <a:lnTo>
                    <a:pt x="71" y="37"/>
                  </a:lnTo>
                  <a:lnTo>
                    <a:pt x="67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1" y="29"/>
                  </a:lnTo>
                  <a:lnTo>
                    <a:pt x="89" y="32"/>
                  </a:lnTo>
                  <a:lnTo>
                    <a:pt x="94" y="38"/>
                  </a:lnTo>
                  <a:lnTo>
                    <a:pt x="95" y="48"/>
                  </a:lnTo>
                  <a:lnTo>
                    <a:pt x="94" y="56"/>
                  </a:lnTo>
                  <a:lnTo>
                    <a:pt x="90" y="63"/>
                  </a:lnTo>
                  <a:lnTo>
                    <a:pt x="83" y="66"/>
                  </a:lnTo>
                  <a:lnTo>
                    <a:pt x="76" y="69"/>
                  </a:lnTo>
                  <a:lnTo>
                    <a:pt x="98" y="101"/>
                  </a:lnTo>
                  <a:lnTo>
                    <a:pt x="84" y="101"/>
                  </a:lnTo>
                  <a:lnTo>
                    <a:pt x="65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6" y="11"/>
                  </a:moveTo>
                  <a:lnTo>
                    <a:pt x="49" y="13"/>
                  </a:lnTo>
                  <a:lnTo>
                    <a:pt x="34" y="20"/>
                  </a:lnTo>
                  <a:lnTo>
                    <a:pt x="23" y="32"/>
                  </a:lnTo>
                  <a:lnTo>
                    <a:pt x="16" y="47"/>
                  </a:lnTo>
                  <a:lnTo>
                    <a:pt x="14" y="64"/>
                  </a:lnTo>
                  <a:lnTo>
                    <a:pt x="16" y="82"/>
                  </a:lnTo>
                  <a:lnTo>
                    <a:pt x="23" y="96"/>
                  </a:lnTo>
                  <a:lnTo>
                    <a:pt x="34" y="107"/>
                  </a:lnTo>
                  <a:lnTo>
                    <a:pt x="49" y="114"/>
                  </a:lnTo>
                  <a:lnTo>
                    <a:pt x="66" y="117"/>
                  </a:lnTo>
                  <a:lnTo>
                    <a:pt x="82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5" y="82"/>
                  </a:lnTo>
                  <a:lnTo>
                    <a:pt x="118" y="64"/>
                  </a:lnTo>
                  <a:lnTo>
                    <a:pt x="115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2" y="13"/>
                  </a:lnTo>
                  <a:lnTo>
                    <a:pt x="66" y="11"/>
                  </a:lnTo>
                  <a:close/>
                  <a:moveTo>
                    <a:pt x="66" y="0"/>
                  </a:moveTo>
                  <a:lnTo>
                    <a:pt x="85" y="3"/>
                  </a:lnTo>
                  <a:lnTo>
                    <a:pt x="104" y="12"/>
                  </a:lnTo>
                  <a:lnTo>
                    <a:pt x="118" y="25"/>
                  </a:lnTo>
                  <a:lnTo>
                    <a:pt x="127" y="43"/>
                  </a:lnTo>
                  <a:lnTo>
                    <a:pt x="130" y="64"/>
                  </a:lnTo>
                  <a:lnTo>
                    <a:pt x="127" y="84"/>
                  </a:lnTo>
                  <a:lnTo>
                    <a:pt x="118" y="102"/>
                  </a:lnTo>
                  <a:lnTo>
                    <a:pt x="104" y="116"/>
                  </a:lnTo>
                  <a:lnTo>
                    <a:pt x="85" y="125"/>
                  </a:lnTo>
                  <a:lnTo>
                    <a:pt x="66" y="128"/>
                  </a:lnTo>
                  <a:lnTo>
                    <a:pt x="45" y="125"/>
                  </a:lnTo>
                  <a:lnTo>
                    <a:pt x="27" y="116"/>
                  </a:lnTo>
                  <a:lnTo>
                    <a:pt x="13" y="102"/>
                  </a:lnTo>
                  <a:lnTo>
                    <a:pt x="4" y="84"/>
                  </a:lnTo>
                  <a:lnTo>
                    <a:pt x="0" y="64"/>
                  </a:lnTo>
                  <a:lnTo>
                    <a:pt x="4" y="43"/>
                  </a:lnTo>
                  <a:lnTo>
                    <a:pt x="13" y="25"/>
                  </a:lnTo>
                  <a:lnTo>
                    <a:pt x="27" y="12"/>
                  </a:lnTo>
                  <a:lnTo>
                    <a:pt x="45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FD56EA11-2893-472D-B00B-ECE8FAE5E6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91301" y="4867276"/>
              <a:ext cx="52388" cy="50800"/>
            </a:xfrm>
            <a:custGeom>
              <a:avLst/>
              <a:gdLst>
                <a:gd name="T0" fmla="*/ 51 w 130"/>
                <a:gd name="T1" fmla="*/ 60 h 128"/>
                <a:gd name="T2" fmla="*/ 69 w 130"/>
                <a:gd name="T3" fmla="*/ 60 h 128"/>
                <a:gd name="T4" fmla="*/ 75 w 130"/>
                <a:gd name="T5" fmla="*/ 59 h 128"/>
                <a:gd name="T6" fmla="*/ 81 w 130"/>
                <a:gd name="T7" fmla="*/ 55 h 128"/>
                <a:gd name="T8" fmla="*/ 82 w 130"/>
                <a:gd name="T9" fmla="*/ 48 h 128"/>
                <a:gd name="T10" fmla="*/ 81 w 130"/>
                <a:gd name="T11" fmla="*/ 42 h 128"/>
                <a:gd name="T12" fmla="*/ 76 w 130"/>
                <a:gd name="T13" fmla="*/ 38 h 128"/>
                <a:gd name="T14" fmla="*/ 70 w 130"/>
                <a:gd name="T15" fmla="*/ 37 h 128"/>
                <a:gd name="T16" fmla="*/ 51 w 130"/>
                <a:gd name="T17" fmla="*/ 37 h 128"/>
                <a:gd name="T18" fmla="*/ 68 w 130"/>
                <a:gd name="T19" fmla="*/ 28 h 128"/>
                <a:gd name="T20" fmla="*/ 88 w 130"/>
                <a:gd name="T21" fmla="*/ 32 h 128"/>
                <a:gd name="T22" fmla="*/ 94 w 130"/>
                <a:gd name="T23" fmla="*/ 48 h 128"/>
                <a:gd name="T24" fmla="*/ 88 w 130"/>
                <a:gd name="T25" fmla="*/ 63 h 128"/>
                <a:gd name="T26" fmla="*/ 75 w 130"/>
                <a:gd name="T27" fmla="*/ 69 h 128"/>
                <a:gd name="T28" fmla="*/ 83 w 130"/>
                <a:gd name="T29" fmla="*/ 101 h 128"/>
                <a:gd name="T30" fmla="*/ 51 w 130"/>
                <a:gd name="T31" fmla="*/ 69 h 128"/>
                <a:gd name="T32" fmla="*/ 40 w 130"/>
                <a:gd name="T33" fmla="*/ 101 h 128"/>
                <a:gd name="T34" fmla="*/ 64 w 130"/>
                <a:gd name="T35" fmla="*/ 11 h 128"/>
                <a:gd name="T36" fmla="*/ 34 w 130"/>
                <a:gd name="T37" fmla="*/ 20 h 128"/>
                <a:gd name="T38" fmla="*/ 14 w 130"/>
                <a:gd name="T39" fmla="*/ 47 h 128"/>
                <a:gd name="T40" fmla="*/ 14 w 130"/>
                <a:gd name="T41" fmla="*/ 82 h 128"/>
                <a:gd name="T42" fmla="*/ 34 w 130"/>
                <a:gd name="T43" fmla="*/ 107 h 128"/>
                <a:gd name="T44" fmla="*/ 64 w 130"/>
                <a:gd name="T45" fmla="*/ 117 h 128"/>
                <a:gd name="T46" fmla="*/ 96 w 130"/>
                <a:gd name="T47" fmla="*/ 107 h 128"/>
                <a:gd name="T48" fmla="*/ 114 w 130"/>
                <a:gd name="T49" fmla="*/ 82 h 128"/>
                <a:gd name="T50" fmla="*/ 114 w 130"/>
                <a:gd name="T51" fmla="*/ 47 h 128"/>
                <a:gd name="T52" fmla="*/ 96 w 130"/>
                <a:gd name="T53" fmla="*/ 20 h 128"/>
                <a:gd name="T54" fmla="*/ 64 w 130"/>
                <a:gd name="T55" fmla="*/ 11 h 128"/>
                <a:gd name="T56" fmla="*/ 85 w 130"/>
                <a:gd name="T57" fmla="*/ 3 h 128"/>
                <a:gd name="T58" fmla="*/ 117 w 130"/>
                <a:gd name="T59" fmla="*/ 25 h 128"/>
                <a:gd name="T60" fmla="*/ 130 w 130"/>
                <a:gd name="T61" fmla="*/ 64 h 128"/>
                <a:gd name="T62" fmla="*/ 117 w 130"/>
                <a:gd name="T63" fmla="*/ 102 h 128"/>
                <a:gd name="T64" fmla="*/ 85 w 130"/>
                <a:gd name="T65" fmla="*/ 125 h 128"/>
                <a:gd name="T66" fmla="*/ 45 w 130"/>
                <a:gd name="T67" fmla="*/ 125 h 128"/>
                <a:gd name="T68" fmla="*/ 12 w 130"/>
                <a:gd name="T69" fmla="*/ 102 h 128"/>
                <a:gd name="T70" fmla="*/ 0 w 130"/>
                <a:gd name="T71" fmla="*/ 64 h 128"/>
                <a:gd name="T72" fmla="*/ 12 w 130"/>
                <a:gd name="T73" fmla="*/ 25 h 128"/>
                <a:gd name="T74" fmla="*/ 45 w 130"/>
                <a:gd name="T75" fmla="*/ 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0" h="128">
                  <a:moveTo>
                    <a:pt x="51" y="37"/>
                  </a:moveTo>
                  <a:lnTo>
                    <a:pt x="51" y="60"/>
                  </a:lnTo>
                  <a:lnTo>
                    <a:pt x="64" y="60"/>
                  </a:lnTo>
                  <a:lnTo>
                    <a:pt x="69" y="60"/>
                  </a:lnTo>
                  <a:lnTo>
                    <a:pt x="73" y="59"/>
                  </a:lnTo>
                  <a:lnTo>
                    <a:pt x="75" y="59"/>
                  </a:lnTo>
                  <a:lnTo>
                    <a:pt x="79" y="56"/>
                  </a:lnTo>
                  <a:lnTo>
                    <a:pt x="81" y="55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1" y="42"/>
                  </a:lnTo>
                  <a:lnTo>
                    <a:pt x="79" y="40"/>
                  </a:lnTo>
                  <a:lnTo>
                    <a:pt x="76" y="38"/>
                  </a:lnTo>
                  <a:lnTo>
                    <a:pt x="73" y="37"/>
                  </a:lnTo>
                  <a:lnTo>
                    <a:pt x="70" y="37"/>
                  </a:lnTo>
                  <a:lnTo>
                    <a:pt x="66" y="37"/>
                  </a:lnTo>
                  <a:lnTo>
                    <a:pt x="51" y="37"/>
                  </a:lnTo>
                  <a:close/>
                  <a:moveTo>
                    <a:pt x="40" y="28"/>
                  </a:moveTo>
                  <a:lnTo>
                    <a:pt x="68" y="28"/>
                  </a:lnTo>
                  <a:lnTo>
                    <a:pt x="80" y="29"/>
                  </a:lnTo>
                  <a:lnTo>
                    <a:pt x="88" y="32"/>
                  </a:lnTo>
                  <a:lnTo>
                    <a:pt x="93" y="38"/>
                  </a:lnTo>
                  <a:lnTo>
                    <a:pt x="94" y="48"/>
                  </a:lnTo>
                  <a:lnTo>
                    <a:pt x="93" y="56"/>
                  </a:lnTo>
                  <a:lnTo>
                    <a:pt x="88" y="63"/>
                  </a:lnTo>
                  <a:lnTo>
                    <a:pt x="82" y="66"/>
                  </a:lnTo>
                  <a:lnTo>
                    <a:pt x="75" y="69"/>
                  </a:lnTo>
                  <a:lnTo>
                    <a:pt x="96" y="101"/>
                  </a:lnTo>
                  <a:lnTo>
                    <a:pt x="83" y="101"/>
                  </a:lnTo>
                  <a:lnTo>
                    <a:pt x="64" y="69"/>
                  </a:lnTo>
                  <a:lnTo>
                    <a:pt x="51" y="69"/>
                  </a:lnTo>
                  <a:lnTo>
                    <a:pt x="51" y="101"/>
                  </a:lnTo>
                  <a:lnTo>
                    <a:pt x="40" y="101"/>
                  </a:lnTo>
                  <a:lnTo>
                    <a:pt x="40" y="28"/>
                  </a:lnTo>
                  <a:close/>
                  <a:moveTo>
                    <a:pt x="64" y="11"/>
                  </a:moveTo>
                  <a:lnTo>
                    <a:pt x="48" y="13"/>
                  </a:lnTo>
                  <a:lnTo>
                    <a:pt x="34" y="20"/>
                  </a:lnTo>
                  <a:lnTo>
                    <a:pt x="22" y="32"/>
                  </a:lnTo>
                  <a:lnTo>
                    <a:pt x="14" y="47"/>
                  </a:lnTo>
                  <a:lnTo>
                    <a:pt x="12" y="64"/>
                  </a:lnTo>
                  <a:lnTo>
                    <a:pt x="14" y="82"/>
                  </a:lnTo>
                  <a:lnTo>
                    <a:pt x="22" y="96"/>
                  </a:lnTo>
                  <a:lnTo>
                    <a:pt x="34" y="107"/>
                  </a:lnTo>
                  <a:lnTo>
                    <a:pt x="48" y="114"/>
                  </a:lnTo>
                  <a:lnTo>
                    <a:pt x="64" y="117"/>
                  </a:lnTo>
                  <a:lnTo>
                    <a:pt x="81" y="114"/>
                  </a:lnTo>
                  <a:lnTo>
                    <a:pt x="96" y="107"/>
                  </a:lnTo>
                  <a:lnTo>
                    <a:pt x="107" y="96"/>
                  </a:lnTo>
                  <a:lnTo>
                    <a:pt x="114" y="82"/>
                  </a:lnTo>
                  <a:lnTo>
                    <a:pt x="116" y="64"/>
                  </a:lnTo>
                  <a:lnTo>
                    <a:pt x="114" y="47"/>
                  </a:lnTo>
                  <a:lnTo>
                    <a:pt x="107" y="32"/>
                  </a:lnTo>
                  <a:lnTo>
                    <a:pt x="96" y="20"/>
                  </a:lnTo>
                  <a:lnTo>
                    <a:pt x="81" y="13"/>
                  </a:lnTo>
                  <a:lnTo>
                    <a:pt x="64" y="11"/>
                  </a:lnTo>
                  <a:close/>
                  <a:moveTo>
                    <a:pt x="64" y="0"/>
                  </a:moveTo>
                  <a:lnTo>
                    <a:pt x="85" y="3"/>
                  </a:lnTo>
                  <a:lnTo>
                    <a:pt x="103" y="12"/>
                  </a:lnTo>
                  <a:lnTo>
                    <a:pt x="117" y="25"/>
                  </a:lnTo>
                  <a:lnTo>
                    <a:pt x="126" y="43"/>
                  </a:lnTo>
                  <a:lnTo>
                    <a:pt x="130" y="64"/>
                  </a:lnTo>
                  <a:lnTo>
                    <a:pt x="126" y="84"/>
                  </a:lnTo>
                  <a:lnTo>
                    <a:pt x="117" y="102"/>
                  </a:lnTo>
                  <a:lnTo>
                    <a:pt x="103" y="116"/>
                  </a:lnTo>
                  <a:lnTo>
                    <a:pt x="85" y="125"/>
                  </a:lnTo>
                  <a:lnTo>
                    <a:pt x="64" y="128"/>
                  </a:lnTo>
                  <a:lnTo>
                    <a:pt x="45" y="125"/>
                  </a:lnTo>
                  <a:lnTo>
                    <a:pt x="26" y="116"/>
                  </a:lnTo>
                  <a:lnTo>
                    <a:pt x="12" y="102"/>
                  </a:lnTo>
                  <a:lnTo>
                    <a:pt x="2" y="84"/>
                  </a:lnTo>
                  <a:lnTo>
                    <a:pt x="0" y="64"/>
                  </a:lnTo>
                  <a:lnTo>
                    <a:pt x="2" y="43"/>
                  </a:lnTo>
                  <a:lnTo>
                    <a:pt x="12" y="25"/>
                  </a:lnTo>
                  <a:lnTo>
                    <a:pt x="26" y="12"/>
                  </a:lnTo>
                  <a:lnTo>
                    <a:pt x="45" y="3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F42A0F6-75F0-49B1-BD5E-4E8E6529C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09818"/>
            <a:ext cx="8063686" cy="457200"/>
          </a:xfrm>
        </p:spPr>
        <p:txBody>
          <a:bodyPr vert="horz">
            <a:normAutofit fontScale="90000"/>
          </a:bodyPr>
          <a:lstStyle/>
          <a:p>
            <a:r>
              <a:rPr lang="en-US" sz="2800" cap="all">
                <a:solidFill>
                  <a:srgbClr val="FFFFFF"/>
                </a:solidFill>
                <a:latin typeface="Calibri"/>
                <a:cs typeface="Aharoni" panose="020B0604020202020204" pitchFamily="2" charset="-79"/>
              </a:rPr>
              <a:t>Let’s connect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A756E8E-D845-4A0D-89D6-4E4B69FAEAF0}"/>
              </a:ext>
            </a:extLst>
          </p:cNvPr>
          <p:cNvGrpSpPr/>
          <p:nvPr/>
        </p:nvGrpSpPr>
        <p:grpSpPr>
          <a:xfrm>
            <a:off x="531539" y="2043008"/>
            <a:ext cx="3900549" cy="1258484"/>
            <a:chOff x="976252" y="2279895"/>
            <a:chExt cx="3900549" cy="125848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1F804F1-0440-41B2-8940-58ECDD4D910A}"/>
                </a:ext>
              </a:extLst>
            </p:cNvPr>
            <p:cNvGrpSpPr/>
            <p:nvPr/>
          </p:nvGrpSpPr>
          <p:grpSpPr>
            <a:xfrm>
              <a:off x="976252" y="2968992"/>
              <a:ext cx="3900549" cy="569387"/>
              <a:chOff x="976252" y="2968992"/>
              <a:chExt cx="3900549" cy="569387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37F2C321-9463-4AD8-AA7D-168A4F512CA4}"/>
                  </a:ext>
                </a:extLst>
              </p:cNvPr>
              <p:cNvSpPr txBox="1"/>
              <p:nvPr/>
            </p:nvSpPr>
            <p:spPr>
              <a:xfrm>
                <a:off x="976253" y="2968992"/>
                <a:ext cx="3900548" cy="5693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da-DK" sz="1600" dirty="0">
                    <a:solidFill>
                      <a:schemeClr val="bg1"/>
                    </a:solidFill>
                    <a:latin typeface="+mj-lt"/>
                  </a:rPr>
                  <a:t>Business Solutions Manager - EMEA</a:t>
                </a:r>
              </a:p>
              <a:p>
                <a:pPr>
                  <a:spcAft>
                    <a:spcPts val="600"/>
                  </a:spcAft>
                </a:pPr>
                <a:r>
                  <a:rPr lang="da-DK" sz="1600" dirty="0">
                    <a:solidFill>
                      <a:schemeClr val="bg1"/>
                    </a:solidFill>
                    <a:latin typeface="+mj-lt"/>
                  </a:rPr>
                  <a:t>      </a:t>
                </a:r>
                <a:r>
                  <a:rPr lang="da-DK" sz="1600" dirty="0" err="1">
                    <a:solidFill>
                      <a:schemeClr val="bg1"/>
                    </a:solidFill>
                    <a:latin typeface="+mj-lt"/>
                  </a:rPr>
                  <a:t>thomas-thorning-guldborg</a:t>
                </a:r>
                <a:endParaRPr lang="da-DK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39" name="Picture 4" descr="Billedresultat for linkedin logo">
                <a:extLst>
                  <a:ext uri="{FF2B5EF4-FFF2-40B4-BE49-F238E27FC236}">
                    <a16:creationId xmlns:a16="http://schemas.microsoft.com/office/drawing/2014/main" id="{C038C81F-8E7C-4E4A-971E-E0A9DFC195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6252" y="3310007"/>
                <a:ext cx="216000" cy="21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5572486-A620-4D6B-821E-0B22A67D8648}"/>
                </a:ext>
              </a:extLst>
            </p:cNvPr>
            <p:cNvSpPr txBox="1"/>
            <p:nvPr/>
          </p:nvSpPr>
          <p:spPr>
            <a:xfrm>
              <a:off x="976252" y="2279895"/>
              <a:ext cx="390054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chemeClr val="bg1"/>
                  </a:solidFill>
                  <a:latin typeface="+mj-lt"/>
                </a:defRPr>
              </a:lvl1pPr>
            </a:lstStyle>
            <a:p>
              <a:r>
                <a:rPr lang="da-DK" sz="2400" b="1">
                  <a:latin typeface="+mn-lt"/>
                </a:rPr>
                <a:t>Thomas Thorning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51F6E1F-7C23-431A-A0CA-12E6DC6AE1E0}"/>
              </a:ext>
            </a:extLst>
          </p:cNvPr>
          <p:cNvGrpSpPr/>
          <p:nvPr/>
        </p:nvGrpSpPr>
        <p:grpSpPr>
          <a:xfrm>
            <a:off x="5414114" y="1667811"/>
            <a:ext cx="1817959" cy="1805337"/>
            <a:chOff x="5414114" y="1496145"/>
            <a:chExt cx="2352210" cy="235221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99AD950-7ED7-403E-BD81-A9ED05558595}"/>
                </a:ext>
              </a:extLst>
            </p:cNvPr>
            <p:cNvSpPr/>
            <p:nvPr/>
          </p:nvSpPr>
          <p:spPr>
            <a:xfrm>
              <a:off x="5414114" y="1496145"/>
              <a:ext cx="2352210" cy="235221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8" name="Picture 2" descr="Thomas Thorning Guldborg">
              <a:extLst>
                <a:ext uri="{FF2B5EF4-FFF2-40B4-BE49-F238E27FC236}">
                  <a16:creationId xmlns:a16="http://schemas.microsoft.com/office/drawing/2014/main" id="{66F119D4-A697-4564-AB76-99CE59E6BD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7285" y="1549571"/>
              <a:ext cx="2245359" cy="2245359"/>
            </a:xfrm>
            <a:prstGeom prst="ellipse">
              <a:avLst/>
            </a:prstGeom>
            <a:ln w="635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A0AE344-FAC0-4069-B4F4-F4C1B0F43223}"/>
              </a:ext>
            </a:extLst>
          </p:cNvPr>
          <p:cNvCxnSpPr>
            <a:cxnSpLocks/>
          </p:cNvCxnSpPr>
          <p:nvPr/>
        </p:nvCxnSpPr>
        <p:spPr>
          <a:xfrm>
            <a:off x="531539" y="2570480"/>
            <a:ext cx="4609421" cy="0"/>
          </a:xfrm>
          <a:prstGeom prst="line">
            <a:avLst/>
          </a:prstGeom>
          <a:ln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290" name="79680846-88B8-4C72-B6CC-D1696DA092F7">
            <a:extLst>
              <a:ext uri="{FF2B5EF4-FFF2-40B4-BE49-F238E27FC236}">
                <a16:creationId xmlns:a16="http://schemas.microsoft.com/office/drawing/2014/main" id="{A3EE5020-1B88-489B-937B-D0A64F761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973" y="3485723"/>
            <a:ext cx="1452562" cy="145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hlinkClick r:id="rId10"/>
            <a:extLst>
              <a:ext uri="{FF2B5EF4-FFF2-40B4-BE49-F238E27FC236}">
                <a16:creationId xmlns:a16="http://schemas.microsoft.com/office/drawing/2014/main" id="{DC1F16D1-DCF1-46AB-BACD-7D874E53521D}"/>
              </a:ext>
            </a:extLst>
          </p:cNvPr>
          <p:cNvSpPr txBox="1"/>
          <p:nvPr/>
        </p:nvSpPr>
        <p:spPr>
          <a:xfrm>
            <a:off x="4063530" y="4361530"/>
            <a:ext cx="2692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  <a:latin typeface="+mj-lt"/>
              </a:rPr>
              <a:t>Download the EMEA Consumer Poll 2021 here.</a:t>
            </a:r>
            <a:endParaRPr lang="en-DK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4085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887DE1-28E9-4ADF-B7FF-9B5CF1D332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07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887DE1-28E9-4ADF-B7FF-9B5CF1D33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01ECF38-459D-45A3-A998-41544BF348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A digital minute in 2020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6833F42B-BD66-4287-85EB-97BC9F5DBFC2}"/>
              </a:ext>
            </a:extLst>
          </p:cNvPr>
          <p:cNvSpPr/>
          <p:nvPr/>
        </p:nvSpPr>
        <p:spPr>
          <a:xfrm>
            <a:off x="530328" y="4460515"/>
            <a:ext cx="1790351" cy="21809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lvl="0" algn="ctr" defTabSz="685800">
              <a:defRPr/>
            </a:pPr>
            <a:r>
              <a:rPr lang="en-US" sz="800" cap="all">
                <a:solidFill>
                  <a:schemeClr val="bg1"/>
                </a:solidFill>
                <a:latin typeface="+mj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ocialmediatoday.com</a:t>
            </a:r>
            <a:endParaRPr lang="en-US" sz="800" cap="all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90" name="Picture 89" descr="Image result for instagram logo">
            <a:extLst>
              <a:ext uri="{FF2B5EF4-FFF2-40B4-BE49-F238E27FC236}">
                <a16:creationId xmlns:a16="http://schemas.microsoft.com/office/drawing/2014/main" id="{D3307BA3-9C35-4651-8316-697CBBA47B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969" y="2526007"/>
            <a:ext cx="332905" cy="309177"/>
          </a:xfrm>
          <a:prstGeom prst="roundRect">
            <a:avLst>
              <a:gd name="adj" fmla="val 25293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0" descr="Related image">
            <a:extLst>
              <a:ext uri="{FF2B5EF4-FFF2-40B4-BE49-F238E27FC236}">
                <a16:creationId xmlns:a16="http://schemas.microsoft.com/office/drawing/2014/main" id="{5E24D115-21B2-4235-807B-821BBA44C0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902" y="2526007"/>
            <a:ext cx="332905" cy="30917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6" descr="Snapchat Logo Vector">
            <a:extLst>
              <a:ext uri="{FF2B5EF4-FFF2-40B4-BE49-F238E27FC236}">
                <a16:creationId xmlns:a16="http://schemas.microsoft.com/office/drawing/2014/main" id="{A2C4F1B3-76C2-4A84-BAEA-99D65184E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9035" y="2511677"/>
            <a:ext cx="332906" cy="322655"/>
          </a:xfrm>
          <a:prstGeom prst="roundRect">
            <a:avLst>
              <a:gd name="adj" fmla="val 23162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8" descr="Image result for skype logo">
            <a:extLst>
              <a:ext uri="{FF2B5EF4-FFF2-40B4-BE49-F238E27FC236}">
                <a16:creationId xmlns:a16="http://schemas.microsoft.com/office/drawing/2014/main" id="{4CF2DA65-5AA9-48E4-AE5A-C83837345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719" y="2512529"/>
            <a:ext cx="331672" cy="3361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0" descr="Image result for dropbox logo">
            <a:extLst>
              <a:ext uri="{FF2B5EF4-FFF2-40B4-BE49-F238E27FC236}">
                <a16:creationId xmlns:a16="http://schemas.microsoft.com/office/drawing/2014/main" id="{0CC6271A-ABB2-42A6-AE19-9BBF6D34C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785" y="2526858"/>
            <a:ext cx="331673" cy="3074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" descr="Relateret billede">
            <a:extLst>
              <a:ext uri="{FF2B5EF4-FFF2-40B4-BE49-F238E27FC236}">
                <a16:creationId xmlns:a16="http://schemas.microsoft.com/office/drawing/2014/main" id="{DEC65E3C-BD35-4B4F-868F-CF5D7907ED8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99" y="3732783"/>
            <a:ext cx="1296003" cy="4320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5FE812-0971-44B9-B39B-E99A3F3F2229}"/>
              </a:ext>
            </a:extLst>
          </p:cNvPr>
          <p:cNvCxnSpPr>
            <a:cxnSpLocks/>
          </p:cNvCxnSpPr>
          <p:nvPr/>
        </p:nvCxnSpPr>
        <p:spPr>
          <a:xfrm>
            <a:off x="2428240" y="4569564"/>
            <a:ext cx="61172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A358BEA-EDB7-438A-A758-4D02D61C2FB9}"/>
              </a:ext>
            </a:extLst>
          </p:cNvPr>
          <p:cNvSpPr/>
          <p:nvPr/>
        </p:nvSpPr>
        <p:spPr>
          <a:xfrm>
            <a:off x="525463" y="1940854"/>
            <a:ext cx="10237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00.000 </a:t>
            </a:r>
            <a:b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a-DK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ATUS UPDATES</a:t>
            </a:r>
            <a:endParaRPr kumimoji="0" lang="en-US" sz="800" u="none" strike="noStrike" kern="1200" cap="all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21C6E40-6E76-40E4-A1A5-3A9F0BC63E9C}"/>
              </a:ext>
            </a:extLst>
          </p:cNvPr>
          <p:cNvSpPr/>
          <p:nvPr/>
        </p:nvSpPr>
        <p:spPr>
          <a:xfrm>
            <a:off x="2274530" y="1940854"/>
            <a:ext cx="10237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8 M </a:t>
            </a:r>
            <a:b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a-DK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EARCHES</a:t>
            </a:r>
            <a:endParaRPr kumimoji="0" lang="tr-TR" sz="800" u="none" strike="noStrike" kern="1200" cap="all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DD6AD47-8635-4197-A265-97804B3ED569}"/>
              </a:ext>
            </a:extLst>
          </p:cNvPr>
          <p:cNvSpPr/>
          <p:nvPr/>
        </p:nvSpPr>
        <p:spPr>
          <a:xfrm>
            <a:off x="4023597" y="1940854"/>
            <a:ext cx="10237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00.</a:t>
            </a:r>
            <a:r>
              <a:rPr kumimoji="0" lang="tr-TR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00 </a:t>
            </a:r>
            <a:br>
              <a:rPr kumimoji="0" lang="en-US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tr-TR" sz="800" b="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weets</a:t>
            </a:r>
            <a:endParaRPr kumimoji="0" lang="en-US" sz="800" b="0" u="none" strike="noStrike" kern="1200" cap="all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EDE76B5-1745-4743-B04A-BD692ABE9C8D}"/>
              </a:ext>
            </a:extLst>
          </p:cNvPr>
          <p:cNvSpPr/>
          <p:nvPr/>
        </p:nvSpPr>
        <p:spPr>
          <a:xfrm>
            <a:off x="5772664" y="1940854"/>
            <a:ext cx="10237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400 </a:t>
            </a:r>
            <a:b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a-DK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osts</a:t>
            </a:r>
            <a:endParaRPr kumimoji="0" lang="en-US" sz="800" u="none" strike="noStrike" kern="1200" cap="all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D2BE3FF4-CB3C-4289-AEC9-53AD00B638F7}"/>
              </a:ext>
            </a:extLst>
          </p:cNvPr>
          <p:cNvSpPr/>
          <p:nvPr/>
        </p:nvSpPr>
        <p:spPr>
          <a:xfrm>
            <a:off x="7521730" y="1940854"/>
            <a:ext cx="10237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3</a:t>
            </a:r>
            <a:r>
              <a:rPr kumimoji="0" lang="tr-TR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M </a:t>
            </a:r>
            <a:br>
              <a:rPr kumimoji="0" lang="en-US" sz="800" b="1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da-DK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EXT </a:t>
            </a:r>
            <a:r>
              <a:rPr kumimoji="0" lang="tr-TR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essages</a:t>
            </a: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A1144F2-1FE6-46A3-BC63-81F792A928D2}"/>
              </a:ext>
            </a:extLst>
          </p:cNvPr>
          <p:cNvGrpSpPr/>
          <p:nvPr/>
        </p:nvGrpSpPr>
        <p:grpSpPr>
          <a:xfrm>
            <a:off x="525463" y="2976788"/>
            <a:ext cx="8020049" cy="246221"/>
            <a:chOff x="560818" y="1940854"/>
            <a:chExt cx="7856210" cy="246221"/>
          </a:xfrm>
        </p:grpSpPr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75435001-920F-44C6-818F-A9CB4BD4792E}"/>
                </a:ext>
              </a:extLst>
            </p:cNvPr>
            <p:cNvSpPr/>
            <p:nvPr/>
          </p:nvSpPr>
          <p:spPr>
            <a:xfrm>
              <a:off x="560818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4 M</a:t>
              </a:r>
              <a:r>
                <a:rPr kumimoji="0" lang="tr-TR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br>
                <a:rPr kumimoji="0" lang="en-US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en-US" sz="800" b="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deo Plays</a:t>
              </a:r>
              <a:endParaRPr kumimoji="0" lang="tr-TR" sz="800" b="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EFC12EA6-9F4C-403C-B095-E4A6883A816E}"/>
                </a:ext>
              </a:extLst>
            </p:cNvPr>
            <p:cNvSpPr/>
            <p:nvPr/>
          </p:nvSpPr>
          <p:spPr>
            <a:xfrm>
              <a:off x="2274154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50.000</a:t>
              </a:r>
              <a:r>
                <a:rPr kumimoji="0" lang="tr-TR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br>
                <a:rPr kumimoji="0" lang="en-US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tr-TR" sz="800" b="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hotos uploaded</a:t>
              </a:r>
              <a:endParaRPr kumimoji="0" lang="en-US" sz="800" b="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97710235-5B9F-45FA-AEC3-6524FEED3B2D}"/>
                </a:ext>
              </a:extLst>
            </p:cNvPr>
            <p:cNvSpPr/>
            <p:nvPr/>
          </p:nvSpPr>
          <p:spPr>
            <a:xfrm>
              <a:off x="3987490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 M </a:t>
              </a:r>
              <a:b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NAPS</a:t>
              </a:r>
              <a:endParaRPr kumimoji="0" lang="en-US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99457905-8A2D-4E11-8BB2-8431F1102BC9}"/>
                </a:ext>
              </a:extLst>
            </p:cNvPr>
            <p:cNvSpPr/>
            <p:nvPr/>
          </p:nvSpPr>
          <p:spPr>
            <a:xfrm>
              <a:off x="5700826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0.000 </a:t>
              </a:r>
              <a:b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ALLS</a:t>
              </a:r>
              <a:endParaRPr kumimoji="0" lang="en-US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0A0CE2ED-C1AD-4D43-B313-D209234B184A}"/>
                </a:ext>
              </a:extLst>
            </p:cNvPr>
            <p:cNvSpPr/>
            <p:nvPr/>
          </p:nvSpPr>
          <p:spPr>
            <a:xfrm>
              <a:off x="7414161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800</a:t>
              </a: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.</a:t>
              </a:r>
              <a:r>
                <a:rPr kumimoji="0" lang="tr-TR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000 </a:t>
              </a:r>
              <a:br>
                <a:rPr kumimoji="0" lang="en-US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tr-TR" sz="800" b="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iles uploaded</a:t>
              </a:r>
              <a:endParaRPr kumimoji="0" lang="en-US" sz="800" b="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2418F19-1A15-4D14-A66C-2B548B0E2A37}"/>
              </a:ext>
            </a:extLst>
          </p:cNvPr>
          <p:cNvGrpSpPr/>
          <p:nvPr/>
        </p:nvGrpSpPr>
        <p:grpSpPr>
          <a:xfrm>
            <a:off x="525463" y="4012723"/>
            <a:ext cx="8020049" cy="246221"/>
            <a:chOff x="560818" y="1940854"/>
            <a:chExt cx="7856210" cy="246221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C198EED-18E9-48FF-A576-75612FF03455}"/>
                </a:ext>
              </a:extLst>
            </p:cNvPr>
            <p:cNvSpPr/>
            <p:nvPr/>
          </p:nvSpPr>
          <p:spPr>
            <a:xfrm>
              <a:off x="560818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750.000</a:t>
              </a:r>
              <a:br>
                <a:rPr lang="da-DK" sz="800" b="1" cap="all">
                  <a:solidFill>
                    <a:srgbClr val="FFFFFF"/>
                  </a:solidFill>
                  <a:latin typeface="+mj-lt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ONG STREAMS</a:t>
              </a:r>
              <a:endParaRPr kumimoji="0" lang="tr-TR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1DED5236-EDB6-4B6F-A168-AF0AA76701BB}"/>
                </a:ext>
              </a:extLst>
            </p:cNvPr>
            <p:cNvSpPr/>
            <p:nvPr/>
          </p:nvSpPr>
          <p:spPr>
            <a:xfrm>
              <a:off x="2274154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100.000</a:t>
              </a: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b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ours of video</a:t>
              </a:r>
              <a:endParaRPr kumimoji="0" lang="tr-TR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BCB65051-DBF8-40E5-8900-42CA206F4DBF}"/>
                </a:ext>
              </a:extLst>
            </p:cNvPr>
            <p:cNvSpPr/>
            <p:nvPr/>
          </p:nvSpPr>
          <p:spPr>
            <a:xfrm>
              <a:off x="5700826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7.000 </a:t>
              </a:r>
              <a:b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USER MATCHES</a:t>
              </a:r>
              <a:endParaRPr kumimoji="0" lang="tr-TR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1045C78-3EE6-43B2-B9EE-F021F682E1E0}"/>
                </a:ext>
              </a:extLst>
            </p:cNvPr>
            <p:cNvSpPr/>
            <p:nvPr/>
          </p:nvSpPr>
          <p:spPr>
            <a:xfrm>
              <a:off x="7414161" y="1940854"/>
              <a:ext cx="1002867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700.000 </a:t>
              </a:r>
              <a:br>
                <a:rPr kumimoji="0" lang="da-DK" sz="800" b="1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a-DK" sz="800" u="none" strike="noStrike" kern="1200" cap="all" spc="0" normalizeH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VIDEO PLAYS</a:t>
              </a:r>
              <a:endParaRPr kumimoji="0" lang="tr-TR" sz="800" u="none" strike="noStrike" kern="1200" cap="all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120" name="Picture 119">
            <a:extLst>
              <a:ext uri="{FF2B5EF4-FFF2-40B4-BE49-F238E27FC236}">
                <a16:creationId xmlns:a16="http://schemas.microsoft.com/office/drawing/2014/main" id="{C4955A58-EC3E-48A7-80B5-8F76F173EC9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1690" y="1426988"/>
            <a:ext cx="391329" cy="3634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DE735001-A9F5-4692-8BB2-0E1395D5551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590757" y="1426988"/>
            <a:ext cx="391328" cy="36343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2" name="Picture 121" descr="Image result for twitter logo">
            <a:extLst>
              <a:ext uri="{FF2B5EF4-FFF2-40B4-BE49-F238E27FC236}">
                <a16:creationId xmlns:a16="http://schemas.microsoft.com/office/drawing/2014/main" id="{6E562936-E0EC-47B8-B697-599CDD720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824" y="1426988"/>
            <a:ext cx="391328" cy="370427"/>
          </a:xfrm>
          <a:prstGeom prst="roundRect">
            <a:avLst>
              <a:gd name="adj" fmla="val 0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50E71681-EC0E-4F0F-A05D-66AE76EFC14E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6088891" y="1426988"/>
            <a:ext cx="391329" cy="3599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24" name="Picture 8" descr="Billedresultat for iphone text icon">
            <a:extLst>
              <a:ext uri="{FF2B5EF4-FFF2-40B4-BE49-F238E27FC236}">
                <a16:creationId xmlns:a16="http://schemas.microsoft.com/office/drawing/2014/main" id="{C7D2C566-A49A-48FD-B778-87466861B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408" y="1426988"/>
            <a:ext cx="370427" cy="370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2" descr="Billedresultat for spotify logo">
            <a:extLst>
              <a:ext uri="{FF2B5EF4-FFF2-40B4-BE49-F238E27FC236}">
                <a16:creationId xmlns:a16="http://schemas.microsoft.com/office/drawing/2014/main" id="{2AB9F460-1E63-4074-997C-A2AB70ED2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229" y="3553658"/>
            <a:ext cx="358251" cy="3582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4" descr="Billedresultat for netflix logo">
            <a:extLst>
              <a:ext uri="{FF2B5EF4-FFF2-40B4-BE49-F238E27FC236}">
                <a16:creationId xmlns:a16="http://schemas.microsoft.com/office/drawing/2014/main" id="{6C22C20F-1828-463A-9EAA-A220D12C6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587" y="3553658"/>
            <a:ext cx="477668" cy="3582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6" descr="Billedresultat for tinder logo">
            <a:extLst>
              <a:ext uri="{FF2B5EF4-FFF2-40B4-BE49-F238E27FC236}">
                <a16:creationId xmlns:a16="http://schemas.microsoft.com/office/drawing/2014/main" id="{BBF98338-3F25-47A5-96E4-4512ED5B2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924" y="3524425"/>
            <a:ext cx="647263" cy="3637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4" descr="Relateret billede">
            <a:extLst>
              <a:ext uri="{FF2B5EF4-FFF2-40B4-BE49-F238E27FC236}">
                <a16:creationId xmlns:a16="http://schemas.microsoft.com/office/drawing/2014/main" id="{05C2C05D-3507-4992-BC86-B57059408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740" y="3524425"/>
            <a:ext cx="363762" cy="3637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27676802-6478-4594-AECA-B214B98DA70A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91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7C0400D-FF7B-3B43-B332-E678AF5E68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" t="22125" r="14155" b="1421"/>
          <a:stretch/>
        </p:blipFill>
        <p:spPr>
          <a:xfrm>
            <a:off x="0" y="0"/>
            <a:ext cx="9369049" cy="527009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31D9FDB-7743-674B-B83F-3827B3B7521A}"/>
              </a:ext>
            </a:extLst>
          </p:cNvPr>
          <p:cNvSpPr/>
          <p:nvPr/>
        </p:nvSpPr>
        <p:spPr>
          <a:xfrm>
            <a:off x="0" y="0"/>
            <a:ext cx="9369049" cy="5270090"/>
          </a:xfrm>
          <a:prstGeom prst="rect">
            <a:avLst/>
          </a:prstGeom>
          <a:solidFill>
            <a:srgbClr val="1F1C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A5EDD4-86AC-4670-9322-8A061FC40F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1900506"/>
            <a:ext cx="8020050" cy="712567"/>
          </a:xfrm>
        </p:spPr>
        <p:txBody>
          <a:bodyPr wrap="square" lIns="0" tIns="0" rIns="0" bIns="0">
            <a:spAutoFit/>
          </a:bodyPr>
          <a:lstStyle/>
          <a:p>
            <a:r>
              <a:rPr lang="en-US" sz="5400"/>
              <a:t>Ques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AD1443-78BB-48FC-A38C-CE8B08514D25}"/>
              </a:ext>
            </a:extLst>
          </p:cNvPr>
          <p:cNvSpPr/>
          <p:nvPr/>
        </p:nvSpPr>
        <p:spPr>
          <a:xfrm>
            <a:off x="-1" y="4277360"/>
            <a:ext cx="9369049" cy="99273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23">
            <a:extLst>
              <a:ext uri="{FF2B5EF4-FFF2-40B4-BE49-F238E27FC236}">
                <a16:creationId xmlns:a16="http://schemas.microsoft.com/office/drawing/2014/main" id="{025824ED-3C12-5240-A692-4641B272B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927" y="4601549"/>
            <a:ext cx="846770" cy="344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1">
            <a:hlinkClick r:id="rId4"/>
            <a:extLst>
              <a:ext uri="{FF2B5EF4-FFF2-40B4-BE49-F238E27FC236}">
                <a16:creationId xmlns:a16="http://schemas.microsoft.com/office/drawing/2014/main" id="{DBBF6FC4-D8DC-9347-A30F-159393056EED}"/>
              </a:ext>
            </a:extLst>
          </p:cNvPr>
          <p:cNvSpPr txBox="1">
            <a:spLocks/>
          </p:cNvSpPr>
          <p:nvPr/>
        </p:nvSpPr>
        <p:spPr>
          <a:xfrm>
            <a:off x="6789839" y="4601549"/>
            <a:ext cx="1755674" cy="34435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US" sz="3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5760" indent="-182880" algn="l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Calibri Light" panose="020F0302020204030204" pitchFamily="34" charset="0"/>
              <a:buChar char="–"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548640" indent="-182880" algn="l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/>
              <a:t>SAS.com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23EFD18-4637-47D6-ACC0-E5FA0D6E363D}"/>
              </a:ext>
            </a:extLst>
          </p:cNvPr>
          <p:cNvCxnSpPr>
            <a:cxnSpLocks/>
          </p:cNvCxnSpPr>
          <p:nvPr/>
        </p:nvCxnSpPr>
        <p:spPr>
          <a:xfrm>
            <a:off x="530328" y="4420131"/>
            <a:ext cx="801518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467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554E6F7-9505-45BD-833F-65357D18E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5432" y="925387"/>
            <a:ext cx="4951595" cy="457200"/>
          </a:xfrm>
        </p:spPr>
        <p:txBody>
          <a:bodyPr/>
          <a:lstStyle/>
          <a:p>
            <a:r>
              <a:rPr lang="da-DK" sz="2400">
                <a:solidFill>
                  <a:srgbClr val="2AD1D1"/>
                </a:solidFill>
              </a:rPr>
              <a:t>Background</a:t>
            </a:r>
            <a:endParaRPr lang="en-GB" sz="2400"/>
          </a:p>
        </p:txBody>
      </p:sp>
      <p:pic>
        <p:nvPicPr>
          <p:cNvPr id="13" name="Picture 4" descr="Billedresultat for krystalkugle">
            <a:extLst>
              <a:ext uri="{FF2B5EF4-FFF2-40B4-BE49-F238E27FC236}">
                <a16:creationId xmlns:a16="http://schemas.microsoft.com/office/drawing/2014/main" id="{8894605D-9CD7-4E71-BDA3-2B051F4D8E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35" t="448" r="31903" b="2203"/>
          <a:stretch/>
        </p:blipFill>
        <p:spPr bwMode="auto">
          <a:xfrm>
            <a:off x="1" y="0"/>
            <a:ext cx="3183038" cy="519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46FA6ED-7F05-4FBB-9474-66F0F015D849}"/>
              </a:ext>
            </a:extLst>
          </p:cNvPr>
          <p:cNvSpPr txBox="1"/>
          <p:nvPr/>
        </p:nvSpPr>
        <p:spPr>
          <a:xfrm>
            <a:off x="843070" y="2139077"/>
            <a:ext cx="1934853" cy="1936696"/>
          </a:xfrm>
          <a:prstGeom prst="ellipse">
            <a:avLst/>
          </a:prstGeom>
          <a:solidFill>
            <a:schemeClr val="accent2">
              <a:alpha val="38000"/>
            </a:scheme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da-DK" sz="4400" b="1" dirty="0"/>
              <a:t>2030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7E2F5C4E-652B-476D-B74F-FFC2A0DF1667}"/>
              </a:ext>
            </a:extLst>
          </p:cNvPr>
          <p:cNvSpPr txBox="1">
            <a:spLocks/>
          </p:cNvSpPr>
          <p:nvPr/>
        </p:nvSpPr>
        <p:spPr>
          <a:xfrm>
            <a:off x="525463" y="431120"/>
            <a:ext cx="2414507" cy="738664"/>
          </a:xfrm>
          <a:prstGeom prst="rect">
            <a:avLst/>
          </a:prstGeom>
          <a:effectLst/>
        </p:spPr>
        <p:txBody>
          <a:bodyPr vert="horz" lIns="0" tIns="0" rIns="0" bIns="0" rtlCol="0" anchor="t">
            <a:spAutoFit/>
          </a:bodyPr>
          <a:lstStyle>
            <a:lvl1pPr marL="0" indent="0" algn="l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Arial" panose="020B0604020202020204" pitchFamily="34" charset="0"/>
              <a:buNone/>
              <a:defRPr sz="2100" kern="1200">
                <a:solidFill>
                  <a:srgbClr val="2AD1D1"/>
                </a:solidFill>
                <a:latin typeface="+mj-lt"/>
                <a:ea typeface="+mn-ea"/>
                <a:cs typeface="+mn-cs"/>
              </a:defRPr>
            </a:lvl1pPr>
            <a:lvl2pPr marL="182880" indent="0" algn="l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Calibri Light" panose="020F0302020204030204" pitchFamily="34" charset="0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365760" indent="0" algn="l" defTabSz="685800" rtl="0" eaLnBrk="1" latinLnBrk="0" hangingPunct="1">
              <a:lnSpc>
                <a:spcPct val="8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400" b="1" dirty="0">
                <a:solidFill>
                  <a:schemeClr val="tx1"/>
                </a:solidFill>
                <a:latin typeface="+mn-lt"/>
              </a:rPr>
              <a:t>EMEA Consumer Poll </a:t>
            </a:r>
            <a:r>
              <a:rPr lang="en-US" sz="2400" dirty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2021 	</a:t>
            </a: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C2715DA1-02D6-4DAE-B2E4-3202AD718C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7560" y="431120"/>
            <a:ext cx="3183038" cy="45472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CA0ACB5-5189-4150-BA6F-F9E3A299123C}"/>
              </a:ext>
            </a:extLst>
          </p:cNvPr>
          <p:cNvSpPr/>
          <p:nvPr/>
        </p:nvSpPr>
        <p:spPr>
          <a:xfrm>
            <a:off x="3465432" y="1556844"/>
            <a:ext cx="4868340" cy="110176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180000" rtlCol="0" anchor="ctr"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600" b="1" dirty="0">
                <a:latin typeface="+mn-lt"/>
              </a:rPr>
              <a:t>In September 2020 SAS </a:t>
            </a:r>
            <a:r>
              <a:rPr lang="da-DK" sz="1600" b="1" dirty="0" err="1">
                <a:latin typeface="+mn-lt"/>
              </a:rPr>
              <a:t>launched</a:t>
            </a:r>
            <a:r>
              <a:rPr lang="da-DK" sz="1600" b="1" dirty="0">
                <a:latin typeface="+mn-lt"/>
              </a:rPr>
              <a:t> the </a:t>
            </a:r>
            <a:r>
              <a:rPr lang="da-DK" sz="1600" b="1" dirty="0" err="1">
                <a:latin typeface="+mn-lt"/>
              </a:rPr>
              <a:t>first</a:t>
            </a:r>
            <a:r>
              <a:rPr lang="da-DK" sz="1600" b="1" dirty="0">
                <a:latin typeface="+mn-lt"/>
              </a:rPr>
              <a:t> CX 2030 Covid-19 </a:t>
            </a:r>
            <a:r>
              <a:rPr lang="da-DK" sz="1600" b="1" dirty="0" err="1">
                <a:latin typeface="+mn-lt"/>
              </a:rPr>
              <a:t>consumer</a:t>
            </a:r>
            <a:r>
              <a:rPr lang="da-DK" sz="1600" b="1" dirty="0">
                <a:latin typeface="+mn-lt"/>
              </a:rPr>
              <a:t> poll </a:t>
            </a:r>
            <a:r>
              <a:rPr lang="da-DK" sz="1600" b="1" dirty="0" err="1">
                <a:latin typeface="+mn-lt"/>
              </a:rPr>
              <a:t>across</a:t>
            </a:r>
            <a:r>
              <a:rPr lang="da-DK" sz="1600" b="1" dirty="0">
                <a:latin typeface="+mn-lt"/>
              </a:rPr>
              <a:t> EMEA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1D007C6-6D4A-4364-B400-BF9DE0EDBE57}"/>
              </a:ext>
            </a:extLst>
          </p:cNvPr>
          <p:cNvGrpSpPr/>
          <p:nvPr/>
        </p:nvGrpSpPr>
        <p:grpSpPr>
          <a:xfrm>
            <a:off x="3465432" y="2749742"/>
            <a:ext cx="4868341" cy="1675923"/>
            <a:chOff x="3465432" y="2597051"/>
            <a:chExt cx="4868341" cy="1675923"/>
          </a:xfrm>
        </p:grpSpPr>
        <p:sp>
          <p:nvSpPr>
            <p:cNvPr id="17" name="Content Placeholder 2">
              <a:extLst>
                <a:ext uri="{FF2B5EF4-FFF2-40B4-BE49-F238E27FC236}">
                  <a16:creationId xmlns:a16="http://schemas.microsoft.com/office/drawing/2014/main" id="{3965D429-2605-4B91-963E-B5FD091B1E39}"/>
                </a:ext>
              </a:extLst>
            </p:cNvPr>
            <p:cNvSpPr txBox="1">
              <a:spLocks/>
            </p:cNvSpPr>
            <p:nvPr/>
          </p:nvSpPr>
          <p:spPr>
            <a:xfrm>
              <a:off x="3465433" y="3336884"/>
              <a:ext cx="4868340" cy="93609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82880" indent="-182880" algn="l" defTabSz="685800" rtl="0" eaLnBrk="1" latinLnBrk="0" hangingPunct="1">
                <a:lnSpc>
                  <a:spcPct val="85000"/>
                </a:lnSpc>
                <a:spcBef>
                  <a:spcPts val="8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210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1pPr>
              <a:lvl2pPr marL="365760" indent="-182880" algn="l" defTabSz="685800" rtl="0" eaLnBrk="1" latinLnBrk="0" hangingPunct="1">
                <a:lnSpc>
                  <a:spcPct val="85000"/>
                </a:lnSpc>
                <a:spcBef>
                  <a:spcPts val="800"/>
                </a:spcBef>
                <a:buClr>
                  <a:schemeClr val="bg2"/>
                </a:buClr>
                <a:buFont typeface="Calibri Light" panose="020F0302020204030204" pitchFamily="34" charset="0"/>
                <a:buChar char="–"/>
                <a:defRPr sz="180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2pPr>
              <a:lvl3pPr marL="548640" indent="-182880" algn="l" defTabSz="685800" rtl="0" eaLnBrk="1" latinLnBrk="0" hangingPunct="1">
                <a:lnSpc>
                  <a:spcPct val="85000"/>
                </a:lnSpc>
                <a:spcBef>
                  <a:spcPts val="800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50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3pPr>
              <a:lvl4pPr marL="12001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35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4pPr>
              <a:lvl5pPr marL="15430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chemeClr val="bg2"/>
                </a:buClr>
                <a:buFont typeface="Arial" panose="020B0604020202020204" pitchFamily="34" charset="0"/>
                <a:buChar char="•"/>
                <a:defRPr sz="1350" kern="1200">
                  <a:solidFill>
                    <a:schemeClr val="bg1"/>
                  </a:solidFill>
                  <a:latin typeface="+mj-lt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000" lvl="1" indent="-180000">
                <a:lnSpc>
                  <a:spcPct val="110000"/>
                </a:lnSpc>
                <a:spcBef>
                  <a:spcPts val="0"/>
                </a:spcBef>
                <a:buClr>
                  <a:srgbClr val="2AD1D1"/>
                </a:buClr>
              </a:pPr>
              <a:r>
                <a:rPr lang="da-DK" sz="1400" dirty="0"/>
                <a:t>New digital users </a:t>
              </a:r>
              <a:r>
                <a:rPr lang="en-US" sz="1400" dirty="0"/>
                <a:t>since</a:t>
              </a:r>
              <a:r>
                <a:rPr lang="da-DK" sz="1400" dirty="0"/>
                <a:t> the </a:t>
              </a:r>
              <a:r>
                <a:rPr lang="en-US" sz="1400" dirty="0"/>
                <a:t>pandemic</a:t>
              </a:r>
              <a:r>
                <a:rPr lang="da-DK" sz="1400" dirty="0"/>
                <a:t> </a:t>
              </a:r>
              <a:r>
                <a:rPr lang="en-US" sz="1400" dirty="0"/>
                <a:t>started</a:t>
              </a:r>
            </a:p>
            <a:p>
              <a:pPr marL="180000" lvl="1" indent="-180000">
                <a:lnSpc>
                  <a:spcPct val="110000"/>
                </a:lnSpc>
                <a:spcBef>
                  <a:spcPts val="0"/>
                </a:spcBef>
                <a:buClr>
                  <a:srgbClr val="2AD1D1"/>
                </a:buClr>
              </a:pPr>
              <a:r>
                <a:rPr lang="en-US" sz="1400" dirty="0"/>
                <a:t>What do customers really think about the customer experience? </a:t>
              </a:r>
            </a:p>
            <a:p>
              <a:pPr marL="180000" lvl="1" indent="-180000">
                <a:lnSpc>
                  <a:spcPct val="110000"/>
                </a:lnSpc>
                <a:spcBef>
                  <a:spcPts val="0"/>
                </a:spcBef>
                <a:buClr>
                  <a:srgbClr val="2AD1D1"/>
                </a:buClr>
                <a:buFontTx/>
                <a:buChar char="-"/>
              </a:pPr>
              <a:r>
                <a:rPr lang="en-US" sz="1400" dirty="0"/>
                <a:t>The most important factors to drive the customer Experience</a:t>
              </a:r>
            </a:p>
            <a:p>
              <a:pPr marL="180000" lvl="1" indent="-180000">
                <a:lnSpc>
                  <a:spcPct val="110000"/>
                </a:lnSpc>
                <a:spcBef>
                  <a:spcPts val="0"/>
                </a:spcBef>
                <a:buClr>
                  <a:srgbClr val="2AD1D1"/>
                </a:buClr>
              </a:pPr>
              <a:r>
                <a:rPr lang="da-DK" sz="1400" dirty="0"/>
                <a:t>Customer </a:t>
              </a:r>
              <a:r>
                <a:rPr lang="da-DK" sz="1400" dirty="0" err="1"/>
                <a:t>loyalty</a:t>
              </a:r>
              <a:r>
                <a:rPr lang="da-DK" sz="1400" dirty="0"/>
                <a:t> </a:t>
              </a:r>
              <a:r>
                <a:rPr lang="da-DK" sz="1400" dirty="0" err="1"/>
                <a:t>are</a:t>
              </a:r>
              <a:r>
                <a:rPr lang="da-DK" sz="1400" dirty="0"/>
                <a:t> </a:t>
              </a:r>
              <a:r>
                <a:rPr lang="da-DK" sz="1400" dirty="0" err="1"/>
                <a:t>easily</a:t>
              </a:r>
              <a:r>
                <a:rPr lang="da-DK" sz="1400" dirty="0"/>
                <a:t> los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7E4FCDF-7EC5-4390-97E0-4BA47CA1C6D0}"/>
                </a:ext>
              </a:extLst>
            </p:cNvPr>
            <p:cNvSpPr txBox="1"/>
            <p:nvPr/>
          </p:nvSpPr>
          <p:spPr>
            <a:xfrm>
              <a:off x="3465432" y="2597051"/>
              <a:ext cx="4868340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This is the new </a:t>
              </a:r>
              <a:r>
                <a:rPr lang="da-DK" sz="1600" b="1" dirty="0" err="1">
                  <a:solidFill>
                    <a:schemeClr val="bg1"/>
                  </a:solidFill>
                  <a:latin typeface="+mn-lt"/>
                </a:rPr>
                <a:t>updated</a:t>
              </a: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 version 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da-DK" sz="1600" b="1" dirty="0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Key </a:t>
              </a:r>
              <a:r>
                <a:rPr lang="da-DK" sz="1600" b="1" dirty="0" err="1">
                  <a:solidFill>
                    <a:schemeClr val="bg1"/>
                  </a:solidFill>
                  <a:latin typeface="+mn-lt"/>
                </a:rPr>
                <a:t>findings</a:t>
              </a: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a-DK" sz="1600" b="1" dirty="0" err="1">
                  <a:solidFill>
                    <a:schemeClr val="bg1"/>
                  </a:solidFill>
                  <a:latin typeface="+mn-lt"/>
                </a:rPr>
                <a:t>across</a:t>
              </a: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a-DK" sz="1600" b="1" dirty="0" err="1">
                  <a:solidFill>
                    <a:schemeClr val="bg1"/>
                  </a:solidFill>
                  <a:latin typeface="+mn-lt"/>
                </a:rPr>
                <a:t>these</a:t>
              </a: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a-DK" sz="1600" b="1" dirty="0" err="1">
                  <a:solidFill>
                    <a:schemeClr val="bg1"/>
                  </a:solidFill>
                  <a:latin typeface="+mn-lt"/>
                </a:rPr>
                <a:t>topics</a:t>
              </a:r>
              <a:r>
                <a:rPr lang="da-DK" sz="1600" b="1" dirty="0">
                  <a:solidFill>
                    <a:schemeClr val="bg1"/>
                  </a:solidFill>
                  <a:latin typeface="+mn-lt"/>
                </a:rPr>
                <a:t>: </a:t>
              </a:r>
              <a:endParaRPr lang="da-DK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43497B1-C141-4390-85CA-14C4E07F26DC}"/>
              </a:ext>
            </a:extLst>
          </p:cNvPr>
          <p:cNvSpPr/>
          <p:nvPr/>
        </p:nvSpPr>
        <p:spPr>
          <a:xfrm>
            <a:off x="3407560" y="4766872"/>
            <a:ext cx="2056346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747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C650BD07-5DC3-4B6D-83FE-5F5CC9DA2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28" y="287381"/>
            <a:ext cx="7886700" cy="457200"/>
          </a:xfrm>
        </p:spPr>
        <p:txBody>
          <a:bodyPr/>
          <a:lstStyle/>
          <a:p>
            <a:r>
              <a:rPr lang="en-GB" sz="2800">
                <a:solidFill>
                  <a:schemeClr val="bg1"/>
                </a:solidFill>
              </a:rPr>
              <a:t>Industry-specific takeaways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FD9EEC6-AD39-4D20-9062-5A4108C1DC7D}"/>
              </a:ext>
            </a:extLst>
          </p:cNvPr>
          <p:cNvGrpSpPr/>
          <p:nvPr/>
        </p:nvGrpSpPr>
        <p:grpSpPr>
          <a:xfrm>
            <a:off x="4934031" y="1367708"/>
            <a:ext cx="2678984" cy="2678984"/>
            <a:chOff x="4451084" y="1322872"/>
            <a:chExt cx="2678984" cy="267898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036E528-521F-42E5-99CE-FE99B64F03D8}"/>
                </a:ext>
              </a:extLst>
            </p:cNvPr>
            <p:cNvSpPr/>
            <p:nvPr/>
          </p:nvSpPr>
          <p:spPr>
            <a:xfrm>
              <a:off x="4451084" y="1322872"/>
              <a:ext cx="2678984" cy="2678984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800" b="1">
                <a:effectLst>
                  <a:outerShdw blurRad="406400" dist="38100" dir="5400000" sx="109000" sy="109000" algn="t" rotWithShape="0">
                    <a:prstClr val="black">
                      <a:alpha val="30000"/>
                    </a:prstClr>
                  </a:outerShdw>
                </a:effectLst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D2F8C6B-5FF3-474E-BAFD-763FB1A72A01}"/>
                </a:ext>
              </a:extLst>
            </p:cNvPr>
            <p:cNvGrpSpPr/>
            <p:nvPr/>
          </p:nvGrpSpPr>
          <p:grpSpPr>
            <a:xfrm>
              <a:off x="4664969" y="1938424"/>
              <a:ext cx="2273808" cy="1650152"/>
              <a:chOff x="4664969" y="2120352"/>
              <a:chExt cx="2273808" cy="1650152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58C90BB-E619-4310-BE72-419E9D8F7143}"/>
                  </a:ext>
                </a:extLst>
              </p:cNvPr>
              <p:cNvSpPr txBox="1"/>
              <p:nvPr/>
            </p:nvSpPr>
            <p:spPr>
              <a:xfrm>
                <a:off x="4664969" y="2120352"/>
                <a:ext cx="2273808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spcAft>
                    <a:spcPts val="3000"/>
                  </a:spcAft>
                  <a:buClr>
                    <a:srgbClr val="2AD1D1"/>
                  </a:buClr>
                  <a:buNone/>
                </a:pPr>
                <a:r>
                  <a:rPr lang="en-GB" sz="1600">
                    <a:solidFill>
                      <a:schemeClr val="bg1"/>
                    </a:solidFill>
                  </a:rPr>
                  <a:t>Banking &amp; finance has the higher percentage of overall digital users at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72CCA2C-B3DC-4CC9-9800-AFD5C189B582}"/>
                  </a:ext>
                </a:extLst>
              </p:cNvPr>
              <p:cNvSpPr txBox="1"/>
              <p:nvPr/>
            </p:nvSpPr>
            <p:spPr>
              <a:xfrm>
                <a:off x="4664969" y="2847174"/>
                <a:ext cx="2273808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spcAft>
                    <a:spcPts val="3000"/>
                  </a:spcAft>
                  <a:buClr>
                    <a:srgbClr val="2AD1D1"/>
                  </a:buClr>
                  <a:buNone/>
                </a:pPr>
                <a:r>
                  <a:rPr lang="en-GB" sz="5400" b="1">
                    <a:solidFill>
                      <a:schemeClr val="bg1"/>
                    </a:solidFill>
                    <a:effectLst>
                      <a:outerShdw blurRad="241300" dist="38100" dir="5400000" algn="t" rotWithShape="0">
                        <a:prstClr val="black">
                          <a:alpha val="28000"/>
                        </a:prstClr>
                      </a:outerShdw>
                    </a:effectLst>
                  </a:rPr>
                  <a:t>55%</a:t>
                </a:r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C5800B-4235-473D-87A7-E7A2BB38E79F}"/>
              </a:ext>
            </a:extLst>
          </p:cNvPr>
          <p:cNvGrpSpPr/>
          <p:nvPr/>
        </p:nvGrpSpPr>
        <p:grpSpPr>
          <a:xfrm>
            <a:off x="1530985" y="1367708"/>
            <a:ext cx="2678984" cy="2678984"/>
            <a:chOff x="1447920" y="1348894"/>
            <a:chExt cx="2678984" cy="267898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681FDF9C-61D7-4C59-B98D-ADE821FA6008}"/>
                </a:ext>
              </a:extLst>
            </p:cNvPr>
            <p:cNvSpPr/>
            <p:nvPr/>
          </p:nvSpPr>
          <p:spPr>
            <a:xfrm>
              <a:off x="1447920" y="1348894"/>
              <a:ext cx="2678984" cy="2678984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800" b="1">
                <a:effectLst>
                  <a:outerShdw blurRad="406400" dist="38100" dir="5400000" sx="109000" sy="109000" algn="t" rotWithShape="0">
                    <a:prstClr val="black">
                      <a:alpha val="30000"/>
                    </a:prstClr>
                  </a:outerShdw>
                </a:effectLst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E0D5830-BF98-438F-B95C-85D696A92C5B}"/>
                </a:ext>
              </a:extLst>
            </p:cNvPr>
            <p:cNvGrpSpPr/>
            <p:nvPr/>
          </p:nvGrpSpPr>
          <p:grpSpPr>
            <a:xfrm>
              <a:off x="1584433" y="1734690"/>
              <a:ext cx="2383364" cy="1884798"/>
              <a:chOff x="1584433" y="1789401"/>
              <a:chExt cx="2383364" cy="1884798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E2D0E73-F97C-43EB-B797-D7B945B1C364}"/>
                  </a:ext>
                </a:extLst>
              </p:cNvPr>
              <p:cNvSpPr txBox="1"/>
              <p:nvPr/>
            </p:nvSpPr>
            <p:spPr>
              <a:xfrm>
                <a:off x="1584433" y="1789401"/>
                <a:ext cx="2383364" cy="107721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spcAft>
                    <a:spcPts val="3000"/>
                  </a:spcAft>
                  <a:buClr>
                    <a:srgbClr val="2AD1D1"/>
                  </a:buClr>
                  <a:buNone/>
                </a:pPr>
                <a:r>
                  <a:rPr lang="en-GB" sz="1600">
                    <a:solidFill>
                      <a:schemeClr val="bg1"/>
                    </a:solidFill>
                  </a:rPr>
                  <a:t>Grocery &amp; Food Companies saw the highest rise in new digital users, with an uptake of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93E65102-370F-4BCE-897B-08490A3FEEA8}"/>
                  </a:ext>
                </a:extLst>
              </p:cNvPr>
              <p:cNvSpPr txBox="1"/>
              <p:nvPr/>
            </p:nvSpPr>
            <p:spPr>
              <a:xfrm>
                <a:off x="1639211" y="2750869"/>
                <a:ext cx="2273808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spcAft>
                    <a:spcPts val="3000"/>
                  </a:spcAft>
                  <a:buClr>
                    <a:srgbClr val="2AD1D1"/>
                  </a:buClr>
                  <a:buNone/>
                </a:pPr>
                <a:endParaRPr lang="en-GB" sz="5400" b="1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57A1310-37FB-4651-8F0A-A1777097AE4D}"/>
                </a:ext>
              </a:extLst>
            </p:cNvPr>
            <p:cNvSpPr txBox="1"/>
            <p:nvPr/>
          </p:nvSpPr>
          <p:spPr>
            <a:xfrm>
              <a:off x="1447920" y="2723121"/>
              <a:ext cx="2656389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spcAft>
                  <a:spcPts val="3000"/>
                </a:spcAft>
                <a:buClr>
                  <a:srgbClr val="2AD1D1"/>
                </a:buClr>
                <a:buNone/>
              </a:pPr>
              <a:r>
                <a:rPr lang="en-GB" sz="5400" b="1">
                  <a:solidFill>
                    <a:schemeClr val="bg1"/>
                  </a:solidFill>
                  <a:effectLst>
                    <a:outerShdw blurRad="241300" dist="38100" dir="5400000" algn="t" rotWithShape="0">
                      <a:prstClr val="black">
                        <a:alpha val="28000"/>
                      </a:prstClr>
                    </a:outerShdw>
                  </a:effectLst>
                </a:rPr>
                <a:t>20%</a:t>
              </a: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6A2CDA84-E0EE-44FB-AE62-C8812DE704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2398" y="1126008"/>
            <a:ext cx="6699204" cy="359664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72D281F-74ED-4660-B2E6-B0BBE832F367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62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6B6E65-88E1-4507-A0F7-D585CE3E2B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6B6E65-88E1-4507-A0F7-D585CE3E2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23">
            <a:extLst>
              <a:ext uri="{FF2B5EF4-FFF2-40B4-BE49-F238E27FC236}">
                <a16:creationId xmlns:a16="http://schemas.microsoft.com/office/drawing/2014/main" id="{DF51EE7B-B1C9-43F8-BB3F-0C1A0AC60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28" y="291627"/>
            <a:ext cx="7886700" cy="775597"/>
          </a:xfrm>
        </p:spPr>
        <p:txBody>
          <a:bodyPr vert="horz">
            <a:spAutoFit/>
          </a:bodyPr>
          <a:lstStyle/>
          <a:p>
            <a:r>
              <a:rPr lang="da-DK" err="1"/>
              <a:t>What</a:t>
            </a:r>
            <a:r>
              <a:rPr lang="da-DK"/>
              <a:t> do </a:t>
            </a:r>
            <a:r>
              <a:rPr lang="da-DK" err="1"/>
              <a:t>customers</a:t>
            </a:r>
            <a:r>
              <a:rPr lang="da-DK"/>
              <a:t> </a:t>
            </a:r>
            <a:r>
              <a:rPr lang="da-DK" err="1"/>
              <a:t>really</a:t>
            </a:r>
            <a:r>
              <a:rPr lang="da-DK"/>
              <a:t> </a:t>
            </a:r>
            <a:r>
              <a:rPr lang="da-DK" err="1"/>
              <a:t>think</a:t>
            </a:r>
            <a:r>
              <a:rPr lang="da-DK"/>
              <a:t> </a:t>
            </a:r>
            <a:r>
              <a:rPr lang="da-DK" err="1"/>
              <a:t>about</a:t>
            </a:r>
            <a:r>
              <a:rPr lang="da-DK"/>
              <a:t> </a:t>
            </a:r>
            <a:br>
              <a:rPr lang="da-DK"/>
            </a:br>
            <a:r>
              <a:rPr lang="da-DK"/>
              <a:t>the </a:t>
            </a:r>
            <a:r>
              <a:rPr lang="da-DK" err="1"/>
              <a:t>customer</a:t>
            </a:r>
            <a:r>
              <a:rPr lang="da-DK"/>
              <a:t> </a:t>
            </a:r>
            <a:r>
              <a:rPr lang="da-DK" err="1"/>
              <a:t>experience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6AB55E6-4A09-47FC-8A8F-F2A421D55951}"/>
              </a:ext>
            </a:extLst>
          </p:cNvPr>
          <p:cNvGrpSpPr/>
          <p:nvPr/>
        </p:nvGrpSpPr>
        <p:grpSpPr>
          <a:xfrm>
            <a:off x="5972724" y="1328859"/>
            <a:ext cx="1962342" cy="3351553"/>
            <a:chOff x="6263472" y="1328860"/>
            <a:chExt cx="1962342" cy="335155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46F678C-A416-4039-93F7-017153DB8678}"/>
                </a:ext>
              </a:extLst>
            </p:cNvPr>
            <p:cNvSpPr/>
            <p:nvPr/>
          </p:nvSpPr>
          <p:spPr>
            <a:xfrm>
              <a:off x="6280957" y="2294667"/>
              <a:ext cx="1915428" cy="2266814"/>
            </a:xfrm>
            <a:prstGeom prst="roundRect">
              <a:avLst>
                <a:gd name="adj" fmla="val 6894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FB3D83F1-31BA-4E26-B595-668B4E460360}"/>
                </a:ext>
              </a:extLst>
            </p:cNvPr>
            <p:cNvGrpSpPr/>
            <p:nvPr/>
          </p:nvGrpSpPr>
          <p:grpSpPr>
            <a:xfrm>
              <a:off x="6263472" y="2569119"/>
              <a:ext cx="1962342" cy="2111294"/>
              <a:chOff x="6598187" y="1936902"/>
              <a:chExt cx="1962342" cy="2111294"/>
            </a:xfrm>
          </p:grpSpPr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C742361B-E4C9-4CF0-A8A7-E3D6697AEF9B}"/>
                  </a:ext>
                </a:extLst>
              </p:cNvPr>
              <p:cNvSpPr/>
              <p:nvPr/>
            </p:nvSpPr>
            <p:spPr>
              <a:xfrm>
                <a:off x="6598187" y="2241602"/>
                <a:ext cx="1962342" cy="1806594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80000" rIns="144000" bIns="108000" rtlCol="0" anchor="t"/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</a:pPr>
                <a:r>
                  <a:rPr lang="en-GB" sz="1400" b="1">
                    <a:solidFill>
                      <a:srgbClr val="2AD1D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…</a:t>
                </a:r>
                <a:r>
                  <a:rPr lang="en-GB" sz="1400"/>
                  <a:t>of people are more likely to share their personal data now than before the pandemic started</a:t>
                </a:r>
              </a:p>
            </p:txBody>
          </p:sp>
          <p:sp>
            <p:nvSpPr>
              <p:cNvPr id="42" name="Title 1">
                <a:extLst>
                  <a:ext uri="{FF2B5EF4-FFF2-40B4-BE49-F238E27FC236}">
                    <a16:creationId xmlns:a16="http://schemas.microsoft.com/office/drawing/2014/main" id="{DA896EAA-EE22-4AC7-9FB5-90C2587EA87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91020" y="1936902"/>
                <a:ext cx="1854492" cy="609398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0" tIns="0" rIns="0" bIns="0" rtlCol="0" anchor="t" anchorCtr="0">
                <a:spAutoFit/>
              </a:bodyPr>
              <a:lstStyle>
                <a:lvl1pPr algn="ctr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bg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da-DK" sz="4400">
                    <a:solidFill>
                      <a:srgbClr val="2AD1D1">
                        <a:alpha val="90000"/>
                      </a:srgbClr>
                    </a:solidFill>
                  </a:rPr>
                  <a:t>32%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8AED03F-1F09-48C6-91F9-3FD96A42BBF3}"/>
                </a:ext>
              </a:extLst>
            </p:cNvPr>
            <p:cNvGrpSpPr/>
            <p:nvPr/>
          </p:nvGrpSpPr>
          <p:grpSpPr>
            <a:xfrm>
              <a:off x="6697238" y="1328860"/>
              <a:ext cx="1172625" cy="1172625"/>
              <a:chOff x="5912536" y="3658517"/>
              <a:chExt cx="1172625" cy="1172625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DF317BCB-9954-432B-8E01-7BA25A67FA09}"/>
                  </a:ext>
                </a:extLst>
              </p:cNvPr>
              <p:cNvSpPr/>
              <p:nvPr/>
            </p:nvSpPr>
            <p:spPr>
              <a:xfrm>
                <a:off x="5912536" y="3658517"/>
                <a:ext cx="1172625" cy="1172625"/>
              </a:xfrm>
              <a:prstGeom prst="ellipse">
                <a:avLst/>
              </a:prstGeom>
              <a:gradFill>
                <a:gsLst>
                  <a:gs pos="0">
                    <a:srgbClr val="36277F"/>
                  </a:gs>
                  <a:gs pos="100000">
                    <a:srgbClr val="881D80"/>
                  </a:gs>
                </a:gsLst>
                <a:lin ang="12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2800" b="1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E259DC95-1C3B-4CAF-8EBA-AE31F43A57D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166377" y="3839496"/>
                <a:ext cx="754704" cy="811905"/>
              </a:xfrm>
              <a:custGeom>
                <a:avLst/>
                <a:gdLst>
                  <a:gd name="T0" fmla="*/ 763 w 4515"/>
                  <a:gd name="T1" fmla="*/ 1730 h 4859"/>
                  <a:gd name="T2" fmla="*/ 1807 w 4515"/>
                  <a:gd name="T3" fmla="*/ 689 h 4859"/>
                  <a:gd name="T4" fmla="*/ 2653 w 4515"/>
                  <a:gd name="T5" fmla="*/ 1633 h 4859"/>
                  <a:gd name="T6" fmla="*/ 1192 w 4515"/>
                  <a:gd name="T7" fmla="*/ 225 h 4859"/>
                  <a:gd name="T8" fmla="*/ 2053 w 4515"/>
                  <a:gd name="T9" fmla="*/ 2575 h 4859"/>
                  <a:gd name="T10" fmla="*/ 1535 w 4515"/>
                  <a:gd name="T11" fmla="*/ 2603 h 4859"/>
                  <a:gd name="T12" fmla="*/ 1183 w 4515"/>
                  <a:gd name="T13" fmla="*/ 2554 h 4859"/>
                  <a:gd name="T14" fmla="*/ 2218 w 4515"/>
                  <a:gd name="T15" fmla="*/ 1366 h 4859"/>
                  <a:gd name="T16" fmla="*/ 898 w 4515"/>
                  <a:gd name="T17" fmla="*/ 1689 h 4859"/>
                  <a:gd name="T18" fmla="*/ 1219 w 4515"/>
                  <a:gd name="T19" fmla="*/ 2307 h 4859"/>
                  <a:gd name="T20" fmla="*/ 1839 w 4515"/>
                  <a:gd name="T21" fmla="*/ 2427 h 4859"/>
                  <a:gd name="T22" fmla="*/ 2218 w 4515"/>
                  <a:gd name="T23" fmla="*/ 1366 h 4859"/>
                  <a:gd name="T24" fmla="*/ 597 w 4515"/>
                  <a:gd name="T25" fmla="*/ 3987 h 4859"/>
                  <a:gd name="T26" fmla="*/ 597 w 4515"/>
                  <a:gd name="T27" fmla="*/ 4119 h 4859"/>
                  <a:gd name="T28" fmla="*/ 634 w 4515"/>
                  <a:gd name="T29" fmla="*/ 2512 h 4859"/>
                  <a:gd name="T30" fmla="*/ 1867 w 4515"/>
                  <a:gd name="T31" fmla="*/ 155 h 4859"/>
                  <a:gd name="T32" fmla="*/ 2157 w 4515"/>
                  <a:gd name="T33" fmla="*/ 2363 h 4859"/>
                  <a:gd name="T34" fmla="*/ 2987 w 4515"/>
                  <a:gd name="T35" fmla="*/ 3010 h 4859"/>
                  <a:gd name="T36" fmla="*/ 1622 w 4515"/>
                  <a:gd name="T37" fmla="*/ 3001 h 4859"/>
                  <a:gd name="T38" fmla="*/ 233 w 4515"/>
                  <a:gd name="T39" fmla="*/ 3327 h 4859"/>
                  <a:gd name="T40" fmla="*/ 1852 w 4515"/>
                  <a:gd name="T41" fmla="*/ 1365 h 4859"/>
                  <a:gd name="T42" fmla="*/ 3951 w 4515"/>
                  <a:gd name="T43" fmla="*/ 4751 h 4859"/>
                  <a:gd name="T44" fmla="*/ 3806 w 4515"/>
                  <a:gd name="T45" fmla="*/ 4525 h 4859"/>
                  <a:gd name="T46" fmla="*/ 3522 w 4515"/>
                  <a:gd name="T47" fmla="*/ 4366 h 4859"/>
                  <a:gd name="T48" fmla="*/ 3673 w 4515"/>
                  <a:gd name="T49" fmla="*/ 4677 h 4859"/>
                  <a:gd name="T50" fmla="*/ 4057 w 4515"/>
                  <a:gd name="T51" fmla="*/ 4803 h 4859"/>
                  <a:gd name="T52" fmla="*/ 3576 w 4515"/>
                  <a:gd name="T53" fmla="*/ 4743 h 4859"/>
                  <a:gd name="T54" fmla="*/ 3472 w 4515"/>
                  <a:gd name="T55" fmla="*/ 4460 h 4859"/>
                  <a:gd name="T56" fmla="*/ 3806 w 4515"/>
                  <a:gd name="T57" fmla="*/ 4418 h 4859"/>
                  <a:gd name="T58" fmla="*/ 4057 w 4515"/>
                  <a:gd name="T59" fmla="*/ 4803 h 4859"/>
                  <a:gd name="T60" fmla="*/ 4132 w 4515"/>
                  <a:gd name="T61" fmla="*/ 3639 h 4859"/>
                  <a:gd name="T62" fmla="*/ 3793 w 4515"/>
                  <a:gd name="T63" fmla="*/ 3783 h 4859"/>
                  <a:gd name="T64" fmla="*/ 4132 w 4515"/>
                  <a:gd name="T65" fmla="*/ 3927 h 4859"/>
                  <a:gd name="T66" fmla="*/ 4515 w 4515"/>
                  <a:gd name="T67" fmla="*/ 3783 h 4859"/>
                  <a:gd name="T68" fmla="*/ 4065 w 4515"/>
                  <a:gd name="T69" fmla="*/ 4042 h 4859"/>
                  <a:gd name="T70" fmla="*/ 3704 w 4515"/>
                  <a:gd name="T71" fmla="*/ 3783 h 4859"/>
                  <a:gd name="T72" fmla="*/ 4065 w 4515"/>
                  <a:gd name="T73" fmla="*/ 3523 h 4859"/>
                  <a:gd name="T74" fmla="*/ 4515 w 4515"/>
                  <a:gd name="T75" fmla="*/ 3783 h 4859"/>
                  <a:gd name="T76" fmla="*/ 3795 w 4515"/>
                  <a:gd name="T77" fmla="*/ 3067 h 4859"/>
                  <a:gd name="T78" fmla="*/ 3693 w 4515"/>
                  <a:gd name="T79" fmla="*/ 2902 h 4859"/>
                  <a:gd name="T80" fmla="*/ 3555 w 4515"/>
                  <a:gd name="T81" fmla="*/ 3182 h 4859"/>
                  <a:gd name="T82" fmla="*/ 3492 w 4515"/>
                  <a:gd name="T83" fmla="*/ 3307 h 4859"/>
                  <a:gd name="T84" fmla="*/ 3565 w 4515"/>
                  <a:gd name="T85" fmla="*/ 2868 h 4859"/>
                  <a:gd name="T86" fmla="*/ 4077 w 4515"/>
                  <a:gd name="T87" fmla="*/ 2777 h 4859"/>
                  <a:gd name="T88" fmla="*/ 3826 w 4515"/>
                  <a:gd name="T89" fmla="*/ 3161 h 4859"/>
                  <a:gd name="T90" fmla="*/ 3492 w 4515"/>
                  <a:gd name="T91" fmla="*/ 3307 h 4859"/>
                  <a:gd name="T92" fmla="*/ 3276 w 4515"/>
                  <a:gd name="T93" fmla="*/ 3311 h 4859"/>
                  <a:gd name="T94" fmla="*/ 3109 w 4515"/>
                  <a:gd name="T95" fmla="*/ 4324 h 4859"/>
                  <a:gd name="T96" fmla="*/ 3133 w 4515"/>
                  <a:gd name="T97" fmla="*/ 4427 h 4859"/>
                  <a:gd name="T98" fmla="*/ 2421 w 4515"/>
                  <a:gd name="T99" fmla="*/ 3433 h 4859"/>
                  <a:gd name="T100" fmla="*/ 3133 w 4515"/>
                  <a:gd name="T101" fmla="*/ 4427 h 4859"/>
                  <a:gd name="T102" fmla="*/ 2921 w 4515"/>
                  <a:gd name="T103" fmla="*/ 3526 h 4859"/>
                  <a:gd name="T104" fmla="*/ 3044 w 4515"/>
                  <a:gd name="T105" fmla="*/ 4162 h 4859"/>
                  <a:gd name="T106" fmla="*/ 3044 w 4515"/>
                  <a:gd name="T107" fmla="*/ 3526 h 4859"/>
                  <a:gd name="T108" fmla="*/ 3143 w 4515"/>
                  <a:gd name="T109" fmla="*/ 3423 h 4859"/>
                  <a:gd name="T110" fmla="*/ 3304 w 4515"/>
                  <a:gd name="T111" fmla="*/ 4143 h 4859"/>
                  <a:gd name="T112" fmla="*/ 2822 w 4515"/>
                  <a:gd name="T113" fmla="*/ 3688 h 4859"/>
                  <a:gd name="T114" fmla="*/ 2681 w 4515"/>
                  <a:gd name="T115" fmla="*/ 4162 h 4859"/>
                  <a:gd name="T116" fmla="*/ 2803 w 4515"/>
                  <a:gd name="T117" fmla="*/ 3669 h 4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515" h="4859">
                    <a:moveTo>
                      <a:pt x="720" y="2411"/>
                    </a:moveTo>
                    <a:lnTo>
                      <a:pt x="720" y="2411"/>
                    </a:lnTo>
                    <a:cubicBezTo>
                      <a:pt x="759" y="2435"/>
                      <a:pt x="909" y="2513"/>
                      <a:pt x="1077" y="2358"/>
                    </a:cubicBezTo>
                    <a:cubicBezTo>
                      <a:pt x="972" y="2259"/>
                      <a:pt x="755" y="2018"/>
                      <a:pt x="763" y="1730"/>
                    </a:cubicBezTo>
                    <a:cubicBezTo>
                      <a:pt x="626" y="1757"/>
                      <a:pt x="549" y="1729"/>
                      <a:pt x="539" y="1724"/>
                    </a:cubicBezTo>
                    <a:cubicBezTo>
                      <a:pt x="505" y="1710"/>
                      <a:pt x="489" y="1672"/>
                      <a:pt x="503" y="1638"/>
                    </a:cubicBezTo>
                    <a:cubicBezTo>
                      <a:pt x="517" y="1605"/>
                      <a:pt x="555" y="1589"/>
                      <a:pt x="588" y="1602"/>
                    </a:cubicBezTo>
                    <a:cubicBezTo>
                      <a:pt x="598" y="1605"/>
                      <a:pt x="1025" y="1736"/>
                      <a:pt x="1807" y="689"/>
                    </a:cubicBezTo>
                    <a:cubicBezTo>
                      <a:pt x="1828" y="662"/>
                      <a:pt x="1865" y="655"/>
                      <a:pt x="1894" y="672"/>
                    </a:cubicBezTo>
                    <a:cubicBezTo>
                      <a:pt x="1910" y="681"/>
                      <a:pt x="2277" y="906"/>
                      <a:pt x="2348" y="1344"/>
                    </a:cubicBezTo>
                    <a:cubicBezTo>
                      <a:pt x="2395" y="1629"/>
                      <a:pt x="2305" y="1934"/>
                      <a:pt x="2080" y="2252"/>
                    </a:cubicBezTo>
                    <a:cubicBezTo>
                      <a:pt x="2286" y="2162"/>
                      <a:pt x="2585" y="1976"/>
                      <a:pt x="2653" y="1633"/>
                    </a:cubicBezTo>
                    <a:cubicBezTo>
                      <a:pt x="2736" y="1218"/>
                      <a:pt x="2517" y="548"/>
                      <a:pt x="2229" y="329"/>
                    </a:cubicBezTo>
                    <a:cubicBezTo>
                      <a:pt x="2117" y="244"/>
                      <a:pt x="2008" y="230"/>
                      <a:pt x="1896" y="287"/>
                    </a:cubicBezTo>
                    <a:cubicBezTo>
                      <a:pt x="1877" y="297"/>
                      <a:pt x="1854" y="296"/>
                      <a:pt x="1835" y="286"/>
                    </a:cubicBezTo>
                    <a:cubicBezTo>
                      <a:pt x="1832" y="285"/>
                      <a:pt x="1526" y="123"/>
                      <a:pt x="1192" y="225"/>
                    </a:cubicBezTo>
                    <a:cubicBezTo>
                      <a:pt x="962" y="295"/>
                      <a:pt x="771" y="473"/>
                      <a:pt x="622" y="754"/>
                    </a:cubicBezTo>
                    <a:cubicBezTo>
                      <a:pt x="181" y="1592"/>
                      <a:pt x="661" y="2326"/>
                      <a:pt x="720" y="2411"/>
                    </a:cubicBezTo>
                    <a:lnTo>
                      <a:pt x="720" y="2411"/>
                    </a:lnTo>
                    <a:close/>
                    <a:moveTo>
                      <a:pt x="2053" y="2575"/>
                    </a:moveTo>
                    <a:lnTo>
                      <a:pt x="2053" y="2575"/>
                    </a:lnTo>
                    <a:cubicBezTo>
                      <a:pt x="2037" y="2538"/>
                      <a:pt x="2029" y="2503"/>
                      <a:pt x="2025" y="2470"/>
                    </a:cubicBezTo>
                    <a:cubicBezTo>
                      <a:pt x="1902" y="2558"/>
                      <a:pt x="1776" y="2603"/>
                      <a:pt x="1649" y="2603"/>
                    </a:cubicBezTo>
                    <a:lnTo>
                      <a:pt x="1535" y="2603"/>
                    </a:lnTo>
                    <a:cubicBezTo>
                      <a:pt x="1400" y="2603"/>
                      <a:pt x="1274" y="2522"/>
                      <a:pt x="1177" y="2446"/>
                    </a:cubicBezTo>
                    <a:cubicBezTo>
                      <a:pt x="1151" y="2471"/>
                      <a:pt x="1124" y="2492"/>
                      <a:pt x="1098" y="2509"/>
                    </a:cubicBezTo>
                    <a:cubicBezTo>
                      <a:pt x="1113" y="2509"/>
                      <a:pt x="1122" y="2509"/>
                      <a:pt x="1123" y="2510"/>
                    </a:cubicBezTo>
                    <a:cubicBezTo>
                      <a:pt x="1151" y="2511"/>
                      <a:pt x="1174" y="2528"/>
                      <a:pt x="1183" y="2554"/>
                    </a:cubicBezTo>
                    <a:cubicBezTo>
                      <a:pt x="1247" y="2742"/>
                      <a:pt x="1423" y="2868"/>
                      <a:pt x="1622" y="2868"/>
                    </a:cubicBezTo>
                    <a:cubicBezTo>
                      <a:pt x="1813" y="2868"/>
                      <a:pt x="1983" y="2751"/>
                      <a:pt x="2053" y="2575"/>
                    </a:cubicBezTo>
                    <a:lnTo>
                      <a:pt x="2053" y="2575"/>
                    </a:lnTo>
                    <a:close/>
                    <a:moveTo>
                      <a:pt x="2218" y="1366"/>
                    </a:moveTo>
                    <a:lnTo>
                      <a:pt x="2218" y="1366"/>
                    </a:lnTo>
                    <a:cubicBezTo>
                      <a:pt x="2171" y="1078"/>
                      <a:pt x="1969" y="892"/>
                      <a:pt x="1874" y="820"/>
                    </a:cubicBezTo>
                    <a:cubicBezTo>
                      <a:pt x="1534" y="1266"/>
                      <a:pt x="1214" y="1555"/>
                      <a:pt x="923" y="1678"/>
                    </a:cubicBezTo>
                    <a:cubicBezTo>
                      <a:pt x="914" y="1682"/>
                      <a:pt x="906" y="1685"/>
                      <a:pt x="898" y="1689"/>
                    </a:cubicBezTo>
                    <a:cubicBezTo>
                      <a:pt x="898" y="1691"/>
                      <a:pt x="898" y="1693"/>
                      <a:pt x="897" y="1695"/>
                    </a:cubicBezTo>
                    <a:cubicBezTo>
                      <a:pt x="860" y="2016"/>
                      <a:pt x="1210" y="2300"/>
                      <a:pt x="1214" y="2303"/>
                    </a:cubicBezTo>
                    <a:cubicBezTo>
                      <a:pt x="1214" y="2303"/>
                      <a:pt x="1215" y="2304"/>
                      <a:pt x="1216" y="2305"/>
                    </a:cubicBezTo>
                    <a:cubicBezTo>
                      <a:pt x="1217" y="2306"/>
                      <a:pt x="1218" y="2306"/>
                      <a:pt x="1219" y="2307"/>
                    </a:cubicBezTo>
                    <a:lnTo>
                      <a:pt x="1241" y="2329"/>
                    </a:lnTo>
                    <a:cubicBezTo>
                      <a:pt x="1324" y="2395"/>
                      <a:pt x="1432" y="2470"/>
                      <a:pt x="1535" y="2470"/>
                    </a:cubicBezTo>
                    <a:lnTo>
                      <a:pt x="1649" y="2470"/>
                    </a:lnTo>
                    <a:cubicBezTo>
                      <a:pt x="1712" y="2470"/>
                      <a:pt x="1775" y="2456"/>
                      <a:pt x="1839" y="2427"/>
                    </a:cubicBezTo>
                    <a:cubicBezTo>
                      <a:pt x="1837" y="2425"/>
                      <a:pt x="1835" y="2423"/>
                      <a:pt x="1834" y="2421"/>
                    </a:cubicBezTo>
                    <a:cubicBezTo>
                      <a:pt x="1819" y="2397"/>
                      <a:pt x="1822" y="2366"/>
                      <a:pt x="1840" y="2344"/>
                    </a:cubicBezTo>
                    <a:cubicBezTo>
                      <a:pt x="2139" y="1993"/>
                      <a:pt x="2266" y="1665"/>
                      <a:pt x="2218" y="1366"/>
                    </a:cubicBezTo>
                    <a:lnTo>
                      <a:pt x="2218" y="1366"/>
                    </a:lnTo>
                    <a:close/>
                    <a:moveTo>
                      <a:pt x="233" y="3327"/>
                    </a:moveTo>
                    <a:lnTo>
                      <a:pt x="233" y="3327"/>
                    </a:lnTo>
                    <a:lnTo>
                      <a:pt x="233" y="3623"/>
                    </a:lnTo>
                    <a:cubicBezTo>
                      <a:pt x="233" y="3824"/>
                      <a:pt x="396" y="3987"/>
                      <a:pt x="597" y="3987"/>
                    </a:cubicBezTo>
                    <a:lnTo>
                      <a:pt x="2163" y="3987"/>
                    </a:lnTo>
                    <a:cubicBezTo>
                      <a:pt x="2199" y="3987"/>
                      <a:pt x="2229" y="4017"/>
                      <a:pt x="2229" y="4053"/>
                    </a:cubicBezTo>
                    <a:cubicBezTo>
                      <a:pt x="2229" y="4090"/>
                      <a:pt x="2199" y="4119"/>
                      <a:pt x="2163" y="4119"/>
                    </a:cubicBezTo>
                    <a:lnTo>
                      <a:pt x="597" y="4119"/>
                    </a:lnTo>
                    <a:cubicBezTo>
                      <a:pt x="323" y="4119"/>
                      <a:pt x="101" y="3897"/>
                      <a:pt x="101" y="3623"/>
                    </a:cubicBezTo>
                    <a:lnTo>
                      <a:pt x="101" y="3327"/>
                    </a:lnTo>
                    <a:cubicBezTo>
                      <a:pt x="105" y="2908"/>
                      <a:pt x="430" y="2707"/>
                      <a:pt x="777" y="2575"/>
                    </a:cubicBezTo>
                    <a:cubicBezTo>
                      <a:pt x="718" y="2562"/>
                      <a:pt x="668" y="2537"/>
                      <a:pt x="634" y="2512"/>
                    </a:cubicBezTo>
                    <a:cubicBezTo>
                      <a:pt x="629" y="2508"/>
                      <a:pt x="624" y="2504"/>
                      <a:pt x="621" y="2499"/>
                    </a:cubicBezTo>
                    <a:cubicBezTo>
                      <a:pt x="614" y="2490"/>
                      <a:pt x="0" y="1653"/>
                      <a:pt x="506" y="692"/>
                    </a:cubicBezTo>
                    <a:cubicBezTo>
                      <a:pt x="671" y="378"/>
                      <a:pt x="890" y="178"/>
                      <a:pt x="1155" y="98"/>
                    </a:cubicBezTo>
                    <a:cubicBezTo>
                      <a:pt x="1480" y="0"/>
                      <a:pt x="1773" y="112"/>
                      <a:pt x="1867" y="155"/>
                    </a:cubicBezTo>
                    <a:cubicBezTo>
                      <a:pt x="2015" y="92"/>
                      <a:pt x="2167" y="116"/>
                      <a:pt x="2309" y="224"/>
                    </a:cubicBezTo>
                    <a:cubicBezTo>
                      <a:pt x="2674" y="501"/>
                      <a:pt x="2867" y="1235"/>
                      <a:pt x="2783" y="1659"/>
                    </a:cubicBezTo>
                    <a:cubicBezTo>
                      <a:pt x="2732" y="1916"/>
                      <a:pt x="2563" y="2135"/>
                      <a:pt x="2294" y="2292"/>
                    </a:cubicBezTo>
                    <a:cubicBezTo>
                      <a:pt x="2247" y="2320"/>
                      <a:pt x="2201" y="2343"/>
                      <a:pt x="2157" y="2363"/>
                    </a:cubicBezTo>
                    <a:cubicBezTo>
                      <a:pt x="2151" y="2392"/>
                      <a:pt x="2145" y="2446"/>
                      <a:pt x="2167" y="2508"/>
                    </a:cubicBezTo>
                    <a:cubicBezTo>
                      <a:pt x="2217" y="2510"/>
                      <a:pt x="2299" y="2516"/>
                      <a:pt x="2361" y="2537"/>
                    </a:cubicBezTo>
                    <a:cubicBezTo>
                      <a:pt x="2575" y="2612"/>
                      <a:pt x="2840" y="2722"/>
                      <a:pt x="2997" y="2917"/>
                    </a:cubicBezTo>
                    <a:cubicBezTo>
                      <a:pt x="3020" y="2945"/>
                      <a:pt x="3015" y="2987"/>
                      <a:pt x="2987" y="3010"/>
                    </a:cubicBezTo>
                    <a:cubicBezTo>
                      <a:pt x="2958" y="3033"/>
                      <a:pt x="2917" y="3028"/>
                      <a:pt x="2894" y="3000"/>
                    </a:cubicBezTo>
                    <a:cubicBezTo>
                      <a:pt x="2788" y="2868"/>
                      <a:pt x="2610" y="2764"/>
                      <a:pt x="2318" y="2662"/>
                    </a:cubicBezTo>
                    <a:cubicBezTo>
                      <a:pt x="2277" y="2648"/>
                      <a:pt x="2214" y="2642"/>
                      <a:pt x="2169" y="2640"/>
                    </a:cubicBezTo>
                    <a:cubicBezTo>
                      <a:pt x="2076" y="2858"/>
                      <a:pt x="1862" y="3001"/>
                      <a:pt x="1622" y="3001"/>
                    </a:cubicBezTo>
                    <a:cubicBezTo>
                      <a:pt x="1383" y="3001"/>
                      <a:pt x="1169" y="2858"/>
                      <a:pt x="1075" y="2641"/>
                    </a:cubicBezTo>
                    <a:cubicBezTo>
                      <a:pt x="1030" y="2642"/>
                      <a:pt x="966" y="2647"/>
                      <a:pt x="922" y="2662"/>
                    </a:cubicBezTo>
                    <a:cubicBezTo>
                      <a:pt x="435" y="2831"/>
                      <a:pt x="236" y="3024"/>
                      <a:pt x="233" y="3327"/>
                    </a:cubicBezTo>
                    <a:lnTo>
                      <a:pt x="233" y="3327"/>
                    </a:lnTo>
                    <a:close/>
                    <a:moveTo>
                      <a:pt x="1852" y="1194"/>
                    </a:moveTo>
                    <a:lnTo>
                      <a:pt x="1852" y="1194"/>
                    </a:lnTo>
                    <a:cubicBezTo>
                      <a:pt x="1804" y="1194"/>
                      <a:pt x="1766" y="1232"/>
                      <a:pt x="1766" y="1279"/>
                    </a:cubicBezTo>
                    <a:cubicBezTo>
                      <a:pt x="1766" y="1326"/>
                      <a:pt x="1804" y="1365"/>
                      <a:pt x="1852" y="1365"/>
                    </a:cubicBezTo>
                    <a:cubicBezTo>
                      <a:pt x="1899" y="1365"/>
                      <a:pt x="1937" y="1326"/>
                      <a:pt x="1937" y="1279"/>
                    </a:cubicBezTo>
                    <a:cubicBezTo>
                      <a:pt x="1937" y="1232"/>
                      <a:pt x="1899" y="1194"/>
                      <a:pt x="1852" y="1194"/>
                    </a:cubicBezTo>
                    <a:lnTo>
                      <a:pt x="1852" y="1194"/>
                    </a:lnTo>
                    <a:close/>
                    <a:moveTo>
                      <a:pt x="3951" y="4751"/>
                    </a:moveTo>
                    <a:lnTo>
                      <a:pt x="3951" y="4751"/>
                    </a:lnTo>
                    <a:lnTo>
                      <a:pt x="3877" y="4473"/>
                    </a:lnTo>
                    <a:lnTo>
                      <a:pt x="3837" y="4512"/>
                    </a:lnTo>
                    <a:cubicBezTo>
                      <a:pt x="3829" y="4520"/>
                      <a:pt x="3818" y="4525"/>
                      <a:pt x="3806" y="4525"/>
                    </a:cubicBezTo>
                    <a:cubicBezTo>
                      <a:pt x="3794" y="4525"/>
                      <a:pt x="3783" y="4520"/>
                      <a:pt x="3775" y="4512"/>
                    </a:cubicBezTo>
                    <a:lnTo>
                      <a:pt x="3598" y="4335"/>
                    </a:lnTo>
                    <a:cubicBezTo>
                      <a:pt x="3580" y="4318"/>
                      <a:pt x="3552" y="4318"/>
                      <a:pt x="3535" y="4335"/>
                    </a:cubicBezTo>
                    <a:cubicBezTo>
                      <a:pt x="3526" y="4343"/>
                      <a:pt x="3522" y="4354"/>
                      <a:pt x="3522" y="4366"/>
                    </a:cubicBezTo>
                    <a:cubicBezTo>
                      <a:pt x="3522" y="4378"/>
                      <a:pt x="3526" y="4389"/>
                      <a:pt x="3535" y="4398"/>
                    </a:cubicBezTo>
                    <a:lnTo>
                      <a:pt x="3712" y="4575"/>
                    </a:lnTo>
                    <a:cubicBezTo>
                      <a:pt x="3729" y="4592"/>
                      <a:pt x="3729" y="4620"/>
                      <a:pt x="3712" y="4638"/>
                    </a:cubicBezTo>
                    <a:lnTo>
                      <a:pt x="3673" y="4677"/>
                    </a:lnTo>
                    <a:lnTo>
                      <a:pt x="3951" y="4751"/>
                    </a:lnTo>
                    <a:lnTo>
                      <a:pt x="3951" y="4751"/>
                    </a:lnTo>
                    <a:close/>
                    <a:moveTo>
                      <a:pt x="4057" y="4803"/>
                    </a:moveTo>
                    <a:lnTo>
                      <a:pt x="4057" y="4803"/>
                    </a:lnTo>
                    <a:cubicBezTo>
                      <a:pt x="4061" y="4818"/>
                      <a:pt x="4057" y="4834"/>
                      <a:pt x="4045" y="4846"/>
                    </a:cubicBezTo>
                    <a:cubicBezTo>
                      <a:pt x="4037" y="4854"/>
                      <a:pt x="4026" y="4859"/>
                      <a:pt x="4014" y="4859"/>
                    </a:cubicBezTo>
                    <a:cubicBezTo>
                      <a:pt x="4010" y="4859"/>
                      <a:pt x="4006" y="4858"/>
                      <a:pt x="4003" y="4857"/>
                    </a:cubicBezTo>
                    <a:lnTo>
                      <a:pt x="3576" y="4743"/>
                    </a:lnTo>
                    <a:cubicBezTo>
                      <a:pt x="3560" y="4738"/>
                      <a:pt x="3548" y="4727"/>
                      <a:pt x="3544" y="4711"/>
                    </a:cubicBezTo>
                    <a:cubicBezTo>
                      <a:pt x="3540" y="4696"/>
                      <a:pt x="3544" y="4680"/>
                      <a:pt x="3556" y="4668"/>
                    </a:cubicBezTo>
                    <a:lnTo>
                      <a:pt x="3618" y="4606"/>
                    </a:lnTo>
                    <a:lnTo>
                      <a:pt x="3472" y="4460"/>
                    </a:lnTo>
                    <a:cubicBezTo>
                      <a:pt x="3447" y="4435"/>
                      <a:pt x="3433" y="4402"/>
                      <a:pt x="3433" y="4366"/>
                    </a:cubicBezTo>
                    <a:cubicBezTo>
                      <a:pt x="3433" y="4331"/>
                      <a:pt x="3447" y="4297"/>
                      <a:pt x="3472" y="4272"/>
                    </a:cubicBezTo>
                    <a:cubicBezTo>
                      <a:pt x="3524" y="4220"/>
                      <a:pt x="3608" y="4220"/>
                      <a:pt x="3660" y="4272"/>
                    </a:cubicBezTo>
                    <a:lnTo>
                      <a:pt x="3806" y="4418"/>
                    </a:lnTo>
                    <a:lnTo>
                      <a:pt x="3868" y="4356"/>
                    </a:lnTo>
                    <a:cubicBezTo>
                      <a:pt x="3880" y="4345"/>
                      <a:pt x="3896" y="4340"/>
                      <a:pt x="3911" y="4344"/>
                    </a:cubicBezTo>
                    <a:cubicBezTo>
                      <a:pt x="3926" y="4348"/>
                      <a:pt x="3938" y="4360"/>
                      <a:pt x="3943" y="4376"/>
                    </a:cubicBezTo>
                    <a:lnTo>
                      <a:pt x="4057" y="4803"/>
                    </a:lnTo>
                    <a:lnTo>
                      <a:pt x="4057" y="4803"/>
                    </a:lnTo>
                    <a:close/>
                    <a:moveTo>
                      <a:pt x="4382" y="3783"/>
                    </a:moveTo>
                    <a:lnTo>
                      <a:pt x="4382" y="3783"/>
                    </a:lnTo>
                    <a:lnTo>
                      <a:pt x="4132" y="3639"/>
                    </a:lnTo>
                    <a:lnTo>
                      <a:pt x="4132" y="3694"/>
                    </a:lnTo>
                    <a:cubicBezTo>
                      <a:pt x="4132" y="3719"/>
                      <a:pt x="4112" y="3738"/>
                      <a:pt x="4088" y="3738"/>
                    </a:cubicBezTo>
                    <a:lnTo>
                      <a:pt x="3837" y="3738"/>
                    </a:lnTo>
                    <a:cubicBezTo>
                      <a:pt x="3813" y="3738"/>
                      <a:pt x="3793" y="3758"/>
                      <a:pt x="3793" y="3783"/>
                    </a:cubicBezTo>
                    <a:cubicBezTo>
                      <a:pt x="3793" y="3807"/>
                      <a:pt x="3813" y="3827"/>
                      <a:pt x="3837" y="3827"/>
                    </a:cubicBezTo>
                    <a:lnTo>
                      <a:pt x="4088" y="3827"/>
                    </a:lnTo>
                    <a:cubicBezTo>
                      <a:pt x="4112" y="3827"/>
                      <a:pt x="4132" y="3847"/>
                      <a:pt x="4132" y="3871"/>
                    </a:cubicBezTo>
                    <a:lnTo>
                      <a:pt x="4132" y="3927"/>
                    </a:lnTo>
                    <a:lnTo>
                      <a:pt x="4382" y="3783"/>
                    </a:lnTo>
                    <a:lnTo>
                      <a:pt x="4382" y="3783"/>
                    </a:lnTo>
                    <a:close/>
                    <a:moveTo>
                      <a:pt x="4515" y="3783"/>
                    </a:moveTo>
                    <a:lnTo>
                      <a:pt x="4515" y="3783"/>
                    </a:lnTo>
                    <a:cubicBezTo>
                      <a:pt x="4515" y="3799"/>
                      <a:pt x="4506" y="3813"/>
                      <a:pt x="4493" y="3821"/>
                    </a:cubicBezTo>
                    <a:lnTo>
                      <a:pt x="4110" y="4042"/>
                    </a:lnTo>
                    <a:cubicBezTo>
                      <a:pt x="4103" y="4046"/>
                      <a:pt x="4095" y="4048"/>
                      <a:pt x="4088" y="4048"/>
                    </a:cubicBezTo>
                    <a:cubicBezTo>
                      <a:pt x="4080" y="4048"/>
                      <a:pt x="4072" y="4046"/>
                      <a:pt x="4065" y="4042"/>
                    </a:cubicBezTo>
                    <a:cubicBezTo>
                      <a:pt x="4052" y="4034"/>
                      <a:pt x="4043" y="4020"/>
                      <a:pt x="4043" y="4004"/>
                    </a:cubicBezTo>
                    <a:lnTo>
                      <a:pt x="4043" y="3916"/>
                    </a:lnTo>
                    <a:lnTo>
                      <a:pt x="3837" y="3916"/>
                    </a:lnTo>
                    <a:cubicBezTo>
                      <a:pt x="3764" y="3916"/>
                      <a:pt x="3704" y="3856"/>
                      <a:pt x="3704" y="3783"/>
                    </a:cubicBezTo>
                    <a:cubicBezTo>
                      <a:pt x="3704" y="3709"/>
                      <a:pt x="3764" y="3650"/>
                      <a:pt x="3837" y="3650"/>
                    </a:cubicBezTo>
                    <a:lnTo>
                      <a:pt x="4043" y="3650"/>
                    </a:lnTo>
                    <a:lnTo>
                      <a:pt x="4043" y="3562"/>
                    </a:lnTo>
                    <a:cubicBezTo>
                      <a:pt x="4043" y="3546"/>
                      <a:pt x="4052" y="3531"/>
                      <a:pt x="4065" y="3523"/>
                    </a:cubicBezTo>
                    <a:cubicBezTo>
                      <a:pt x="4079" y="3515"/>
                      <a:pt x="4096" y="3515"/>
                      <a:pt x="4110" y="3523"/>
                    </a:cubicBezTo>
                    <a:lnTo>
                      <a:pt x="4493" y="3744"/>
                    </a:lnTo>
                    <a:cubicBezTo>
                      <a:pt x="4506" y="3752"/>
                      <a:pt x="4515" y="3767"/>
                      <a:pt x="4515" y="3783"/>
                    </a:cubicBezTo>
                    <a:lnTo>
                      <a:pt x="4515" y="3783"/>
                    </a:lnTo>
                    <a:close/>
                    <a:moveTo>
                      <a:pt x="3555" y="3244"/>
                    </a:moveTo>
                    <a:lnTo>
                      <a:pt x="3555" y="3244"/>
                    </a:lnTo>
                    <a:cubicBezTo>
                      <a:pt x="3572" y="3262"/>
                      <a:pt x="3601" y="3262"/>
                      <a:pt x="3618" y="3244"/>
                    </a:cubicBezTo>
                    <a:lnTo>
                      <a:pt x="3795" y="3067"/>
                    </a:lnTo>
                    <a:cubicBezTo>
                      <a:pt x="3812" y="3050"/>
                      <a:pt x="3840" y="3050"/>
                      <a:pt x="3858" y="3067"/>
                    </a:cubicBezTo>
                    <a:lnTo>
                      <a:pt x="3897" y="3106"/>
                    </a:lnTo>
                    <a:lnTo>
                      <a:pt x="3972" y="2828"/>
                    </a:lnTo>
                    <a:lnTo>
                      <a:pt x="3693" y="2902"/>
                    </a:lnTo>
                    <a:lnTo>
                      <a:pt x="3732" y="2942"/>
                    </a:lnTo>
                    <a:cubicBezTo>
                      <a:pt x="3741" y="2950"/>
                      <a:pt x="3745" y="2961"/>
                      <a:pt x="3745" y="2973"/>
                    </a:cubicBezTo>
                    <a:cubicBezTo>
                      <a:pt x="3745" y="2985"/>
                      <a:pt x="3741" y="2996"/>
                      <a:pt x="3732" y="3004"/>
                    </a:cubicBezTo>
                    <a:lnTo>
                      <a:pt x="3555" y="3182"/>
                    </a:lnTo>
                    <a:cubicBezTo>
                      <a:pt x="3538" y="3199"/>
                      <a:pt x="3538" y="3227"/>
                      <a:pt x="3555" y="3244"/>
                    </a:cubicBezTo>
                    <a:lnTo>
                      <a:pt x="3555" y="3244"/>
                    </a:lnTo>
                    <a:close/>
                    <a:moveTo>
                      <a:pt x="3492" y="3307"/>
                    </a:moveTo>
                    <a:lnTo>
                      <a:pt x="3492" y="3307"/>
                    </a:lnTo>
                    <a:cubicBezTo>
                      <a:pt x="3441" y="3255"/>
                      <a:pt x="3441" y="3171"/>
                      <a:pt x="3492" y="3119"/>
                    </a:cubicBezTo>
                    <a:lnTo>
                      <a:pt x="3638" y="2973"/>
                    </a:lnTo>
                    <a:lnTo>
                      <a:pt x="3576" y="2911"/>
                    </a:lnTo>
                    <a:cubicBezTo>
                      <a:pt x="3565" y="2900"/>
                      <a:pt x="3560" y="2883"/>
                      <a:pt x="3565" y="2868"/>
                    </a:cubicBezTo>
                    <a:cubicBezTo>
                      <a:pt x="3569" y="2853"/>
                      <a:pt x="3581" y="2841"/>
                      <a:pt x="3596" y="2837"/>
                    </a:cubicBezTo>
                    <a:lnTo>
                      <a:pt x="4023" y="2722"/>
                    </a:lnTo>
                    <a:cubicBezTo>
                      <a:pt x="4038" y="2718"/>
                      <a:pt x="4054" y="2723"/>
                      <a:pt x="4066" y="2734"/>
                    </a:cubicBezTo>
                    <a:cubicBezTo>
                      <a:pt x="4077" y="2745"/>
                      <a:pt x="4081" y="2761"/>
                      <a:pt x="4077" y="2777"/>
                    </a:cubicBezTo>
                    <a:lnTo>
                      <a:pt x="3963" y="3204"/>
                    </a:lnTo>
                    <a:cubicBezTo>
                      <a:pt x="3959" y="3219"/>
                      <a:pt x="3947" y="3231"/>
                      <a:pt x="3931" y="3235"/>
                    </a:cubicBezTo>
                    <a:cubicBezTo>
                      <a:pt x="3916" y="3239"/>
                      <a:pt x="3900" y="3235"/>
                      <a:pt x="3889" y="3223"/>
                    </a:cubicBezTo>
                    <a:lnTo>
                      <a:pt x="3826" y="3161"/>
                    </a:lnTo>
                    <a:lnTo>
                      <a:pt x="3681" y="3307"/>
                    </a:lnTo>
                    <a:cubicBezTo>
                      <a:pt x="3655" y="3333"/>
                      <a:pt x="3621" y="3346"/>
                      <a:pt x="3586" y="3346"/>
                    </a:cubicBezTo>
                    <a:cubicBezTo>
                      <a:pt x="3552" y="3346"/>
                      <a:pt x="3518" y="3333"/>
                      <a:pt x="3492" y="3307"/>
                    </a:cubicBezTo>
                    <a:lnTo>
                      <a:pt x="3492" y="3307"/>
                    </a:lnTo>
                    <a:close/>
                    <a:moveTo>
                      <a:pt x="3454" y="4076"/>
                    </a:moveTo>
                    <a:lnTo>
                      <a:pt x="3454" y="4076"/>
                    </a:lnTo>
                    <a:cubicBezTo>
                      <a:pt x="3533" y="3950"/>
                      <a:pt x="3557" y="3801"/>
                      <a:pt x="3524" y="3657"/>
                    </a:cubicBezTo>
                    <a:cubicBezTo>
                      <a:pt x="3490" y="3512"/>
                      <a:pt x="3402" y="3390"/>
                      <a:pt x="3276" y="3311"/>
                    </a:cubicBezTo>
                    <a:cubicBezTo>
                      <a:pt x="3016" y="3149"/>
                      <a:pt x="2673" y="3229"/>
                      <a:pt x="2511" y="3489"/>
                    </a:cubicBezTo>
                    <a:lnTo>
                      <a:pt x="2511" y="3489"/>
                    </a:lnTo>
                    <a:cubicBezTo>
                      <a:pt x="2349" y="3749"/>
                      <a:pt x="2429" y="4093"/>
                      <a:pt x="2689" y="4254"/>
                    </a:cubicBezTo>
                    <a:cubicBezTo>
                      <a:pt x="2815" y="4333"/>
                      <a:pt x="2964" y="4358"/>
                      <a:pt x="3109" y="4324"/>
                    </a:cubicBezTo>
                    <a:cubicBezTo>
                      <a:pt x="3253" y="4290"/>
                      <a:pt x="3376" y="4202"/>
                      <a:pt x="3454" y="4076"/>
                    </a:cubicBezTo>
                    <a:lnTo>
                      <a:pt x="3454" y="4076"/>
                    </a:lnTo>
                    <a:close/>
                    <a:moveTo>
                      <a:pt x="3133" y="4427"/>
                    </a:moveTo>
                    <a:lnTo>
                      <a:pt x="3133" y="4427"/>
                    </a:lnTo>
                    <a:cubicBezTo>
                      <a:pt x="3082" y="4439"/>
                      <a:pt x="3032" y="4445"/>
                      <a:pt x="2981" y="4445"/>
                    </a:cubicBezTo>
                    <a:cubicBezTo>
                      <a:pt x="2859" y="4445"/>
                      <a:pt x="2739" y="4411"/>
                      <a:pt x="2633" y="4345"/>
                    </a:cubicBezTo>
                    <a:cubicBezTo>
                      <a:pt x="2323" y="4152"/>
                      <a:pt x="2228" y="3743"/>
                      <a:pt x="2421" y="3433"/>
                    </a:cubicBezTo>
                    <a:cubicBezTo>
                      <a:pt x="2421" y="3433"/>
                      <a:pt x="2421" y="3433"/>
                      <a:pt x="2421" y="3433"/>
                    </a:cubicBezTo>
                    <a:cubicBezTo>
                      <a:pt x="2614" y="3123"/>
                      <a:pt x="3023" y="3028"/>
                      <a:pt x="3333" y="3221"/>
                    </a:cubicBezTo>
                    <a:cubicBezTo>
                      <a:pt x="3483" y="3314"/>
                      <a:pt x="3587" y="3461"/>
                      <a:pt x="3627" y="3633"/>
                    </a:cubicBezTo>
                    <a:cubicBezTo>
                      <a:pt x="3667" y="3805"/>
                      <a:pt x="3638" y="3983"/>
                      <a:pt x="3545" y="4133"/>
                    </a:cubicBezTo>
                    <a:cubicBezTo>
                      <a:pt x="3451" y="4283"/>
                      <a:pt x="3305" y="4387"/>
                      <a:pt x="3133" y="4427"/>
                    </a:cubicBezTo>
                    <a:lnTo>
                      <a:pt x="3133" y="4427"/>
                    </a:lnTo>
                    <a:close/>
                    <a:moveTo>
                      <a:pt x="3044" y="3526"/>
                    </a:moveTo>
                    <a:lnTo>
                      <a:pt x="3044" y="3526"/>
                    </a:lnTo>
                    <a:lnTo>
                      <a:pt x="2921" y="3526"/>
                    </a:lnTo>
                    <a:cubicBezTo>
                      <a:pt x="2911" y="3526"/>
                      <a:pt x="2902" y="3534"/>
                      <a:pt x="2902" y="3545"/>
                    </a:cubicBezTo>
                    <a:lnTo>
                      <a:pt x="2902" y="4143"/>
                    </a:lnTo>
                    <a:cubicBezTo>
                      <a:pt x="2902" y="4153"/>
                      <a:pt x="2911" y="4162"/>
                      <a:pt x="2921" y="4162"/>
                    </a:cubicBezTo>
                    <a:lnTo>
                      <a:pt x="3044" y="4162"/>
                    </a:lnTo>
                    <a:cubicBezTo>
                      <a:pt x="3054" y="4162"/>
                      <a:pt x="3063" y="4153"/>
                      <a:pt x="3063" y="4143"/>
                    </a:cubicBezTo>
                    <a:lnTo>
                      <a:pt x="3063" y="3545"/>
                    </a:lnTo>
                    <a:cubicBezTo>
                      <a:pt x="3063" y="3534"/>
                      <a:pt x="3054" y="3526"/>
                      <a:pt x="3044" y="3526"/>
                    </a:cubicBezTo>
                    <a:lnTo>
                      <a:pt x="3044" y="3526"/>
                    </a:lnTo>
                    <a:close/>
                    <a:moveTo>
                      <a:pt x="3285" y="3404"/>
                    </a:moveTo>
                    <a:lnTo>
                      <a:pt x="3285" y="3404"/>
                    </a:lnTo>
                    <a:lnTo>
                      <a:pt x="3162" y="3404"/>
                    </a:lnTo>
                    <a:cubicBezTo>
                      <a:pt x="3152" y="3404"/>
                      <a:pt x="3143" y="3412"/>
                      <a:pt x="3143" y="3423"/>
                    </a:cubicBezTo>
                    <a:lnTo>
                      <a:pt x="3143" y="4143"/>
                    </a:lnTo>
                    <a:cubicBezTo>
                      <a:pt x="3143" y="4153"/>
                      <a:pt x="3152" y="4162"/>
                      <a:pt x="3162" y="4162"/>
                    </a:cubicBezTo>
                    <a:lnTo>
                      <a:pt x="3285" y="4162"/>
                    </a:lnTo>
                    <a:cubicBezTo>
                      <a:pt x="3295" y="4162"/>
                      <a:pt x="3304" y="4153"/>
                      <a:pt x="3304" y="4143"/>
                    </a:cubicBezTo>
                    <a:lnTo>
                      <a:pt x="3304" y="3423"/>
                    </a:lnTo>
                    <a:cubicBezTo>
                      <a:pt x="3304" y="3412"/>
                      <a:pt x="3295" y="3404"/>
                      <a:pt x="3285" y="3404"/>
                    </a:cubicBezTo>
                    <a:lnTo>
                      <a:pt x="3285" y="3404"/>
                    </a:lnTo>
                    <a:close/>
                    <a:moveTo>
                      <a:pt x="2822" y="3688"/>
                    </a:moveTo>
                    <a:lnTo>
                      <a:pt x="2822" y="3688"/>
                    </a:lnTo>
                    <a:lnTo>
                      <a:pt x="2822" y="4143"/>
                    </a:lnTo>
                    <a:cubicBezTo>
                      <a:pt x="2822" y="4153"/>
                      <a:pt x="2813" y="4162"/>
                      <a:pt x="2803" y="4162"/>
                    </a:cubicBezTo>
                    <a:lnTo>
                      <a:pt x="2681" y="4162"/>
                    </a:lnTo>
                    <a:cubicBezTo>
                      <a:pt x="2670" y="4162"/>
                      <a:pt x="2662" y="4153"/>
                      <a:pt x="2662" y="4143"/>
                    </a:cubicBezTo>
                    <a:lnTo>
                      <a:pt x="2662" y="3688"/>
                    </a:lnTo>
                    <a:cubicBezTo>
                      <a:pt x="2662" y="3677"/>
                      <a:pt x="2670" y="3669"/>
                      <a:pt x="2681" y="3669"/>
                    </a:cubicBezTo>
                    <a:lnTo>
                      <a:pt x="2803" y="3669"/>
                    </a:lnTo>
                    <a:cubicBezTo>
                      <a:pt x="2813" y="3669"/>
                      <a:pt x="2822" y="3677"/>
                      <a:pt x="2822" y="3688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C3CA4E-466D-4D31-BCA8-1577C7576EAE}"/>
              </a:ext>
            </a:extLst>
          </p:cNvPr>
          <p:cNvGrpSpPr/>
          <p:nvPr/>
        </p:nvGrpSpPr>
        <p:grpSpPr>
          <a:xfrm>
            <a:off x="3292623" y="1328859"/>
            <a:ext cx="1975531" cy="3511807"/>
            <a:chOff x="749194" y="1328859"/>
            <a:chExt cx="1975531" cy="3511807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21759A4-DFD7-40D4-8228-CFDE934629DF}"/>
                </a:ext>
              </a:extLst>
            </p:cNvPr>
            <p:cNvGrpSpPr/>
            <p:nvPr/>
          </p:nvGrpSpPr>
          <p:grpSpPr>
            <a:xfrm>
              <a:off x="779661" y="2569098"/>
              <a:ext cx="1945064" cy="2271568"/>
              <a:chOff x="434891" y="1981914"/>
              <a:chExt cx="1945064" cy="2670208"/>
            </a:xfrm>
          </p:grpSpPr>
          <p:sp>
            <p:nvSpPr>
              <p:cNvPr id="31" name="Title 1">
                <a:extLst>
                  <a:ext uri="{FF2B5EF4-FFF2-40B4-BE49-F238E27FC236}">
                    <a16:creationId xmlns:a16="http://schemas.microsoft.com/office/drawing/2014/main" id="{5CAFDFBF-F151-4C30-B366-50BC4FE9ACA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25463" y="1981914"/>
                <a:ext cx="1854492" cy="609398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spAutoFit/>
              </a:bodyPr>
              <a:lstStyle>
                <a:lvl1pPr algn="ctr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bg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da-DK" sz="4400">
                    <a:solidFill>
                      <a:srgbClr val="2AD1D1">
                        <a:alpha val="90000"/>
                      </a:srgbClr>
                    </a:solidFill>
                  </a:rPr>
                  <a:t>80%</a:t>
                </a:r>
              </a:p>
            </p:txBody>
          </p:sp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C01B8902-32E8-48AF-93F9-E7FC6AB6E983}"/>
                  </a:ext>
                </a:extLst>
              </p:cNvPr>
              <p:cNvSpPr/>
              <p:nvPr/>
            </p:nvSpPr>
            <p:spPr>
              <a:xfrm>
                <a:off x="434891" y="2424609"/>
                <a:ext cx="1854493" cy="2227513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80000" rIns="144000" bIns="108000" rtlCol="0" anchor="t"/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</a:pPr>
                <a:r>
                  <a:rPr lang="en-GB" sz="1400" b="1">
                    <a:solidFill>
                      <a:srgbClr val="2AD1D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…</a:t>
                </a:r>
                <a:r>
                  <a:rPr lang="en-GB" sz="1400"/>
                  <a:t>of people feel the customer experience has improved during the pandemic.</a:t>
                </a:r>
              </a:p>
            </p:txBody>
          </p:sp>
        </p:grp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04AD17B5-5ED1-434D-AFEF-FEE1280C5C65}"/>
                </a:ext>
              </a:extLst>
            </p:cNvPr>
            <p:cNvSpPr/>
            <p:nvPr/>
          </p:nvSpPr>
          <p:spPr>
            <a:xfrm>
              <a:off x="749194" y="2297889"/>
              <a:ext cx="1915428" cy="2271568"/>
            </a:xfrm>
            <a:prstGeom prst="roundRect">
              <a:avLst>
                <a:gd name="adj" fmla="val 6894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E9D47B4-8931-4FB9-AC21-426351907C3A}"/>
                </a:ext>
              </a:extLst>
            </p:cNvPr>
            <p:cNvGrpSpPr/>
            <p:nvPr/>
          </p:nvGrpSpPr>
          <p:grpSpPr>
            <a:xfrm>
              <a:off x="1126398" y="1328859"/>
              <a:ext cx="1172625" cy="1172625"/>
              <a:chOff x="2174904" y="3582945"/>
              <a:chExt cx="1172625" cy="1172625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EEAEDDE0-1AB9-43B1-837F-B050D4EB0D90}"/>
                  </a:ext>
                </a:extLst>
              </p:cNvPr>
              <p:cNvSpPr/>
              <p:nvPr/>
            </p:nvSpPr>
            <p:spPr>
              <a:xfrm>
                <a:off x="2174904" y="3582945"/>
                <a:ext cx="1172625" cy="1172625"/>
              </a:xfrm>
              <a:prstGeom prst="ellipse">
                <a:avLst/>
              </a:prstGeom>
              <a:gradFill>
                <a:gsLst>
                  <a:gs pos="100000">
                    <a:srgbClr val="881D80"/>
                  </a:gs>
                  <a:gs pos="0">
                    <a:srgbClr val="36277F"/>
                  </a:gs>
                </a:gsLst>
                <a:lin ang="126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2800" b="1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endParaRPr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77E53CEC-D88A-4F32-BE36-D3740812EF0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387495" y="3762321"/>
                <a:ext cx="691725" cy="743154"/>
              </a:xfrm>
              <a:custGeom>
                <a:avLst/>
                <a:gdLst>
                  <a:gd name="T0" fmla="*/ 4335 w 4470"/>
                  <a:gd name="T1" fmla="*/ 3016 h 4806"/>
                  <a:gd name="T2" fmla="*/ 3965 w 4470"/>
                  <a:gd name="T3" fmla="*/ 3297 h 4806"/>
                  <a:gd name="T4" fmla="*/ 3940 w 4470"/>
                  <a:gd name="T5" fmla="*/ 3426 h 4806"/>
                  <a:gd name="T6" fmla="*/ 3946 w 4470"/>
                  <a:gd name="T7" fmla="*/ 3924 h 4806"/>
                  <a:gd name="T8" fmla="*/ 3922 w 4470"/>
                  <a:gd name="T9" fmla="*/ 4029 h 4806"/>
                  <a:gd name="T10" fmla="*/ 3705 w 4470"/>
                  <a:gd name="T11" fmla="*/ 4493 h 4806"/>
                  <a:gd name="T12" fmla="*/ 2602 w 4470"/>
                  <a:gd name="T13" fmla="*/ 4671 h 4806"/>
                  <a:gd name="T14" fmla="*/ 1203 w 4470"/>
                  <a:gd name="T15" fmla="*/ 4398 h 4806"/>
                  <a:gd name="T16" fmla="*/ 1199 w 4470"/>
                  <a:gd name="T17" fmla="*/ 2637 h 4806"/>
                  <a:gd name="T18" fmla="*/ 1984 w 4470"/>
                  <a:gd name="T19" fmla="*/ 1402 h 4806"/>
                  <a:gd name="T20" fmla="*/ 2469 w 4470"/>
                  <a:gd name="T21" fmla="*/ 747 h 4806"/>
                  <a:gd name="T22" fmla="*/ 2810 w 4470"/>
                  <a:gd name="T23" fmla="*/ 202 h 4806"/>
                  <a:gd name="T24" fmla="*/ 2768 w 4470"/>
                  <a:gd name="T25" fmla="*/ 1393 h 4806"/>
                  <a:gd name="T26" fmla="*/ 2564 w 4470"/>
                  <a:gd name="T27" fmla="*/ 1810 h 4806"/>
                  <a:gd name="T28" fmla="*/ 3928 w 4470"/>
                  <a:gd name="T29" fmla="*/ 1988 h 4806"/>
                  <a:gd name="T30" fmla="*/ 4063 w 4470"/>
                  <a:gd name="T31" fmla="*/ 2589 h 4806"/>
                  <a:gd name="T32" fmla="*/ 4085 w 4470"/>
                  <a:gd name="T33" fmla="*/ 2716 h 4806"/>
                  <a:gd name="T34" fmla="*/ 4335 w 4470"/>
                  <a:gd name="T35" fmla="*/ 3016 h 4806"/>
                  <a:gd name="T36" fmla="*/ 895 w 4470"/>
                  <a:gd name="T37" fmla="*/ 4578 h 4806"/>
                  <a:gd name="T38" fmla="*/ 307 w 4470"/>
                  <a:gd name="T39" fmla="*/ 4578 h 4806"/>
                  <a:gd name="T40" fmla="*/ 134 w 4470"/>
                  <a:gd name="T41" fmla="*/ 2674 h 4806"/>
                  <a:gd name="T42" fmla="*/ 895 w 4470"/>
                  <a:gd name="T43" fmla="*/ 2501 h 4806"/>
                  <a:gd name="T44" fmla="*/ 1068 w 4470"/>
                  <a:gd name="T45" fmla="*/ 4405 h 4806"/>
                  <a:gd name="T46" fmla="*/ 895 w 4470"/>
                  <a:gd name="T47" fmla="*/ 4578 h 4806"/>
                  <a:gd name="T48" fmla="*/ 4243 w 4470"/>
                  <a:gd name="T49" fmla="*/ 2625 h 4806"/>
                  <a:gd name="T50" fmla="*/ 3926 w 4470"/>
                  <a:gd name="T51" fmla="*/ 1854 h 4806"/>
                  <a:gd name="T52" fmla="*/ 2752 w 4470"/>
                  <a:gd name="T53" fmla="*/ 1851 h 4806"/>
                  <a:gd name="T54" fmla="*/ 2825 w 4470"/>
                  <a:gd name="T55" fmla="*/ 1541 h 4806"/>
                  <a:gd name="T56" fmla="*/ 3137 w 4470"/>
                  <a:gd name="T57" fmla="*/ 743 h 4806"/>
                  <a:gd name="T58" fmla="*/ 2662 w 4470"/>
                  <a:gd name="T59" fmla="*/ 7 h 4806"/>
                  <a:gd name="T60" fmla="*/ 1976 w 4470"/>
                  <a:gd name="T61" fmla="*/ 1230 h 4806"/>
                  <a:gd name="T62" fmla="*/ 1485 w 4470"/>
                  <a:gd name="T63" fmla="*/ 2113 h 4806"/>
                  <a:gd name="T64" fmla="*/ 895 w 4470"/>
                  <a:gd name="T65" fmla="*/ 2366 h 4806"/>
                  <a:gd name="T66" fmla="*/ 0 w 4470"/>
                  <a:gd name="T67" fmla="*/ 2674 h 4806"/>
                  <a:gd name="T68" fmla="*/ 307 w 4470"/>
                  <a:gd name="T69" fmla="*/ 4713 h 4806"/>
                  <a:gd name="T70" fmla="*/ 1174 w 4470"/>
                  <a:gd name="T71" fmla="*/ 4534 h 4806"/>
                  <a:gd name="T72" fmla="*/ 2603 w 4470"/>
                  <a:gd name="T73" fmla="*/ 4806 h 4806"/>
                  <a:gd name="T74" fmla="*/ 3725 w 4470"/>
                  <a:gd name="T75" fmla="*/ 4626 h 4806"/>
                  <a:gd name="T76" fmla="*/ 4070 w 4470"/>
                  <a:gd name="T77" fmla="*/ 4007 h 4806"/>
                  <a:gd name="T78" fmla="*/ 4152 w 4470"/>
                  <a:gd name="T79" fmla="*/ 3420 h 4806"/>
                  <a:gd name="T80" fmla="*/ 4470 w 4470"/>
                  <a:gd name="T81" fmla="*/ 2995 h 4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470" h="4806">
                    <a:moveTo>
                      <a:pt x="4335" y="3016"/>
                    </a:moveTo>
                    <a:lnTo>
                      <a:pt x="4335" y="3016"/>
                    </a:lnTo>
                    <a:cubicBezTo>
                      <a:pt x="4335" y="3171"/>
                      <a:pt x="4210" y="3297"/>
                      <a:pt x="4055" y="3297"/>
                    </a:cubicBezTo>
                    <a:lnTo>
                      <a:pt x="3965" y="3297"/>
                    </a:lnTo>
                    <a:cubicBezTo>
                      <a:pt x="3933" y="3297"/>
                      <a:pt x="3905" y="3319"/>
                      <a:pt x="3899" y="3351"/>
                    </a:cubicBezTo>
                    <a:cubicBezTo>
                      <a:pt x="3893" y="3383"/>
                      <a:pt x="3910" y="3414"/>
                      <a:pt x="3940" y="3426"/>
                    </a:cubicBezTo>
                    <a:cubicBezTo>
                      <a:pt x="4043" y="3468"/>
                      <a:pt x="4109" y="3566"/>
                      <a:pt x="4109" y="3676"/>
                    </a:cubicBezTo>
                    <a:cubicBezTo>
                      <a:pt x="4109" y="3783"/>
                      <a:pt x="4045" y="3881"/>
                      <a:pt x="3946" y="3924"/>
                    </a:cubicBezTo>
                    <a:cubicBezTo>
                      <a:pt x="3926" y="3932"/>
                      <a:pt x="3912" y="3949"/>
                      <a:pt x="3907" y="3970"/>
                    </a:cubicBezTo>
                    <a:cubicBezTo>
                      <a:pt x="3902" y="3991"/>
                      <a:pt x="3908" y="4013"/>
                      <a:pt x="3922" y="4029"/>
                    </a:cubicBezTo>
                    <a:cubicBezTo>
                      <a:pt x="3965" y="4079"/>
                      <a:pt x="3989" y="4142"/>
                      <a:pt x="3989" y="4208"/>
                    </a:cubicBezTo>
                    <a:cubicBezTo>
                      <a:pt x="3994" y="4363"/>
                      <a:pt x="3885" y="4475"/>
                      <a:pt x="3705" y="4493"/>
                    </a:cubicBezTo>
                    <a:cubicBezTo>
                      <a:pt x="3696" y="4495"/>
                      <a:pt x="2812" y="4665"/>
                      <a:pt x="2610" y="4671"/>
                    </a:cubicBezTo>
                    <a:cubicBezTo>
                      <a:pt x="2607" y="4671"/>
                      <a:pt x="2605" y="4671"/>
                      <a:pt x="2602" y="4671"/>
                    </a:cubicBezTo>
                    <a:cubicBezTo>
                      <a:pt x="2427" y="4671"/>
                      <a:pt x="1867" y="4532"/>
                      <a:pt x="1665" y="4478"/>
                    </a:cubicBezTo>
                    <a:cubicBezTo>
                      <a:pt x="1632" y="4469"/>
                      <a:pt x="1383" y="4396"/>
                      <a:pt x="1203" y="4398"/>
                    </a:cubicBezTo>
                    <a:lnTo>
                      <a:pt x="1203" y="2674"/>
                    </a:lnTo>
                    <a:cubicBezTo>
                      <a:pt x="1203" y="2662"/>
                      <a:pt x="1201" y="2650"/>
                      <a:pt x="1199" y="2637"/>
                    </a:cubicBezTo>
                    <a:cubicBezTo>
                      <a:pt x="1277" y="2595"/>
                      <a:pt x="1533" y="2438"/>
                      <a:pt x="1614" y="2149"/>
                    </a:cubicBezTo>
                    <a:cubicBezTo>
                      <a:pt x="1720" y="1771"/>
                      <a:pt x="1837" y="1534"/>
                      <a:pt x="1984" y="1402"/>
                    </a:cubicBezTo>
                    <a:cubicBezTo>
                      <a:pt x="2009" y="1379"/>
                      <a:pt x="2036" y="1356"/>
                      <a:pt x="2064" y="1332"/>
                    </a:cubicBezTo>
                    <a:cubicBezTo>
                      <a:pt x="2243" y="1177"/>
                      <a:pt x="2445" y="1002"/>
                      <a:pt x="2469" y="747"/>
                    </a:cubicBezTo>
                    <a:cubicBezTo>
                      <a:pt x="2487" y="554"/>
                      <a:pt x="2524" y="154"/>
                      <a:pt x="2674" y="140"/>
                    </a:cubicBezTo>
                    <a:cubicBezTo>
                      <a:pt x="2727" y="136"/>
                      <a:pt x="2777" y="171"/>
                      <a:pt x="2810" y="202"/>
                    </a:cubicBezTo>
                    <a:cubicBezTo>
                      <a:pt x="2929" y="315"/>
                      <a:pt x="3010" y="541"/>
                      <a:pt x="3002" y="738"/>
                    </a:cubicBezTo>
                    <a:cubicBezTo>
                      <a:pt x="2991" y="1045"/>
                      <a:pt x="2877" y="1241"/>
                      <a:pt x="2768" y="1393"/>
                    </a:cubicBezTo>
                    <a:cubicBezTo>
                      <a:pt x="2752" y="1415"/>
                      <a:pt x="2736" y="1437"/>
                      <a:pt x="2718" y="1459"/>
                    </a:cubicBezTo>
                    <a:cubicBezTo>
                      <a:pt x="2635" y="1566"/>
                      <a:pt x="2541" y="1688"/>
                      <a:pt x="2564" y="1810"/>
                    </a:cubicBezTo>
                    <a:cubicBezTo>
                      <a:pt x="2575" y="1872"/>
                      <a:pt x="2615" y="1925"/>
                      <a:pt x="2682" y="1966"/>
                    </a:cubicBezTo>
                    <a:cubicBezTo>
                      <a:pt x="2773" y="2021"/>
                      <a:pt x="3503" y="2004"/>
                      <a:pt x="3928" y="1988"/>
                    </a:cubicBezTo>
                    <a:cubicBezTo>
                      <a:pt x="4102" y="1988"/>
                      <a:pt x="4244" y="2130"/>
                      <a:pt x="4244" y="2304"/>
                    </a:cubicBezTo>
                    <a:cubicBezTo>
                      <a:pt x="4244" y="2424"/>
                      <a:pt x="4173" y="2536"/>
                      <a:pt x="4063" y="2589"/>
                    </a:cubicBezTo>
                    <a:cubicBezTo>
                      <a:pt x="4036" y="2602"/>
                      <a:pt x="4021" y="2631"/>
                      <a:pt x="4026" y="2661"/>
                    </a:cubicBezTo>
                    <a:cubicBezTo>
                      <a:pt x="4031" y="2690"/>
                      <a:pt x="4055" y="2713"/>
                      <a:pt x="4085" y="2716"/>
                    </a:cubicBezTo>
                    <a:cubicBezTo>
                      <a:pt x="4228" y="2731"/>
                      <a:pt x="4335" y="2851"/>
                      <a:pt x="4335" y="2995"/>
                    </a:cubicBezTo>
                    <a:lnTo>
                      <a:pt x="4335" y="3016"/>
                    </a:lnTo>
                    <a:lnTo>
                      <a:pt x="4335" y="3016"/>
                    </a:lnTo>
                    <a:close/>
                    <a:moveTo>
                      <a:pt x="895" y="4578"/>
                    </a:moveTo>
                    <a:lnTo>
                      <a:pt x="895" y="4578"/>
                    </a:lnTo>
                    <a:lnTo>
                      <a:pt x="307" y="4578"/>
                    </a:lnTo>
                    <a:cubicBezTo>
                      <a:pt x="212" y="4578"/>
                      <a:pt x="134" y="4500"/>
                      <a:pt x="134" y="4405"/>
                    </a:cubicBezTo>
                    <a:lnTo>
                      <a:pt x="134" y="2674"/>
                    </a:lnTo>
                    <a:cubicBezTo>
                      <a:pt x="134" y="2579"/>
                      <a:pt x="212" y="2501"/>
                      <a:pt x="307" y="2501"/>
                    </a:cubicBezTo>
                    <a:lnTo>
                      <a:pt x="895" y="2501"/>
                    </a:lnTo>
                    <a:cubicBezTo>
                      <a:pt x="991" y="2501"/>
                      <a:pt x="1068" y="2579"/>
                      <a:pt x="1068" y="2674"/>
                    </a:cubicBezTo>
                    <a:lnTo>
                      <a:pt x="1068" y="4405"/>
                    </a:lnTo>
                    <a:cubicBezTo>
                      <a:pt x="1068" y="4500"/>
                      <a:pt x="991" y="4578"/>
                      <a:pt x="895" y="4578"/>
                    </a:cubicBezTo>
                    <a:lnTo>
                      <a:pt x="895" y="4578"/>
                    </a:lnTo>
                    <a:close/>
                    <a:moveTo>
                      <a:pt x="4243" y="2625"/>
                    </a:moveTo>
                    <a:lnTo>
                      <a:pt x="4243" y="2625"/>
                    </a:lnTo>
                    <a:cubicBezTo>
                      <a:pt x="4328" y="2541"/>
                      <a:pt x="4379" y="2426"/>
                      <a:pt x="4379" y="2304"/>
                    </a:cubicBezTo>
                    <a:cubicBezTo>
                      <a:pt x="4379" y="2056"/>
                      <a:pt x="4177" y="1854"/>
                      <a:pt x="3926" y="1854"/>
                    </a:cubicBezTo>
                    <a:lnTo>
                      <a:pt x="3926" y="1854"/>
                    </a:lnTo>
                    <a:cubicBezTo>
                      <a:pt x="3403" y="1873"/>
                      <a:pt x="2820" y="1876"/>
                      <a:pt x="2752" y="1851"/>
                    </a:cubicBezTo>
                    <a:cubicBezTo>
                      <a:pt x="2702" y="1821"/>
                      <a:pt x="2698" y="1794"/>
                      <a:pt x="2696" y="1786"/>
                    </a:cubicBezTo>
                    <a:cubicBezTo>
                      <a:pt x="2684" y="1723"/>
                      <a:pt x="2762" y="1622"/>
                      <a:pt x="2825" y="1541"/>
                    </a:cubicBezTo>
                    <a:cubicBezTo>
                      <a:pt x="2843" y="1517"/>
                      <a:pt x="2861" y="1494"/>
                      <a:pt x="2877" y="1472"/>
                    </a:cubicBezTo>
                    <a:cubicBezTo>
                      <a:pt x="2991" y="1313"/>
                      <a:pt x="3124" y="1087"/>
                      <a:pt x="3137" y="743"/>
                    </a:cubicBezTo>
                    <a:cubicBezTo>
                      <a:pt x="3146" y="507"/>
                      <a:pt x="3049" y="244"/>
                      <a:pt x="2902" y="105"/>
                    </a:cubicBezTo>
                    <a:cubicBezTo>
                      <a:pt x="2827" y="33"/>
                      <a:pt x="2744" y="0"/>
                      <a:pt x="2662" y="7"/>
                    </a:cubicBezTo>
                    <a:cubicBezTo>
                      <a:pt x="2401" y="30"/>
                      <a:pt x="2361" y="454"/>
                      <a:pt x="2335" y="734"/>
                    </a:cubicBezTo>
                    <a:cubicBezTo>
                      <a:pt x="2317" y="936"/>
                      <a:pt x="2143" y="1086"/>
                      <a:pt x="1976" y="1230"/>
                    </a:cubicBezTo>
                    <a:cubicBezTo>
                      <a:pt x="1948" y="1255"/>
                      <a:pt x="1920" y="1279"/>
                      <a:pt x="1894" y="1302"/>
                    </a:cubicBezTo>
                    <a:cubicBezTo>
                      <a:pt x="1728" y="1452"/>
                      <a:pt x="1598" y="1709"/>
                      <a:pt x="1485" y="2113"/>
                    </a:cubicBezTo>
                    <a:cubicBezTo>
                      <a:pt x="1424" y="2330"/>
                      <a:pt x="1232" y="2462"/>
                      <a:pt x="1154" y="2508"/>
                    </a:cubicBezTo>
                    <a:cubicBezTo>
                      <a:pt x="1099" y="2423"/>
                      <a:pt x="1004" y="2366"/>
                      <a:pt x="895" y="2366"/>
                    </a:cubicBezTo>
                    <a:lnTo>
                      <a:pt x="307" y="2366"/>
                    </a:lnTo>
                    <a:cubicBezTo>
                      <a:pt x="138" y="2366"/>
                      <a:pt x="0" y="2504"/>
                      <a:pt x="0" y="2674"/>
                    </a:cubicBezTo>
                    <a:lnTo>
                      <a:pt x="0" y="4405"/>
                    </a:lnTo>
                    <a:cubicBezTo>
                      <a:pt x="0" y="4575"/>
                      <a:pt x="138" y="4713"/>
                      <a:pt x="307" y="4713"/>
                    </a:cubicBezTo>
                    <a:lnTo>
                      <a:pt x="895" y="4713"/>
                    </a:lnTo>
                    <a:cubicBezTo>
                      <a:pt x="1019" y="4713"/>
                      <a:pt x="1125" y="4639"/>
                      <a:pt x="1174" y="4534"/>
                    </a:cubicBezTo>
                    <a:cubicBezTo>
                      <a:pt x="1302" y="4521"/>
                      <a:pt x="1539" y="4581"/>
                      <a:pt x="1628" y="4608"/>
                    </a:cubicBezTo>
                    <a:cubicBezTo>
                      <a:pt x="1659" y="4616"/>
                      <a:pt x="2373" y="4806"/>
                      <a:pt x="2603" y="4806"/>
                    </a:cubicBezTo>
                    <a:cubicBezTo>
                      <a:pt x="2607" y="4806"/>
                      <a:pt x="2611" y="4805"/>
                      <a:pt x="2614" y="4805"/>
                    </a:cubicBezTo>
                    <a:cubicBezTo>
                      <a:pt x="2827" y="4799"/>
                      <a:pt x="3694" y="4632"/>
                      <a:pt x="3725" y="4626"/>
                    </a:cubicBezTo>
                    <a:cubicBezTo>
                      <a:pt x="3966" y="4602"/>
                      <a:pt x="4130" y="4428"/>
                      <a:pt x="4123" y="4206"/>
                    </a:cubicBezTo>
                    <a:cubicBezTo>
                      <a:pt x="4123" y="4136"/>
                      <a:pt x="4105" y="4068"/>
                      <a:pt x="4070" y="4007"/>
                    </a:cubicBezTo>
                    <a:cubicBezTo>
                      <a:pt x="4178" y="3933"/>
                      <a:pt x="4244" y="3810"/>
                      <a:pt x="4244" y="3676"/>
                    </a:cubicBezTo>
                    <a:cubicBezTo>
                      <a:pt x="4244" y="3580"/>
                      <a:pt x="4210" y="3490"/>
                      <a:pt x="4152" y="3420"/>
                    </a:cubicBezTo>
                    <a:cubicBezTo>
                      <a:pt x="4334" y="3376"/>
                      <a:pt x="4470" y="3212"/>
                      <a:pt x="4470" y="3016"/>
                    </a:cubicBezTo>
                    <a:lnTo>
                      <a:pt x="4470" y="2995"/>
                    </a:lnTo>
                    <a:cubicBezTo>
                      <a:pt x="4470" y="2834"/>
                      <a:pt x="4379" y="2693"/>
                      <a:pt x="4243" y="2625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F09E196-0D31-40DA-A08E-E8F5B0BC6F0E}"/>
              </a:ext>
            </a:extLst>
          </p:cNvPr>
          <p:cNvGrpSpPr/>
          <p:nvPr/>
        </p:nvGrpSpPr>
        <p:grpSpPr>
          <a:xfrm>
            <a:off x="641004" y="1328859"/>
            <a:ext cx="1947050" cy="3511807"/>
            <a:chOff x="3515684" y="1328859"/>
            <a:chExt cx="1947050" cy="3511807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A338BE20-B63C-4691-A0EF-195A08E63A11}"/>
                </a:ext>
              </a:extLst>
            </p:cNvPr>
            <p:cNvGrpSpPr/>
            <p:nvPr/>
          </p:nvGrpSpPr>
          <p:grpSpPr>
            <a:xfrm>
              <a:off x="3546152" y="2569119"/>
              <a:ext cx="1916582" cy="2271547"/>
              <a:chOff x="2518559" y="1981914"/>
              <a:chExt cx="1916582" cy="2670183"/>
            </a:xfrm>
          </p:grpSpPr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E2CADED3-5F92-4EB5-8F4F-858F85CF7EA9}"/>
                  </a:ext>
                </a:extLst>
              </p:cNvPr>
              <p:cNvSpPr/>
              <p:nvPr/>
            </p:nvSpPr>
            <p:spPr>
              <a:xfrm>
                <a:off x="2518559" y="2424584"/>
                <a:ext cx="1854493" cy="2227513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80000" rIns="144000" bIns="108000" rtlCol="0" anchor="t"/>
              <a:lstStyle/>
              <a:p>
                <a:pPr marL="0" indent="0" algn="ctr">
                  <a:lnSpc>
                    <a:spcPct val="100000"/>
                  </a:lnSpc>
                  <a:spcBef>
                    <a:spcPts val="0"/>
                  </a:spcBef>
                  <a:buFont typeface="Arial" panose="020B0604020202020204" pitchFamily="34" charset="0"/>
                  <a:buNone/>
                </a:pPr>
                <a:r>
                  <a:rPr lang="en-GB" sz="1400"/>
                  <a:t>The number of digital users has grown by </a:t>
                </a:r>
                <a:r>
                  <a:rPr lang="en-GB" sz="1400" b="1">
                    <a:solidFill>
                      <a:srgbClr val="2AD1D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18% </a:t>
                </a:r>
                <a:r>
                  <a:rPr lang="en-GB" sz="1400"/>
                  <a:t>since the pandemic started.</a:t>
                </a:r>
              </a:p>
            </p:txBody>
          </p:sp>
          <p:sp>
            <p:nvSpPr>
              <p:cNvPr id="40" name="Title 1">
                <a:extLst>
                  <a:ext uri="{FF2B5EF4-FFF2-40B4-BE49-F238E27FC236}">
                    <a16:creationId xmlns:a16="http://schemas.microsoft.com/office/drawing/2014/main" id="{41BD2BAA-C6EB-44FA-843B-45329E5051A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580649" y="1981914"/>
                <a:ext cx="1854492" cy="609398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0" tIns="0" rIns="0" bIns="0" rtlCol="0" anchor="t" anchorCtr="0">
                <a:spAutoFit/>
              </a:bodyPr>
              <a:lstStyle>
                <a:lvl1pPr algn="ctr" defTabSz="6858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kern="1200">
                    <a:solidFill>
                      <a:schemeClr val="bg1"/>
                    </a:solidFill>
                    <a:latin typeface="+mn-lt"/>
                    <a:ea typeface="+mj-ea"/>
                    <a:cs typeface="+mj-cs"/>
                  </a:defRPr>
                </a:lvl1pPr>
              </a:lstStyle>
              <a:p>
                <a:r>
                  <a:rPr lang="da-DK" sz="4400">
                    <a:solidFill>
                      <a:srgbClr val="2AD1D1">
                        <a:alpha val="90000"/>
                      </a:srgbClr>
                    </a:solidFill>
                  </a:rPr>
                  <a:t>18%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3BCAD9E-8478-49D2-AFF4-ED078AFB9C54}"/>
                </a:ext>
              </a:extLst>
            </p:cNvPr>
            <p:cNvGrpSpPr/>
            <p:nvPr/>
          </p:nvGrpSpPr>
          <p:grpSpPr>
            <a:xfrm>
              <a:off x="3515684" y="1328859"/>
              <a:ext cx="1915428" cy="3232622"/>
              <a:chOff x="3515684" y="1328859"/>
              <a:chExt cx="1915428" cy="3232622"/>
            </a:xfrm>
          </p:grpSpPr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8E989B16-6B31-4D20-A6D8-7132036F9550}"/>
                  </a:ext>
                </a:extLst>
              </p:cNvPr>
              <p:cNvSpPr/>
              <p:nvPr/>
            </p:nvSpPr>
            <p:spPr>
              <a:xfrm>
                <a:off x="3515684" y="2289913"/>
                <a:ext cx="1915428" cy="2271568"/>
              </a:xfrm>
              <a:prstGeom prst="roundRect">
                <a:avLst>
                  <a:gd name="adj" fmla="val 6894"/>
                </a:avLst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21CCB09C-D629-4535-8CE8-B59C12D4077F}"/>
                  </a:ext>
                </a:extLst>
              </p:cNvPr>
              <p:cNvGrpSpPr/>
              <p:nvPr/>
            </p:nvGrpSpPr>
            <p:grpSpPr>
              <a:xfrm>
                <a:off x="3887365" y="1328859"/>
                <a:ext cx="1172625" cy="1172625"/>
                <a:chOff x="4076026" y="3677414"/>
                <a:chExt cx="1172625" cy="1172625"/>
              </a:xfrm>
            </p:grpSpPr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0B808DCE-D8D0-4B47-8ADF-278CC542E00A}"/>
                    </a:ext>
                  </a:extLst>
                </p:cNvPr>
                <p:cNvSpPr/>
                <p:nvPr/>
              </p:nvSpPr>
              <p:spPr>
                <a:xfrm>
                  <a:off x="4076026" y="3677414"/>
                  <a:ext cx="1172625" cy="1172625"/>
                </a:xfrm>
                <a:prstGeom prst="ellipse">
                  <a:avLst/>
                </a:prstGeom>
                <a:gradFill>
                  <a:gsLst>
                    <a:gs pos="0">
                      <a:srgbClr val="36277F"/>
                    </a:gs>
                    <a:gs pos="100000">
                      <a:srgbClr val="881D80"/>
                    </a:gs>
                  </a:gsLst>
                  <a:lin ang="126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2800" b="1">
                    <a:effectLst>
                      <a:outerShdw blurRad="406400" dist="38100" dir="5400000" sx="109000" sy="109000" algn="t" rotWithShape="0">
                        <a:prstClr val="black">
                          <a:alpha val="30000"/>
                        </a:prstClr>
                      </a:outerShdw>
                    </a:effectLst>
                  </a:endParaRPr>
                </a:p>
              </p:txBody>
            </p:sp>
            <p:grpSp>
              <p:nvGrpSpPr>
                <p:cNvPr id="23" name="Group 4">
                  <a:extLst>
                    <a:ext uri="{FF2B5EF4-FFF2-40B4-BE49-F238E27FC236}">
                      <a16:creationId xmlns:a16="http://schemas.microsoft.com/office/drawing/2014/main" id="{E296EB42-167D-4B46-83D4-90AC5AE6D0C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4269551" y="3799647"/>
                  <a:ext cx="785573" cy="851754"/>
                  <a:chOff x="3497" y="1236"/>
                  <a:chExt cx="2101" cy="2278"/>
                </a:xfrm>
              </p:grpSpPr>
              <p:sp>
                <p:nvSpPr>
                  <p:cNvPr id="25" name="Freeform 5">
                    <a:extLst>
                      <a:ext uri="{FF2B5EF4-FFF2-40B4-BE49-F238E27FC236}">
                        <a16:creationId xmlns:a16="http://schemas.microsoft.com/office/drawing/2014/main" id="{121A045A-A344-4790-B1F3-B3049E87CC1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40" y="1879"/>
                    <a:ext cx="175" cy="248"/>
                  </a:xfrm>
                  <a:custGeom>
                    <a:avLst/>
                    <a:gdLst>
                      <a:gd name="T0" fmla="*/ 14 w 19"/>
                      <a:gd name="T1" fmla="*/ 27 h 27"/>
                      <a:gd name="T2" fmla="*/ 0 w 19"/>
                      <a:gd name="T3" fmla="*/ 14 h 27"/>
                      <a:gd name="T4" fmla="*/ 14 w 19"/>
                      <a:gd name="T5" fmla="*/ 0 h 27"/>
                      <a:gd name="T6" fmla="*/ 19 w 19"/>
                      <a:gd name="T7" fmla="*/ 1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" h="27">
                        <a:moveTo>
                          <a:pt x="14" y="27"/>
                        </a:moveTo>
                        <a:cubicBezTo>
                          <a:pt x="6" y="27"/>
                          <a:pt x="0" y="21"/>
                          <a:pt x="0" y="14"/>
                        </a:cubicBezTo>
                        <a:cubicBezTo>
                          <a:pt x="0" y="6"/>
                          <a:pt x="6" y="0"/>
                          <a:pt x="14" y="0"/>
                        </a:cubicBezTo>
                        <a:cubicBezTo>
                          <a:pt x="16" y="0"/>
                          <a:pt x="18" y="0"/>
                          <a:pt x="19" y="1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 6">
                    <a:extLst>
                      <a:ext uri="{FF2B5EF4-FFF2-40B4-BE49-F238E27FC236}">
                        <a16:creationId xmlns:a16="http://schemas.microsoft.com/office/drawing/2014/main" id="{81974D4E-EB2D-42D9-8DC0-85745DF0CB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89" y="1879"/>
                    <a:ext cx="175" cy="248"/>
                  </a:xfrm>
                  <a:custGeom>
                    <a:avLst/>
                    <a:gdLst>
                      <a:gd name="T0" fmla="*/ 5 w 19"/>
                      <a:gd name="T1" fmla="*/ 27 h 27"/>
                      <a:gd name="T2" fmla="*/ 19 w 19"/>
                      <a:gd name="T3" fmla="*/ 14 h 27"/>
                      <a:gd name="T4" fmla="*/ 5 w 19"/>
                      <a:gd name="T5" fmla="*/ 0 h 27"/>
                      <a:gd name="T6" fmla="*/ 0 w 19"/>
                      <a:gd name="T7" fmla="*/ 1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9" h="27">
                        <a:moveTo>
                          <a:pt x="5" y="27"/>
                        </a:moveTo>
                        <a:cubicBezTo>
                          <a:pt x="13" y="27"/>
                          <a:pt x="19" y="21"/>
                          <a:pt x="19" y="14"/>
                        </a:cubicBezTo>
                        <a:cubicBezTo>
                          <a:pt x="19" y="6"/>
                          <a:pt x="13" y="0"/>
                          <a:pt x="5" y="0"/>
                        </a:cubicBezTo>
                        <a:cubicBezTo>
                          <a:pt x="3" y="0"/>
                          <a:pt x="1" y="0"/>
                          <a:pt x="0" y="1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Oval 26">
                    <a:extLst>
                      <a:ext uri="{FF2B5EF4-FFF2-40B4-BE49-F238E27FC236}">
                        <a16:creationId xmlns:a16="http://schemas.microsoft.com/office/drawing/2014/main" id="{FFE0D86B-7C68-421A-A3F9-987B28CDCFF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82" y="1925"/>
                    <a:ext cx="64" cy="64"/>
                  </a:xfrm>
                  <a:prstGeom prst="ellipse">
                    <a:avLst/>
                  </a:prstGeom>
                  <a:solidFill>
                    <a:srgbClr val="231F20"/>
                  </a:solidFill>
                  <a:ln w="19050" cap="flat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8" name="Oval 27">
                    <a:extLst>
                      <a:ext uri="{FF2B5EF4-FFF2-40B4-BE49-F238E27FC236}">
                        <a16:creationId xmlns:a16="http://schemas.microsoft.com/office/drawing/2014/main" id="{E4C26B37-EAF1-4FF4-866C-A50013B0306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603" y="1916"/>
                    <a:ext cx="55" cy="64"/>
                  </a:xfrm>
                  <a:prstGeom prst="ellipse">
                    <a:avLst/>
                  </a:prstGeom>
                  <a:solidFill>
                    <a:srgbClr val="231F20"/>
                  </a:solidFill>
                  <a:ln w="19050" cap="flat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9" name="Freeform 9">
                    <a:extLst>
                      <a:ext uri="{FF2B5EF4-FFF2-40B4-BE49-F238E27FC236}">
                        <a16:creationId xmlns:a16="http://schemas.microsoft.com/office/drawing/2014/main" id="{AA6CCCD2-8123-42AE-A175-B4EAAD5F6B1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69" y="1870"/>
                    <a:ext cx="18" cy="321"/>
                  </a:xfrm>
                  <a:custGeom>
                    <a:avLst/>
                    <a:gdLst>
                      <a:gd name="T0" fmla="*/ 2 w 2"/>
                      <a:gd name="T1" fmla="*/ 35 h 35"/>
                      <a:gd name="T2" fmla="*/ 0 w 2"/>
                      <a:gd name="T3" fmla="*/ 21 h 35"/>
                      <a:gd name="T4" fmla="*/ 0 w 2"/>
                      <a:gd name="T5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35">
                        <a:moveTo>
                          <a:pt x="2" y="35"/>
                        </a:moveTo>
                        <a:cubicBezTo>
                          <a:pt x="0" y="31"/>
                          <a:pt x="0" y="26"/>
                          <a:pt x="0" y="21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0" name="Freeform 10">
                    <a:extLst>
                      <a:ext uri="{FF2B5EF4-FFF2-40B4-BE49-F238E27FC236}">
                        <a16:creationId xmlns:a16="http://schemas.microsoft.com/office/drawing/2014/main" id="{A8472F52-A417-476F-915A-A519398E95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16" y="1870"/>
                    <a:ext cx="19" cy="312"/>
                  </a:xfrm>
                  <a:custGeom>
                    <a:avLst/>
                    <a:gdLst>
                      <a:gd name="T0" fmla="*/ 2 w 2"/>
                      <a:gd name="T1" fmla="*/ 0 h 34"/>
                      <a:gd name="T2" fmla="*/ 2 w 2"/>
                      <a:gd name="T3" fmla="*/ 21 h 34"/>
                      <a:gd name="T4" fmla="*/ 0 w 2"/>
                      <a:gd name="T5" fmla="*/ 34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" h="34">
                        <a:moveTo>
                          <a:pt x="2" y="0"/>
                        </a:moveTo>
                        <a:cubicBezTo>
                          <a:pt x="2" y="21"/>
                          <a:pt x="2" y="21"/>
                          <a:pt x="2" y="21"/>
                        </a:cubicBezTo>
                        <a:cubicBezTo>
                          <a:pt x="2" y="26"/>
                          <a:pt x="2" y="30"/>
                          <a:pt x="0" y="34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" name="Freeform 11">
                    <a:extLst>
                      <a:ext uri="{FF2B5EF4-FFF2-40B4-BE49-F238E27FC236}">
                        <a16:creationId xmlns:a16="http://schemas.microsoft.com/office/drawing/2014/main" id="{C4F6FC05-5804-4EC0-941D-5F79A3ECD9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67" y="1236"/>
                    <a:ext cx="1060" cy="680"/>
                  </a:xfrm>
                  <a:custGeom>
                    <a:avLst/>
                    <a:gdLst>
                      <a:gd name="T0" fmla="*/ 8 w 115"/>
                      <a:gd name="T1" fmla="*/ 68 h 74"/>
                      <a:gd name="T2" fmla="*/ 24 w 115"/>
                      <a:gd name="T3" fmla="*/ 22 h 74"/>
                      <a:gd name="T4" fmla="*/ 58 w 115"/>
                      <a:gd name="T5" fmla="*/ 5 h 74"/>
                      <a:gd name="T6" fmla="*/ 97 w 115"/>
                      <a:gd name="T7" fmla="*/ 4 h 74"/>
                      <a:gd name="T8" fmla="*/ 97 w 115"/>
                      <a:gd name="T9" fmla="*/ 18 h 74"/>
                      <a:gd name="T10" fmla="*/ 107 w 115"/>
                      <a:gd name="T11" fmla="*/ 68 h 74"/>
                      <a:gd name="T12" fmla="*/ 96 w 115"/>
                      <a:gd name="T13" fmla="*/ 73 h 74"/>
                      <a:gd name="T14" fmla="*/ 87 w 115"/>
                      <a:gd name="T15" fmla="*/ 54 h 74"/>
                      <a:gd name="T16" fmla="*/ 55 w 115"/>
                      <a:gd name="T17" fmla="*/ 50 h 74"/>
                      <a:gd name="T18" fmla="*/ 24 w 115"/>
                      <a:gd name="T19" fmla="*/ 60 h 74"/>
                      <a:gd name="T20" fmla="*/ 21 w 115"/>
                      <a:gd name="T21" fmla="*/ 73 h 74"/>
                      <a:gd name="T22" fmla="*/ 8 w 115"/>
                      <a:gd name="T23" fmla="*/ 68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115" h="74">
                        <a:moveTo>
                          <a:pt x="8" y="68"/>
                        </a:moveTo>
                        <a:cubicBezTo>
                          <a:pt x="0" y="20"/>
                          <a:pt x="24" y="22"/>
                          <a:pt x="24" y="22"/>
                        </a:cubicBezTo>
                        <a:cubicBezTo>
                          <a:pt x="24" y="22"/>
                          <a:pt x="32" y="0"/>
                          <a:pt x="58" y="5"/>
                        </a:cubicBezTo>
                        <a:cubicBezTo>
                          <a:pt x="83" y="9"/>
                          <a:pt x="97" y="4"/>
                          <a:pt x="97" y="4"/>
                        </a:cubicBezTo>
                        <a:cubicBezTo>
                          <a:pt x="97" y="4"/>
                          <a:pt x="94" y="14"/>
                          <a:pt x="97" y="18"/>
                        </a:cubicBezTo>
                        <a:cubicBezTo>
                          <a:pt x="99" y="21"/>
                          <a:pt x="115" y="33"/>
                          <a:pt x="107" y="68"/>
                        </a:cubicBezTo>
                        <a:cubicBezTo>
                          <a:pt x="107" y="68"/>
                          <a:pt x="97" y="72"/>
                          <a:pt x="96" y="73"/>
                        </a:cubicBezTo>
                        <a:cubicBezTo>
                          <a:pt x="95" y="74"/>
                          <a:pt x="99" y="53"/>
                          <a:pt x="87" y="54"/>
                        </a:cubicBezTo>
                        <a:cubicBezTo>
                          <a:pt x="76" y="54"/>
                          <a:pt x="64" y="54"/>
                          <a:pt x="55" y="50"/>
                        </a:cubicBezTo>
                        <a:cubicBezTo>
                          <a:pt x="45" y="47"/>
                          <a:pt x="32" y="41"/>
                          <a:pt x="24" y="60"/>
                        </a:cubicBezTo>
                        <a:cubicBezTo>
                          <a:pt x="24" y="60"/>
                          <a:pt x="21" y="70"/>
                          <a:pt x="21" y="73"/>
                        </a:cubicBezTo>
                        <a:lnTo>
                          <a:pt x="8" y="68"/>
                        </a:ln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Freeform 12">
                    <a:extLst>
                      <a:ext uri="{FF2B5EF4-FFF2-40B4-BE49-F238E27FC236}">
                        <a16:creationId xmlns:a16="http://schemas.microsoft.com/office/drawing/2014/main" id="{6F5E61FE-AEC7-4336-B9A9-A595A9C796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999" y="2577"/>
                    <a:ext cx="203" cy="321"/>
                  </a:xfrm>
                  <a:custGeom>
                    <a:avLst/>
                    <a:gdLst>
                      <a:gd name="T0" fmla="*/ 0 w 22"/>
                      <a:gd name="T1" fmla="*/ 0 h 35"/>
                      <a:gd name="T2" fmla="*/ 22 w 22"/>
                      <a:gd name="T3" fmla="*/ 35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</a:cxnLst>
                    <a:rect l="0" t="0" r="r" b="b"/>
                    <a:pathLst>
                      <a:path w="22" h="35">
                        <a:moveTo>
                          <a:pt x="0" y="0"/>
                        </a:moveTo>
                        <a:cubicBezTo>
                          <a:pt x="15" y="7"/>
                          <a:pt x="21" y="17"/>
                          <a:pt x="22" y="35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Freeform 13">
                    <a:extLst>
                      <a:ext uri="{FF2B5EF4-FFF2-40B4-BE49-F238E27FC236}">
                        <a16:creationId xmlns:a16="http://schemas.microsoft.com/office/drawing/2014/main" id="{1F86B969-C6E6-43D1-85D3-5913C8D35B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16" y="3100"/>
                    <a:ext cx="2082" cy="285"/>
                  </a:xfrm>
                  <a:custGeom>
                    <a:avLst/>
                    <a:gdLst>
                      <a:gd name="T0" fmla="*/ 193 w 226"/>
                      <a:gd name="T1" fmla="*/ 0 h 31"/>
                      <a:gd name="T2" fmla="*/ 226 w 226"/>
                      <a:gd name="T3" fmla="*/ 2 h 31"/>
                      <a:gd name="T4" fmla="*/ 156 w 226"/>
                      <a:gd name="T5" fmla="*/ 31 h 31"/>
                      <a:gd name="T6" fmla="*/ 1 w 226"/>
                      <a:gd name="T7" fmla="*/ 13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26" h="31">
                        <a:moveTo>
                          <a:pt x="193" y="0"/>
                        </a:moveTo>
                        <a:cubicBezTo>
                          <a:pt x="226" y="2"/>
                          <a:pt x="226" y="2"/>
                          <a:pt x="226" y="2"/>
                        </a:cubicBezTo>
                        <a:cubicBezTo>
                          <a:pt x="226" y="2"/>
                          <a:pt x="155" y="31"/>
                          <a:pt x="156" y="31"/>
                        </a:cubicBezTo>
                        <a:cubicBezTo>
                          <a:pt x="156" y="31"/>
                          <a:pt x="0" y="16"/>
                          <a:pt x="1" y="13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7" name="Freeform 14">
                    <a:extLst>
                      <a:ext uri="{FF2B5EF4-FFF2-40B4-BE49-F238E27FC236}">
                        <a16:creationId xmlns:a16="http://schemas.microsoft.com/office/drawing/2014/main" id="{D457149F-67C1-4AE2-B077-887ED99BF9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2182"/>
                    <a:ext cx="1512" cy="1203"/>
                  </a:xfrm>
                  <a:custGeom>
                    <a:avLst/>
                    <a:gdLst>
                      <a:gd name="T0" fmla="*/ 160 w 164"/>
                      <a:gd name="T1" fmla="*/ 131 h 131"/>
                      <a:gd name="T2" fmla="*/ 7 w 164"/>
                      <a:gd name="T3" fmla="*/ 116 h 131"/>
                      <a:gd name="T4" fmla="*/ 0 w 164"/>
                      <a:gd name="T5" fmla="*/ 108 h 131"/>
                      <a:gd name="T6" fmla="*/ 1 w 164"/>
                      <a:gd name="T7" fmla="*/ 8 h 131"/>
                      <a:gd name="T8" fmla="*/ 8 w 164"/>
                      <a:gd name="T9" fmla="*/ 2 h 131"/>
                      <a:gd name="T10" fmla="*/ 157 w 164"/>
                      <a:gd name="T11" fmla="*/ 0 h 131"/>
                      <a:gd name="T12" fmla="*/ 164 w 164"/>
                      <a:gd name="T13" fmla="*/ 8 h 131"/>
                      <a:gd name="T14" fmla="*/ 163 w 164"/>
                      <a:gd name="T15" fmla="*/ 124 h 131"/>
                      <a:gd name="T16" fmla="*/ 160 w 164"/>
                      <a:gd name="T17" fmla="*/ 131 h 1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4" h="131">
                        <a:moveTo>
                          <a:pt x="160" y="131"/>
                        </a:moveTo>
                        <a:cubicBezTo>
                          <a:pt x="7" y="116"/>
                          <a:pt x="7" y="116"/>
                          <a:pt x="7" y="116"/>
                        </a:cubicBezTo>
                        <a:cubicBezTo>
                          <a:pt x="3" y="116"/>
                          <a:pt x="0" y="112"/>
                          <a:pt x="0" y="108"/>
                        </a:cubicBezTo>
                        <a:cubicBezTo>
                          <a:pt x="1" y="8"/>
                          <a:pt x="1" y="8"/>
                          <a:pt x="1" y="8"/>
                        </a:cubicBezTo>
                        <a:cubicBezTo>
                          <a:pt x="1" y="4"/>
                          <a:pt x="4" y="1"/>
                          <a:pt x="8" y="2"/>
                        </a:cubicBezTo>
                        <a:cubicBezTo>
                          <a:pt x="157" y="0"/>
                          <a:pt x="157" y="0"/>
                          <a:pt x="157" y="0"/>
                        </a:cubicBezTo>
                        <a:cubicBezTo>
                          <a:pt x="160" y="0"/>
                          <a:pt x="164" y="4"/>
                          <a:pt x="164" y="8"/>
                        </a:cubicBezTo>
                        <a:cubicBezTo>
                          <a:pt x="163" y="124"/>
                          <a:pt x="163" y="124"/>
                          <a:pt x="163" y="124"/>
                        </a:cubicBezTo>
                        <a:cubicBezTo>
                          <a:pt x="163" y="128"/>
                          <a:pt x="164" y="131"/>
                          <a:pt x="160" y="131"/>
                        </a:cubicBez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9" name="Freeform 15">
                    <a:extLst>
                      <a:ext uri="{FF2B5EF4-FFF2-40B4-BE49-F238E27FC236}">
                        <a16:creationId xmlns:a16="http://schemas.microsoft.com/office/drawing/2014/main" id="{D0D6A72D-EEF2-4298-94A8-9017F70C470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027" y="2852"/>
                    <a:ext cx="120" cy="313"/>
                  </a:xfrm>
                  <a:custGeom>
                    <a:avLst/>
                    <a:gdLst>
                      <a:gd name="T0" fmla="*/ 8 w 13"/>
                      <a:gd name="T1" fmla="*/ 34 h 34"/>
                      <a:gd name="T2" fmla="*/ 5 w 13"/>
                      <a:gd name="T3" fmla="*/ 34 h 34"/>
                      <a:gd name="T4" fmla="*/ 0 w 13"/>
                      <a:gd name="T5" fmla="*/ 28 h 34"/>
                      <a:gd name="T6" fmla="*/ 0 w 13"/>
                      <a:gd name="T7" fmla="*/ 5 h 34"/>
                      <a:gd name="T8" fmla="*/ 5 w 13"/>
                      <a:gd name="T9" fmla="*/ 0 h 34"/>
                      <a:gd name="T10" fmla="*/ 8 w 13"/>
                      <a:gd name="T11" fmla="*/ 0 h 34"/>
                      <a:gd name="T12" fmla="*/ 13 w 13"/>
                      <a:gd name="T13" fmla="*/ 5 h 34"/>
                      <a:gd name="T14" fmla="*/ 13 w 13"/>
                      <a:gd name="T15" fmla="*/ 28 h 34"/>
                      <a:gd name="T16" fmla="*/ 8 w 13"/>
                      <a:gd name="T17" fmla="*/ 34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" h="34">
                        <a:moveTo>
                          <a:pt x="8" y="34"/>
                        </a:moveTo>
                        <a:cubicBezTo>
                          <a:pt x="5" y="34"/>
                          <a:pt x="5" y="34"/>
                          <a:pt x="5" y="34"/>
                        </a:cubicBezTo>
                        <a:cubicBezTo>
                          <a:pt x="2" y="34"/>
                          <a:pt x="0" y="31"/>
                          <a:pt x="0" y="28"/>
                        </a:cubicBez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5" y="0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11" y="0"/>
                          <a:pt x="13" y="2"/>
                          <a:pt x="13" y="5"/>
                        </a:cubicBezTo>
                        <a:cubicBezTo>
                          <a:pt x="13" y="28"/>
                          <a:pt x="13" y="28"/>
                          <a:pt x="13" y="28"/>
                        </a:cubicBezTo>
                        <a:cubicBezTo>
                          <a:pt x="13" y="31"/>
                          <a:pt x="11" y="34"/>
                          <a:pt x="8" y="34"/>
                        </a:cubicBez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Freeform 16">
                    <a:extLst>
                      <a:ext uri="{FF2B5EF4-FFF2-40B4-BE49-F238E27FC236}">
                        <a16:creationId xmlns:a16="http://schemas.microsoft.com/office/drawing/2014/main" id="{5246B458-B068-4A40-9C9E-39DA5A05250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56" y="2907"/>
                    <a:ext cx="129" cy="258"/>
                  </a:xfrm>
                  <a:custGeom>
                    <a:avLst/>
                    <a:gdLst>
                      <a:gd name="T0" fmla="*/ 8 w 14"/>
                      <a:gd name="T1" fmla="*/ 28 h 28"/>
                      <a:gd name="T2" fmla="*/ 5 w 14"/>
                      <a:gd name="T3" fmla="*/ 28 h 28"/>
                      <a:gd name="T4" fmla="*/ 0 w 14"/>
                      <a:gd name="T5" fmla="*/ 22 h 28"/>
                      <a:gd name="T6" fmla="*/ 0 w 14"/>
                      <a:gd name="T7" fmla="*/ 5 h 28"/>
                      <a:gd name="T8" fmla="*/ 5 w 14"/>
                      <a:gd name="T9" fmla="*/ 0 h 28"/>
                      <a:gd name="T10" fmla="*/ 8 w 14"/>
                      <a:gd name="T11" fmla="*/ 0 h 28"/>
                      <a:gd name="T12" fmla="*/ 14 w 14"/>
                      <a:gd name="T13" fmla="*/ 5 h 28"/>
                      <a:gd name="T14" fmla="*/ 14 w 14"/>
                      <a:gd name="T15" fmla="*/ 22 h 28"/>
                      <a:gd name="T16" fmla="*/ 8 w 14"/>
                      <a:gd name="T17" fmla="*/ 28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4" h="28">
                        <a:moveTo>
                          <a:pt x="8" y="28"/>
                        </a:moveTo>
                        <a:cubicBezTo>
                          <a:pt x="5" y="28"/>
                          <a:pt x="5" y="28"/>
                          <a:pt x="5" y="28"/>
                        </a:cubicBezTo>
                        <a:cubicBezTo>
                          <a:pt x="2" y="28"/>
                          <a:pt x="0" y="25"/>
                          <a:pt x="0" y="22"/>
                        </a:cubicBez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5" y="0"/>
                        </a:cubicBezTo>
                        <a:cubicBezTo>
                          <a:pt x="8" y="0"/>
                          <a:pt x="8" y="0"/>
                          <a:pt x="8" y="0"/>
                        </a:cubicBezTo>
                        <a:cubicBezTo>
                          <a:pt x="11" y="0"/>
                          <a:pt x="14" y="2"/>
                          <a:pt x="14" y="5"/>
                        </a:cubicBezTo>
                        <a:cubicBezTo>
                          <a:pt x="14" y="22"/>
                          <a:pt x="14" y="22"/>
                          <a:pt x="14" y="22"/>
                        </a:cubicBezTo>
                        <a:cubicBezTo>
                          <a:pt x="14" y="25"/>
                          <a:pt x="11" y="28"/>
                          <a:pt x="8" y="28"/>
                        </a:cubicBezTo>
                        <a:close/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5" name="Freeform 17">
                    <a:extLst>
                      <a:ext uri="{FF2B5EF4-FFF2-40B4-BE49-F238E27FC236}">
                        <a16:creationId xmlns:a16="http://schemas.microsoft.com/office/drawing/2014/main" id="{12CFC9F0-BB6D-4910-B1EA-AF083F8ECDC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3174"/>
                    <a:ext cx="1502" cy="340"/>
                  </a:xfrm>
                  <a:custGeom>
                    <a:avLst/>
                    <a:gdLst>
                      <a:gd name="T0" fmla="*/ 163 w 163"/>
                      <a:gd name="T1" fmla="*/ 18 h 37"/>
                      <a:gd name="T2" fmla="*/ 163 w 163"/>
                      <a:gd name="T3" fmla="*/ 33 h 37"/>
                      <a:gd name="T4" fmla="*/ 159 w 163"/>
                      <a:gd name="T5" fmla="*/ 37 h 37"/>
                      <a:gd name="T6" fmla="*/ 4 w 163"/>
                      <a:gd name="T7" fmla="*/ 17 h 37"/>
                      <a:gd name="T8" fmla="*/ 0 w 163"/>
                      <a:gd name="T9" fmla="*/ 13 h 37"/>
                      <a:gd name="T10" fmla="*/ 0 w 163"/>
                      <a:gd name="T11" fmla="*/ 12 h 37"/>
                      <a:gd name="T12" fmla="*/ 0 w 163"/>
                      <a:gd name="T13" fmla="*/ 0 h 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63" h="37">
                        <a:moveTo>
                          <a:pt x="163" y="18"/>
                        </a:moveTo>
                        <a:cubicBezTo>
                          <a:pt x="163" y="33"/>
                          <a:pt x="163" y="33"/>
                          <a:pt x="163" y="33"/>
                        </a:cubicBezTo>
                        <a:cubicBezTo>
                          <a:pt x="163" y="35"/>
                          <a:pt x="161" y="37"/>
                          <a:pt x="159" y="37"/>
                        </a:cubicBezTo>
                        <a:cubicBezTo>
                          <a:pt x="4" y="17"/>
                          <a:pt x="4" y="17"/>
                          <a:pt x="4" y="17"/>
                        </a:cubicBezTo>
                        <a:cubicBezTo>
                          <a:pt x="2" y="17"/>
                          <a:pt x="0" y="15"/>
                          <a:pt x="0" y="13"/>
                        </a:cubicBezTo>
                        <a:cubicBezTo>
                          <a:pt x="0" y="12"/>
                          <a:pt x="0" y="12"/>
                          <a:pt x="0" y="12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</a:path>
                    </a:pathLst>
                  </a:cu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Line 18">
                    <a:extLst>
                      <a:ext uri="{FF2B5EF4-FFF2-40B4-BE49-F238E27FC236}">
                        <a16:creationId xmlns:a16="http://schemas.microsoft.com/office/drawing/2014/main" id="{BADBD2CF-2272-48E8-947F-D332FE32AD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981" y="3119"/>
                    <a:ext cx="617" cy="395"/>
                  </a:xfrm>
                  <a:prstGeom prst="line">
                    <a:avLst/>
                  </a:prstGeom>
                  <a:noFill/>
                  <a:ln w="1905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858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1E33"/>
                      </a:solidFill>
                      <a:effectLst/>
                      <a:uLnTx/>
                      <a:uFillTx/>
                      <a:latin typeface="Calibri Light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DC662B1C-2371-4C4F-A66F-EBDBB955B6D5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112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6FBA0-D14A-43D4-85DE-EBF1053F2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309" y="220190"/>
            <a:ext cx="7886700" cy="457200"/>
          </a:xfrm>
        </p:spPr>
        <p:txBody>
          <a:bodyPr>
            <a:normAutofit/>
          </a:bodyPr>
          <a:lstStyle/>
          <a:p>
            <a:r>
              <a:rPr lang="da-DK" err="1"/>
              <a:t>Importance</a:t>
            </a:r>
            <a:r>
              <a:rPr lang="da-DK"/>
              <a:t> of </a:t>
            </a:r>
            <a:r>
              <a:rPr lang="da-DK" err="1"/>
              <a:t>low</a:t>
            </a:r>
            <a:r>
              <a:rPr lang="da-DK"/>
              <a:t> </a:t>
            </a:r>
            <a:r>
              <a:rPr lang="da-DK" err="1"/>
              <a:t>prices</a:t>
            </a:r>
            <a:r>
              <a:rPr lang="da-DK"/>
              <a:t> </a:t>
            </a:r>
            <a:r>
              <a:rPr lang="da-DK" err="1"/>
              <a:t>continues</a:t>
            </a:r>
            <a:r>
              <a:rPr lang="da-DK"/>
              <a:t> to </a:t>
            </a:r>
            <a:r>
              <a:rPr lang="da-DK" err="1"/>
              <a:t>fall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521C65-ABD1-4721-9458-AEE637C81F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409" y="664618"/>
            <a:ext cx="6320528" cy="64633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3000"/>
              </a:spcAft>
            </a:pPr>
            <a:r>
              <a:rPr lang="en-GB" sz="1600">
                <a:solidFill>
                  <a:schemeClr val="bg1"/>
                </a:solidFill>
                <a:effectLst>
                  <a:outerShdw blurRad="94704" dist="63500" dir="8100000" algn="tr" rotWithShape="0">
                    <a:prstClr val="black">
                      <a:alpha val="40000"/>
                    </a:prstClr>
                  </a:outerShdw>
                </a:effectLst>
              </a:rPr>
              <a:t>Price remains the main driver, with 52% including it as a top 3 priority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31C943-151D-7E4C-AB87-F1DBC3C6C4CA}"/>
              </a:ext>
            </a:extLst>
          </p:cNvPr>
          <p:cNvSpPr/>
          <p:nvPr/>
        </p:nvSpPr>
        <p:spPr>
          <a:xfrm>
            <a:off x="3097161" y="4248764"/>
            <a:ext cx="4980039" cy="894736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CD91A9-5829-E34A-8758-8A30A08E54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3912" y="1286327"/>
            <a:ext cx="4676176" cy="3716777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DF016C53-507B-4410-90C8-DFA3A6A72407}"/>
              </a:ext>
            </a:extLst>
          </p:cNvPr>
          <p:cNvGrpSpPr/>
          <p:nvPr/>
        </p:nvGrpSpPr>
        <p:grpSpPr>
          <a:xfrm>
            <a:off x="3422399" y="2040997"/>
            <a:ext cx="2155420" cy="2207767"/>
            <a:chOff x="3494290" y="1790589"/>
            <a:chExt cx="2155420" cy="2207767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7FEFD905-2708-410A-AF54-B6A7B5F99E11}"/>
                </a:ext>
              </a:extLst>
            </p:cNvPr>
            <p:cNvSpPr/>
            <p:nvPr/>
          </p:nvSpPr>
          <p:spPr>
            <a:xfrm>
              <a:off x="3637859" y="1790589"/>
              <a:ext cx="1810028" cy="1810028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800" b="1" dirty="0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rPr>
                <a:t>42%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DC02CB5-DD32-4338-94C0-3DCCB449606B}"/>
                </a:ext>
              </a:extLst>
            </p:cNvPr>
            <p:cNvSpPr txBox="1"/>
            <p:nvPr/>
          </p:nvSpPr>
          <p:spPr>
            <a:xfrm>
              <a:off x="3494290" y="3629024"/>
              <a:ext cx="21554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dirty="0">
                  <a:solidFill>
                    <a:schemeClr val="bg1"/>
                  </a:solidFill>
                  <a:latin typeface="+mj-lt"/>
                </a:rPr>
                <a:t>Good service / CX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27C5DD8-3A27-4FD3-866A-51D0B4A414A2}"/>
              </a:ext>
            </a:extLst>
          </p:cNvPr>
          <p:cNvGrpSpPr/>
          <p:nvPr/>
        </p:nvGrpSpPr>
        <p:grpSpPr>
          <a:xfrm>
            <a:off x="487776" y="2040996"/>
            <a:ext cx="2155420" cy="2213387"/>
            <a:chOff x="559667" y="1790588"/>
            <a:chExt cx="2155420" cy="221338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7881DE97-C396-42AF-A4A4-12E79F15E96F}"/>
                </a:ext>
              </a:extLst>
            </p:cNvPr>
            <p:cNvSpPr/>
            <p:nvPr/>
          </p:nvSpPr>
          <p:spPr>
            <a:xfrm>
              <a:off x="732363" y="1790588"/>
              <a:ext cx="1810029" cy="1810029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800" b="1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rPr>
                <a:t>48%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178FA8E-2D37-4C5E-8645-7DCDBDEAA315}"/>
                </a:ext>
              </a:extLst>
            </p:cNvPr>
            <p:cNvSpPr txBox="1"/>
            <p:nvPr/>
          </p:nvSpPr>
          <p:spPr>
            <a:xfrm>
              <a:off x="559667" y="3634643"/>
              <a:ext cx="21554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b="1" dirty="0" err="1">
                  <a:solidFill>
                    <a:srgbClr val="2AD1D1"/>
                  </a:solidFill>
                </a:rPr>
                <a:t>Convenience</a:t>
              </a:r>
              <a:endParaRPr lang="da-DK" b="1" dirty="0">
                <a:solidFill>
                  <a:srgbClr val="2AD1D1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07D069-FF93-49EC-ACC7-E58693826B23}"/>
              </a:ext>
            </a:extLst>
          </p:cNvPr>
          <p:cNvGrpSpPr/>
          <p:nvPr/>
        </p:nvGrpSpPr>
        <p:grpSpPr>
          <a:xfrm>
            <a:off x="6317213" y="2040997"/>
            <a:ext cx="2339010" cy="2462507"/>
            <a:chOff x="6389104" y="1790589"/>
            <a:chExt cx="2339010" cy="2462507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42029D9-39CD-46C6-9E3E-A14609F4D49C}"/>
                </a:ext>
              </a:extLst>
            </p:cNvPr>
            <p:cNvSpPr/>
            <p:nvPr/>
          </p:nvSpPr>
          <p:spPr>
            <a:xfrm>
              <a:off x="6653595" y="1790589"/>
              <a:ext cx="1810028" cy="1810028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800" b="1" dirty="0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rPr>
                <a:t>43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AB4CB8A-BFA0-4984-B605-45C649467928}"/>
                </a:ext>
              </a:extLst>
            </p:cNvPr>
            <p:cNvSpPr txBox="1"/>
            <p:nvPr/>
          </p:nvSpPr>
          <p:spPr>
            <a:xfrm>
              <a:off x="6389104" y="3606765"/>
              <a:ext cx="23390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 dirty="0">
                  <a:solidFill>
                    <a:schemeClr val="bg1"/>
                  </a:solidFill>
                </a:rPr>
                <a:t>For </a:t>
              </a:r>
              <a:r>
                <a:rPr lang="da-DK" dirty="0" err="1">
                  <a:solidFill>
                    <a:schemeClr val="bg1"/>
                  </a:solidFill>
                </a:rPr>
                <a:t>companies</a:t>
              </a:r>
              <a:r>
                <a:rPr lang="da-DK" dirty="0">
                  <a:solidFill>
                    <a:schemeClr val="bg1"/>
                  </a:solidFill>
                </a:rPr>
                <a:t> </a:t>
              </a:r>
              <a:r>
                <a:rPr lang="da-DK" dirty="0" err="1">
                  <a:solidFill>
                    <a:schemeClr val="bg1"/>
                  </a:solidFill>
                </a:rPr>
                <a:t>that</a:t>
              </a:r>
              <a:r>
                <a:rPr lang="da-DK" dirty="0">
                  <a:solidFill>
                    <a:schemeClr val="bg1"/>
                  </a:solidFill>
                </a:rPr>
                <a:t> </a:t>
              </a:r>
              <a:r>
                <a:rPr lang="da-DK" dirty="0" err="1">
                  <a:solidFill>
                    <a:schemeClr val="bg1"/>
                  </a:solidFill>
                </a:rPr>
                <a:t>act</a:t>
              </a:r>
              <a:r>
                <a:rPr lang="da-DK" dirty="0">
                  <a:solidFill>
                    <a:schemeClr val="bg1"/>
                  </a:solidFill>
                </a:rPr>
                <a:t> </a:t>
              </a:r>
              <a:r>
                <a:rPr lang="da-DK" b="1" dirty="0" err="1">
                  <a:solidFill>
                    <a:srgbClr val="2AD1D1"/>
                  </a:solidFill>
                </a:rPr>
                <a:t>fairly</a:t>
              </a:r>
              <a:r>
                <a:rPr lang="da-DK" dirty="0">
                  <a:solidFill>
                    <a:schemeClr val="bg1"/>
                  </a:solidFill>
                </a:rPr>
                <a:t> and </a:t>
              </a:r>
              <a:r>
                <a:rPr lang="da-DK" b="1" dirty="0" err="1">
                  <a:solidFill>
                    <a:srgbClr val="2AD1D1"/>
                  </a:solidFill>
                </a:rPr>
                <a:t>responsibly</a:t>
              </a:r>
              <a:endParaRPr lang="da-DK" b="1" dirty="0">
                <a:solidFill>
                  <a:srgbClr val="2AD1D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17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62D810B-FD96-C847-8610-E0733AA9A6C5}"/>
              </a:ext>
            </a:extLst>
          </p:cNvPr>
          <p:cNvSpPr/>
          <p:nvPr/>
        </p:nvSpPr>
        <p:spPr>
          <a:xfrm>
            <a:off x="3097162" y="4248764"/>
            <a:ext cx="4505906" cy="894736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F4AD568-0C61-4DCC-86D6-DF1744A85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328" y="310697"/>
            <a:ext cx="7886700" cy="457200"/>
          </a:xfrm>
        </p:spPr>
        <p:txBody>
          <a:bodyPr/>
          <a:lstStyle/>
          <a:p>
            <a:r>
              <a:rPr lang="en-US"/>
              <a:t>Customer loyalty are easily los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E23903B-A31D-47F2-93CC-ECD62565F3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599" b="7115"/>
          <a:stretch/>
        </p:blipFill>
        <p:spPr>
          <a:xfrm>
            <a:off x="1917181" y="1069169"/>
            <a:ext cx="5309638" cy="376095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E7B7317-8990-4FEC-BF30-52F7FEEFEAAA}"/>
              </a:ext>
            </a:extLst>
          </p:cNvPr>
          <p:cNvGrpSpPr/>
          <p:nvPr/>
        </p:nvGrpSpPr>
        <p:grpSpPr>
          <a:xfrm>
            <a:off x="2123470" y="1315145"/>
            <a:ext cx="2363853" cy="3437375"/>
            <a:chOff x="3360946" y="1975468"/>
            <a:chExt cx="2363853" cy="3437375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86284D5-DEAA-499B-B0E9-99ADD6AFAEAF}"/>
                </a:ext>
              </a:extLst>
            </p:cNvPr>
            <p:cNvSpPr/>
            <p:nvPr/>
          </p:nvSpPr>
          <p:spPr>
            <a:xfrm>
              <a:off x="3454363" y="1975468"/>
              <a:ext cx="2003302" cy="2003302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800" b="1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rPr>
                <a:t>48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7930C9-2D08-450A-85AF-F0395008689C}"/>
                </a:ext>
              </a:extLst>
            </p:cNvPr>
            <p:cNvSpPr txBox="1"/>
            <p:nvPr/>
          </p:nvSpPr>
          <p:spPr>
            <a:xfrm>
              <a:off x="3360946" y="4212514"/>
              <a:ext cx="2363853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>
                  <a:solidFill>
                    <a:schemeClr val="bg1"/>
                  </a:solidFill>
                  <a:latin typeface="+mj-lt"/>
                </a:rPr>
                <a:t>of </a:t>
              </a:r>
              <a:r>
                <a:rPr lang="da-DK" err="1">
                  <a:solidFill>
                    <a:schemeClr val="bg1"/>
                  </a:solidFill>
                  <a:latin typeface="+mj-lt"/>
                </a:rPr>
                <a:t>customers</a:t>
              </a:r>
              <a:r>
                <a:rPr lang="da-DK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da-DK" err="1">
                  <a:solidFill>
                    <a:schemeClr val="bg1"/>
                  </a:solidFill>
                  <a:latin typeface="+mj-lt"/>
                </a:rPr>
                <a:t>would</a:t>
              </a:r>
              <a:r>
                <a:rPr lang="da-DK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da-DK" err="1">
                  <a:solidFill>
                    <a:schemeClr val="bg1"/>
                  </a:solidFill>
                  <a:latin typeface="+mj-lt"/>
                </a:rPr>
                <a:t>ditch</a:t>
              </a:r>
              <a:r>
                <a:rPr lang="da-DK">
                  <a:solidFill>
                    <a:schemeClr val="bg1"/>
                  </a:solidFill>
                  <a:latin typeface="+mj-lt"/>
                </a:rPr>
                <a:t> brands </a:t>
              </a:r>
              <a:r>
                <a:rPr lang="da-DK" err="1">
                  <a:solidFill>
                    <a:schemeClr val="bg1"/>
                  </a:solidFill>
                  <a:latin typeface="+mj-lt"/>
                </a:rPr>
                <a:t>after</a:t>
              </a:r>
              <a:r>
                <a:rPr lang="da-DK">
                  <a:solidFill>
                    <a:schemeClr val="bg1"/>
                  </a:solidFill>
                  <a:latin typeface="+mj-lt"/>
                </a:rPr>
                <a:t> just </a:t>
              </a:r>
              <a:r>
                <a:rPr lang="da-DK" b="1" err="1">
                  <a:solidFill>
                    <a:srgbClr val="2AD1D1"/>
                  </a:solidFill>
                </a:rPr>
                <a:t>one</a:t>
              </a:r>
              <a:r>
                <a:rPr lang="da-DK" b="1">
                  <a:solidFill>
                    <a:srgbClr val="2AD1D1"/>
                  </a:solidFill>
                </a:rPr>
                <a:t> or </a:t>
              </a:r>
              <a:r>
                <a:rPr lang="da-DK" b="1" err="1">
                  <a:solidFill>
                    <a:srgbClr val="2AD1D1"/>
                  </a:solidFill>
                </a:rPr>
                <a:t>two</a:t>
              </a:r>
              <a:r>
                <a:rPr lang="da-DK" b="1">
                  <a:solidFill>
                    <a:srgbClr val="2AD1D1"/>
                  </a:solidFill>
                </a:rPr>
                <a:t> bad </a:t>
              </a:r>
              <a:r>
                <a:rPr lang="da-DK" b="1" err="1">
                  <a:solidFill>
                    <a:srgbClr val="2AD1D1"/>
                  </a:solidFill>
                </a:rPr>
                <a:t>experiences</a:t>
              </a:r>
              <a:endParaRPr lang="da-DK" b="1">
                <a:solidFill>
                  <a:srgbClr val="2AD1D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318C15E-102A-454C-B2A1-1E495B8E9FC0}"/>
              </a:ext>
            </a:extLst>
          </p:cNvPr>
          <p:cNvGrpSpPr/>
          <p:nvPr/>
        </p:nvGrpSpPr>
        <p:grpSpPr>
          <a:xfrm>
            <a:off x="4830395" y="1315144"/>
            <a:ext cx="2190134" cy="3172607"/>
            <a:chOff x="6463542" y="1972263"/>
            <a:chExt cx="2190134" cy="3172607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EBC32766-8860-4193-B3D0-1BDF42C927D7}"/>
                </a:ext>
              </a:extLst>
            </p:cNvPr>
            <p:cNvSpPr/>
            <p:nvPr/>
          </p:nvSpPr>
          <p:spPr>
            <a:xfrm>
              <a:off x="6556958" y="1972263"/>
              <a:ext cx="2003302" cy="2003302"/>
            </a:xfrm>
            <a:prstGeom prst="ellipse">
              <a:avLst/>
            </a:prstGeom>
            <a:gradFill>
              <a:gsLst>
                <a:gs pos="0">
                  <a:srgbClr val="36277F"/>
                </a:gs>
                <a:gs pos="100000">
                  <a:srgbClr val="881D80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sz="2800" b="1">
                  <a:effectLst>
                    <a:outerShdw blurRad="406400" dist="38100" dir="5400000" sx="109000" sy="109000" algn="t" rotWithShape="0">
                      <a:prstClr val="black">
                        <a:alpha val="30000"/>
                      </a:prstClr>
                    </a:outerShdw>
                  </a:effectLst>
                </a:rPr>
                <a:t>52%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DF91334-5EC6-4CFC-8FBF-0B3346C24EC1}"/>
                </a:ext>
              </a:extLst>
            </p:cNvPr>
            <p:cNvSpPr txBox="1"/>
            <p:nvPr/>
          </p:nvSpPr>
          <p:spPr>
            <a:xfrm>
              <a:off x="6463542" y="4221540"/>
              <a:ext cx="219013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a-DK">
                  <a:solidFill>
                    <a:schemeClr val="bg1"/>
                  </a:solidFill>
                </a:rPr>
                <a:t>of </a:t>
              </a:r>
              <a:r>
                <a:rPr lang="da-DK" err="1">
                  <a:solidFill>
                    <a:schemeClr val="bg1"/>
                  </a:solidFill>
                </a:rPr>
                <a:t>customers</a:t>
              </a:r>
              <a:r>
                <a:rPr lang="da-DK">
                  <a:solidFill>
                    <a:schemeClr val="bg1"/>
                  </a:solidFill>
                </a:rPr>
                <a:t> have </a:t>
              </a:r>
              <a:r>
                <a:rPr lang="da-DK" b="1" err="1">
                  <a:solidFill>
                    <a:srgbClr val="2AD1D1"/>
                  </a:solidFill>
                </a:rPr>
                <a:t>switched</a:t>
              </a:r>
              <a:r>
                <a:rPr lang="da-DK" b="1">
                  <a:solidFill>
                    <a:srgbClr val="2AD1D1"/>
                  </a:solidFill>
                </a:rPr>
                <a:t> </a:t>
              </a:r>
              <a:r>
                <a:rPr lang="da-DK" b="1" err="1">
                  <a:solidFill>
                    <a:srgbClr val="2AD1D1"/>
                  </a:solidFill>
                </a:rPr>
                <a:t>providers</a:t>
              </a:r>
              <a:r>
                <a:rPr lang="da-DK" b="1">
                  <a:solidFill>
                    <a:srgbClr val="2AD1D1"/>
                  </a:solidFill>
                </a:rPr>
                <a:t> </a:t>
              </a:r>
              <a:r>
                <a:rPr lang="da-DK" err="1">
                  <a:solidFill>
                    <a:schemeClr val="bg1"/>
                  </a:solidFill>
                </a:rPr>
                <a:t>during</a:t>
              </a:r>
              <a:r>
                <a:rPr lang="da-DK">
                  <a:solidFill>
                    <a:schemeClr val="bg1"/>
                  </a:solidFill>
                </a:rPr>
                <a:t> the </a:t>
              </a:r>
              <a:r>
                <a:rPr lang="da-DK" err="1">
                  <a:solidFill>
                    <a:schemeClr val="bg1"/>
                  </a:solidFill>
                </a:rPr>
                <a:t>pandemic</a:t>
              </a:r>
              <a:endParaRPr lang="da-DK" b="1">
                <a:solidFill>
                  <a:srgbClr val="2AD1D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730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B6A8838-8784-4BDD-9F15-11BDC6358C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6699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B6A8838-8784-4BDD-9F15-11BDC6358C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F72BE8B5-5730-438E-B110-4045E5ED6E5A}"/>
              </a:ext>
            </a:extLst>
          </p:cNvPr>
          <p:cNvGrpSpPr/>
          <p:nvPr/>
        </p:nvGrpSpPr>
        <p:grpSpPr>
          <a:xfrm>
            <a:off x="2263120" y="3396896"/>
            <a:ext cx="1419700" cy="1137637"/>
            <a:chOff x="2263120" y="3396896"/>
            <a:chExt cx="1419700" cy="1137637"/>
          </a:xfrm>
        </p:grpSpPr>
        <p:sp>
          <p:nvSpPr>
            <p:cNvPr id="136" name="Rectangle: Rounded Corners 135">
              <a:extLst>
                <a:ext uri="{FF2B5EF4-FFF2-40B4-BE49-F238E27FC236}">
                  <a16:creationId xmlns:a16="http://schemas.microsoft.com/office/drawing/2014/main" id="{0CD4B57D-BA10-4FA3-8749-62D5E14B0085}"/>
                </a:ext>
              </a:extLst>
            </p:cNvPr>
            <p:cNvSpPr/>
            <p:nvPr/>
          </p:nvSpPr>
          <p:spPr>
            <a:xfrm>
              <a:off x="2870152" y="4500244"/>
              <a:ext cx="214346" cy="34289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1350">
                <a:solidFill>
                  <a:srgbClr val="0074BE"/>
                </a:solidFill>
                <a:latin typeface="Calibri Light"/>
              </a:endParaRP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E8B77118-32D6-413C-A432-22678CC6F6FF}"/>
                </a:ext>
              </a:extLst>
            </p:cNvPr>
            <p:cNvSpPr/>
            <p:nvPr/>
          </p:nvSpPr>
          <p:spPr>
            <a:xfrm>
              <a:off x="2263120" y="3396896"/>
              <a:ext cx="1419700" cy="1120493"/>
            </a:xfrm>
            <a:prstGeom prst="roundRect">
              <a:avLst>
                <a:gd name="adj" fmla="val 7501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marL="0" indent="0">
                <a:buFont typeface="Arial" panose="020B0604020202020204" pitchFamily="34" charset="0"/>
                <a:buNone/>
              </a:pPr>
              <a:endParaRPr lang="da-DK" sz="1600" b="1">
                <a:latin typeface="+mn-lt"/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594D590-9182-4DA7-945C-B187A83583EF}"/>
              </a:ext>
            </a:extLst>
          </p:cNvPr>
          <p:cNvSpPr/>
          <p:nvPr/>
        </p:nvSpPr>
        <p:spPr>
          <a:xfrm>
            <a:off x="3948708" y="3795226"/>
            <a:ext cx="115722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800">
              <a:defRPr/>
            </a:pPr>
            <a:r>
              <a:rPr lang="en-US" sz="1400">
                <a:solidFill>
                  <a:schemeClr val="bg1"/>
                </a:solidFill>
                <a:latin typeface="Calibri Light"/>
              </a:rPr>
              <a:t>Born Between</a:t>
            </a:r>
          </a:p>
          <a:p>
            <a:pPr algn="ctr" defTabSz="685800">
              <a:defRPr/>
            </a:pPr>
            <a:r>
              <a:rPr lang="en-US" sz="1400" b="1">
                <a:solidFill>
                  <a:schemeClr val="bg1"/>
                </a:solidFill>
                <a:latin typeface="Calibri Light"/>
              </a:rPr>
              <a:t>1980 - 1994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310CD1E6-E858-40BD-B417-1AD93656F96D}"/>
              </a:ext>
            </a:extLst>
          </p:cNvPr>
          <p:cNvGrpSpPr/>
          <p:nvPr/>
        </p:nvGrpSpPr>
        <p:grpSpPr>
          <a:xfrm>
            <a:off x="3821825" y="3396896"/>
            <a:ext cx="1419700" cy="1137637"/>
            <a:chOff x="2263120" y="3396896"/>
            <a:chExt cx="1419700" cy="1137637"/>
          </a:xfrm>
        </p:grpSpPr>
        <p:sp>
          <p:nvSpPr>
            <p:cNvPr id="82" name="Rectangle: Rounded Corners 81">
              <a:extLst>
                <a:ext uri="{FF2B5EF4-FFF2-40B4-BE49-F238E27FC236}">
                  <a16:creationId xmlns:a16="http://schemas.microsoft.com/office/drawing/2014/main" id="{48A5D188-9307-4C64-AF89-EE62737F232D}"/>
                </a:ext>
              </a:extLst>
            </p:cNvPr>
            <p:cNvSpPr/>
            <p:nvPr/>
          </p:nvSpPr>
          <p:spPr>
            <a:xfrm>
              <a:off x="2870152" y="4500244"/>
              <a:ext cx="214346" cy="34289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1350">
                <a:solidFill>
                  <a:srgbClr val="0074BE"/>
                </a:solidFill>
                <a:latin typeface="Calibri Light"/>
              </a:endParaRP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C02198E4-E8B2-425E-B422-EB309FC19065}"/>
                </a:ext>
              </a:extLst>
            </p:cNvPr>
            <p:cNvSpPr/>
            <p:nvPr/>
          </p:nvSpPr>
          <p:spPr>
            <a:xfrm>
              <a:off x="2263120" y="3396896"/>
              <a:ext cx="1419700" cy="1120493"/>
            </a:xfrm>
            <a:prstGeom prst="roundRect">
              <a:avLst>
                <a:gd name="adj" fmla="val 7501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marL="0" indent="0">
                <a:buFont typeface="Arial" panose="020B0604020202020204" pitchFamily="34" charset="0"/>
                <a:buNone/>
              </a:pPr>
              <a:endParaRPr lang="da-DK" sz="1600" b="1">
                <a:latin typeface="+mn-lt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8EE8B663-6E39-4114-8121-9D9D1488AF9C}"/>
              </a:ext>
            </a:extLst>
          </p:cNvPr>
          <p:cNvGrpSpPr/>
          <p:nvPr/>
        </p:nvGrpSpPr>
        <p:grpSpPr>
          <a:xfrm>
            <a:off x="5371821" y="3396896"/>
            <a:ext cx="1419700" cy="1137637"/>
            <a:chOff x="2263120" y="3396896"/>
            <a:chExt cx="1419700" cy="1137637"/>
          </a:xfrm>
        </p:grpSpPr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531399D9-3FDA-454B-A670-1172373DE505}"/>
                </a:ext>
              </a:extLst>
            </p:cNvPr>
            <p:cNvSpPr/>
            <p:nvPr/>
          </p:nvSpPr>
          <p:spPr>
            <a:xfrm>
              <a:off x="2870152" y="4500244"/>
              <a:ext cx="214346" cy="34289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1350">
                <a:solidFill>
                  <a:srgbClr val="0074BE"/>
                </a:solidFill>
                <a:latin typeface="Calibri Light"/>
              </a:endParaRPr>
            </a:p>
          </p:txBody>
        </p: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3C6DA0FB-9E3E-497A-9D7A-85BBD763E299}"/>
                </a:ext>
              </a:extLst>
            </p:cNvPr>
            <p:cNvSpPr/>
            <p:nvPr/>
          </p:nvSpPr>
          <p:spPr>
            <a:xfrm>
              <a:off x="2263120" y="3396896"/>
              <a:ext cx="1419700" cy="1120493"/>
            </a:xfrm>
            <a:prstGeom prst="roundRect">
              <a:avLst>
                <a:gd name="adj" fmla="val 7501"/>
              </a:avLst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marL="0" indent="0">
                <a:buFont typeface="Arial" panose="020B0604020202020204" pitchFamily="34" charset="0"/>
                <a:buNone/>
              </a:pPr>
              <a:endParaRPr lang="da-DK" sz="1600" b="1">
                <a:latin typeface="+mn-lt"/>
              </a:endParaRPr>
            </a:p>
          </p:txBody>
        </p:sp>
      </p:grpSp>
      <p:grpSp>
        <p:nvGrpSpPr>
          <p:cNvPr id="121" name="Group 4">
            <a:extLst>
              <a:ext uri="{FF2B5EF4-FFF2-40B4-BE49-F238E27FC236}">
                <a16:creationId xmlns:a16="http://schemas.microsoft.com/office/drawing/2014/main" id="{81E1F9E0-B9E2-4F89-9514-DD8F3099A7E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03337" y="2373931"/>
            <a:ext cx="747976" cy="957348"/>
            <a:chOff x="2854" y="897"/>
            <a:chExt cx="1972" cy="2524"/>
          </a:xfrm>
        </p:grpSpPr>
        <p:sp>
          <p:nvSpPr>
            <p:cNvPr id="123" name="Freeform 5">
              <a:extLst>
                <a:ext uri="{FF2B5EF4-FFF2-40B4-BE49-F238E27FC236}">
                  <a16:creationId xmlns:a16="http://schemas.microsoft.com/office/drawing/2014/main" id="{F890895F-4610-4A11-ACD8-34B0B4248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4" y="2449"/>
              <a:ext cx="1972" cy="972"/>
            </a:xfrm>
            <a:custGeom>
              <a:avLst/>
              <a:gdLst>
                <a:gd name="T0" fmla="*/ 826 w 1047"/>
                <a:gd name="T1" fmla="*/ 88 h 517"/>
                <a:gd name="T2" fmla="*/ 530 w 1047"/>
                <a:gd name="T3" fmla="*/ 4 h 517"/>
                <a:gd name="T4" fmla="*/ 530 w 1047"/>
                <a:gd name="T5" fmla="*/ 0 h 517"/>
                <a:gd name="T6" fmla="*/ 524 w 1047"/>
                <a:gd name="T7" fmla="*/ 2 h 517"/>
                <a:gd name="T8" fmla="*/ 517 w 1047"/>
                <a:gd name="T9" fmla="*/ 0 h 517"/>
                <a:gd name="T10" fmla="*/ 517 w 1047"/>
                <a:gd name="T11" fmla="*/ 4 h 517"/>
                <a:gd name="T12" fmla="*/ 222 w 1047"/>
                <a:gd name="T13" fmla="*/ 88 h 517"/>
                <a:gd name="T14" fmla="*/ 0 w 1047"/>
                <a:gd name="T15" fmla="*/ 382 h 517"/>
                <a:gd name="T16" fmla="*/ 0 w 1047"/>
                <a:gd name="T17" fmla="*/ 517 h 517"/>
                <a:gd name="T18" fmla="*/ 517 w 1047"/>
                <a:gd name="T19" fmla="*/ 517 h 517"/>
                <a:gd name="T20" fmla="*/ 530 w 1047"/>
                <a:gd name="T21" fmla="*/ 517 h 517"/>
                <a:gd name="T22" fmla="*/ 1047 w 1047"/>
                <a:gd name="T23" fmla="*/ 517 h 517"/>
                <a:gd name="T24" fmla="*/ 1047 w 1047"/>
                <a:gd name="T25" fmla="*/ 382 h 517"/>
                <a:gd name="T26" fmla="*/ 826 w 1047"/>
                <a:gd name="T27" fmla="*/ 88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7" h="517">
                  <a:moveTo>
                    <a:pt x="826" y="88"/>
                  </a:moveTo>
                  <a:cubicBezTo>
                    <a:pt x="530" y="4"/>
                    <a:pt x="530" y="4"/>
                    <a:pt x="530" y="4"/>
                  </a:cubicBezTo>
                  <a:cubicBezTo>
                    <a:pt x="530" y="0"/>
                    <a:pt x="530" y="0"/>
                    <a:pt x="530" y="0"/>
                  </a:cubicBezTo>
                  <a:cubicBezTo>
                    <a:pt x="524" y="2"/>
                    <a:pt x="524" y="2"/>
                    <a:pt x="524" y="2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17" y="4"/>
                    <a:pt x="517" y="4"/>
                    <a:pt x="517" y="4"/>
                  </a:cubicBezTo>
                  <a:cubicBezTo>
                    <a:pt x="222" y="88"/>
                    <a:pt x="222" y="88"/>
                    <a:pt x="222" y="88"/>
                  </a:cubicBezTo>
                  <a:cubicBezTo>
                    <a:pt x="91" y="125"/>
                    <a:pt x="0" y="245"/>
                    <a:pt x="0" y="382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30" y="517"/>
                    <a:pt x="530" y="517"/>
                    <a:pt x="530" y="517"/>
                  </a:cubicBezTo>
                  <a:cubicBezTo>
                    <a:pt x="1047" y="517"/>
                    <a:pt x="1047" y="517"/>
                    <a:pt x="1047" y="517"/>
                  </a:cubicBezTo>
                  <a:cubicBezTo>
                    <a:pt x="1047" y="382"/>
                    <a:pt x="1047" y="382"/>
                    <a:pt x="1047" y="382"/>
                  </a:cubicBezTo>
                  <a:cubicBezTo>
                    <a:pt x="1047" y="245"/>
                    <a:pt x="957" y="125"/>
                    <a:pt x="826" y="88"/>
                  </a:cubicBezTo>
                  <a:close/>
                </a:path>
              </a:pathLst>
            </a:custGeom>
            <a:solidFill>
              <a:srgbClr val="0074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4" name="Freeform 6">
              <a:extLst>
                <a:ext uri="{FF2B5EF4-FFF2-40B4-BE49-F238E27FC236}">
                  <a16:creationId xmlns:a16="http://schemas.microsoft.com/office/drawing/2014/main" id="{67AD8435-BBD8-4DD7-902F-00E5D9712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" y="2802"/>
              <a:ext cx="908" cy="258"/>
            </a:xfrm>
            <a:custGeom>
              <a:avLst/>
              <a:gdLst>
                <a:gd name="T0" fmla="*/ 482 w 482"/>
                <a:gd name="T1" fmla="*/ 3 h 137"/>
                <a:gd name="T2" fmla="*/ 161 w 482"/>
                <a:gd name="T3" fmla="*/ 103 h 137"/>
                <a:gd name="T4" fmla="*/ 0 w 482"/>
                <a:gd name="T5" fmla="*/ 0 h 137"/>
                <a:gd name="T6" fmla="*/ 155 w 482"/>
                <a:gd name="T7" fmla="*/ 81 h 137"/>
                <a:gd name="T8" fmla="*/ 482 w 482"/>
                <a:gd name="T9" fmla="*/ 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2" h="137">
                  <a:moveTo>
                    <a:pt x="482" y="3"/>
                  </a:moveTo>
                  <a:cubicBezTo>
                    <a:pt x="412" y="86"/>
                    <a:pt x="285" y="137"/>
                    <a:pt x="161" y="103"/>
                  </a:cubicBezTo>
                  <a:cubicBezTo>
                    <a:pt x="91" y="84"/>
                    <a:pt x="37" y="46"/>
                    <a:pt x="0" y="0"/>
                  </a:cubicBezTo>
                  <a:cubicBezTo>
                    <a:pt x="39" y="36"/>
                    <a:pt x="91" y="65"/>
                    <a:pt x="155" y="81"/>
                  </a:cubicBezTo>
                  <a:cubicBezTo>
                    <a:pt x="277" y="111"/>
                    <a:pt x="403" y="72"/>
                    <a:pt x="482" y="3"/>
                  </a:cubicBez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5" name="Freeform 7">
              <a:extLst>
                <a:ext uri="{FF2B5EF4-FFF2-40B4-BE49-F238E27FC236}">
                  <a16:creationId xmlns:a16="http://schemas.microsoft.com/office/drawing/2014/main" id="{18E60468-F53A-44E2-8E0F-1C49D508B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0" y="1866"/>
              <a:ext cx="1260" cy="1145"/>
            </a:xfrm>
            <a:custGeom>
              <a:avLst/>
              <a:gdLst>
                <a:gd name="T0" fmla="*/ 669 w 669"/>
                <a:gd name="T1" fmla="*/ 347 h 609"/>
                <a:gd name="T2" fmla="*/ 590 w 669"/>
                <a:gd name="T3" fmla="*/ 501 h 609"/>
                <a:gd name="T4" fmla="*/ 263 w 669"/>
                <a:gd name="T5" fmla="*/ 579 h 609"/>
                <a:gd name="T6" fmla="*/ 108 w 669"/>
                <a:gd name="T7" fmla="*/ 498 h 609"/>
                <a:gd name="T8" fmla="*/ 26 w 669"/>
                <a:gd name="T9" fmla="*/ 233 h 609"/>
                <a:gd name="T10" fmla="*/ 325 w 669"/>
                <a:gd name="T11" fmla="*/ 9 h 609"/>
                <a:gd name="T12" fmla="*/ 669 w 669"/>
                <a:gd name="T13" fmla="*/ 347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9" h="609">
                  <a:moveTo>
                    <a:pt x="669" y="347"/>
                  </a:moveTo>
                  <a:cubicBezTo>
                    <a:pt x="669" y="404"/>
                    <a:pt x="639" y="459"/>
                    <a:pt x="590" y="501"/>
                  </a:cubicBezTo>
                  <a:cubicBezTo>
                    <a:pt x="511" y="570"/>
                    <a:pt x="385" y="609"/>
                    <a:pt x="263" y="579"/>
                  </a:cubicBezTo>
                  <a:cubicBezTo>
                    <a:pt x="199" y="563"/>
                    <a:pt x="147" y="534"/>
                    <a:pt x="108" y="498"/>
                  </a:cubicBezTo>
                  <a:cubicBezTo>
                    <a:pt x="27" y="423"/>
                    <a:pt x="0" y="317"/>
                    <a:pt x="26" y="233"/>
                  </a:cubicBezTo>
                  <a:cubicBezTo>
                    <a:pt x="62" y="114"/>
                    <a:pt x="232" y="17"/>
                    <a:pt x="325" y="9"/>
                  </a:cubicBezTo>
                  <a:cubicBezTo>
                    <a:pt x="442" y="0"/>
                    <a:pt x="669" y="62"/>
                    <a:pt x="669" y="347"/>
                  </a:cubicBezTo>
                  <a:close/>
                </a:path>
              </a:pathLst>
            </a:custGeom>
            <a:solidFill>
              <a:srgbClr val="0074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6" name="Freeform 8">
              <a:extLst>
                <a:ext uri="{FF2B5EF4-FFF2-40B4-BE49-F238E27FC236}">
                  <a16:creationId xmlns:a16="http://schemas.microsoft.com/office/drawing/2014/main" id="{D3F29266-D3E7-49A9-8B9C-D7141B07D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2103"/>
              <a:ext cx="520" cy="667"/>
            </a:xfrm>
            <a:custGeom>
              <a:avLst/>
              <a:gdLst>
                <a:gd name="T0" fmla="*/ 276 w 276"/>
                <a:gd name="T1" fmla="*/ 0 h 355"/>
                <a:gd name="T2" fmla="*/ 276 w 276"/>
                <a:gd name="T3" fmla="*/ 171 h 355"/>
                <a:gd name="T4" fmla="*/ 270 w 276"/>
                <a:gd name="T5" fmla="*/ 207 h 355"/>
                <a:gd name="T6" fmla="*/ 246 w 276"/>
                <a:gd name="T7" fmla="*/ 250 h 355"/>
                <a:gd name="T8" fmla="*/ 163 w 276"/>
                <a:gd name="T9" fmla="*/ 340 h 355"/>
                <a:gd name="T10" fmla="*/ 113 w 276"/>
                <a:gd name="T11" fmla="*/ 340 h 355"/>
                <a:gd name="T12" fmla="*/ 30 w 276"/>
                <a:gd name="T13" fmla="*/ 250 h 355"/>
                <a:gd name="T14" fmla="*/ 0 w 276"/>
                <a:gd name="T15" fmla="*/ 171 h 355"/>
                <a:gd name="T16" fmla="*/ 0 w 276"/>
                <a:gd name="T17" fmla="*/ 0 h 355"/>
                <a:gd name="T18" fmla="*/ 276 w 276"/>
                <a:gd name="T19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355">
                  <a:moveTo>
                    <a:pt x="276" y="0"/>
                  </a:moveTo>
                  <a:cubicBezTo>
                    <a:pt x="276" y="171"/>
                    <a:pt x="276" y="171"/>
                    <a:pt x="276" y="171"/>
                  </a:cubicBezTo>
                  <a:cubicBezTo>
                    <a:pt x="276" y="183"/>
                    <a:pt x="274" y="195"/>
                    <a:pt x="270" y="207"/>
                  </a:cubicBezTo>
                  <a:cubicBezTo>
                    <a:pt x="265" y="223"/>
                    <a:pt x="257" y="237"/>
                    <a:pt x="246" y="250"/>
                  </a:cubicBezTo>
                  <a:cubicBezTo>
                    <a:pt x="163" y="340"/>
                    <a:pt x="163" y="340"/>
                    <a:pt x="163" y="340"/>
                  </a:cubicBezTo>
                  <a:cubicBezTo>
                    <a:pt x="150" y="355"/>
                    <a:pt x="127" y="355"/>
                    <a:pt x="113" y="340"/>
                  </a:cubicBezTo>
                  <a:cubicBezTo>
                    <a:pt x="30" y="250"/>
                    <a:pt x="30" y="250"/>
                    <a:pt x="30" y="250"/>
                  </a:cubicBezTo>
                  <a:cubicBezTo>
                    <a:pt x="11" y="228"/>
                    <a:pt x="0" y="200"/>
                    <a:pt x="0" y="1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7" name="Freeform 9">
              <a:extLst>
                <a:ext uri="{FF2B5EF4-FFF2-40B4-BE49-F238E27FC236}">
                  <a16:creationId xmlns:a16="http://schemas.microsoft.com/office/drawing/2014/main" id="{1F68E5C3-A5F6-47E5-B891-B1E716086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2227"/>
              <a:ext cx="520" cy="353"/>
            </a:xfrm>
            <a:custGeom>
              <a:avLst/>
              <a:gdLst>
                <a:gd name="T0" fmla="*/ 276 w 276"/>
                <a:gd name="T1" fmla="*/ 0 h 188"/>
                <a:gd name="T2" fmla="*/ 276 w 276"/>
                <a:gd name="T3" fmla="*/ 105 h 188"/>
                <a:gd name="T4" fmla="*/ 270 w 276"/>
                <a:gd name="T5" fmla="*/ 141 h 188"/>
                <a:gd name="T6" fmla="*/ 227 w 276"/>
                <a:gd name="T7" fmla="*/ 164 h 188"/>
                <a:gd name="T8" fmla="*/ 0 w 276"/>
                <a:gd name="T9" fmla="*/ 57 h 188"/>
                <a:gd name="T10" fmla="*/ 276 w 276"/>
                <a:gd name="T11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188">
                  <a:moveTo>
                    <a:pt x="276" y="0"/>
                  </a:moveTo>
                  <a:cubicBezTo>
                    <a:pt x="276" y="105"/>
                    <a:pt x="276" y="105"/>
                    <a:pt x="276" y="105"/>
                  </a:cubicBezTo>
                  <a:cubicBezTo>
                    <a:pt x="276" y="117"/>
                    <a:pt x="274" y="129"/>
                    <a:pt x="270" y="141"/>
                  </a:cubicBezTo>
                  <a:cubicBezTo>
                    <a:pt x="261" y="153"/>
                    <a:pt x="247" y="162"/>
                    <a:pt x="227" y="164"/>
                  </a:cubicBezTo>
                  <a:cubicBezTo>
                    <a:pt x="72" y="188"/>
                    <a:pt x="0" y="57"/>
                    <a:pt x="0" y="57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DCC3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8" name="Freeform 10">
              <a:extLst>
                <a:ext uri="{FF2B5EF4-FFF2-40B4-BE49-F238E27FC236}">
                  <a16:creationId xmlns:a16="http://schemas.microsoft.com/office/drawing/2014/main" id="{50625635-583B-4A7E-96E8-8A7F0D6D8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" y="1760"/>
              <a:ext cx="198" cy="249"/>
            </a:xfrm>
            <a:custGeom>
              <a:avLst/>
              <a:gdLst>
                <a:gd name="T0" fmla="*/ 53 w 105"/>
                <a:gd name="T1" fmla="*/ 0 h 132"/>
                <a:gd name="T2" fmla="*/ 72 w 105"/>
                <a:gd name="T3" fmla="*/ 67 h 132"/>
                <a:gd name="T4" fmla="*/ 11 w 105"/>
                <a:gd name="T5" fmla="*/ 132 h 132"/>
                <a:gd name="T6" fmla="*/ 0 w 105"/>
                <a:gd name="T7" fmla="*/ 53 h 132"/>
                <a:gd name="T8" fmla="*/ 53 w 10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32">
                  <a:moveTo>
                    <a:pt x="53" y="0"/>
                  </a:moveTo>
                  <a:cubicBezTo>
                    <a:pt x="53" y="0"/>
                    <a:pt x="105" y="9"/>
                    <a:pt x="72" y="67"/>
                  </a:cubicBezTo>
                  <a:cubicBezTo>
                    <a:pt x="38" y="125"/>
                    <a:pt x="11" y="132"/>
                    <a:pt x="11" y="132"/>
                  </a:cubicBezTo>
                  <a:cubicBezTo>
                    <a:pt x="0" y="53"/>
                    <a:pt x="0" y="53"/>
                    <a:pt x="0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29" name="Freeform 11">
              <a:extLst>
                <a:ext uri="{FF2B5EF4-FFF2-40B4-BE49-F238E27FC236}">
                  <a16:creationId xmlns:a16="http://schemas.microsoft.com/office/drawing/2014/main" id="{BAF1A3CC-D39F-477B-900D-31E111D9D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" y="1123"/>
              <a:ext cx="1027" cy="1326"/>
            </a:xfrm>
            <a:custGeom>
              <a:avLst/>
              <a:gdLst>
                <a:gd name="T0" fmla="*/ 523 w 545"/>
                <a:gd name="T1" fmla="*/ 148 h 705"/>
                <a:gd name="T2" fmla="*/ 420 w 545"/>
                <a:gd name="T3" fmla="*/ 35 h 705"/>
                <a:gd name="T4" fmla="*/ 273 w 545"/>
                <a:gd name="T5" fmla="*/ 0 h 705"/>
                <a:gd name="T6" fmla="*/ 125 w 545"/>
                <a:gd name="T7" fmla="*/ 35 h 705"/>
                <a:gd name="T8" fmla="*/ 23 w 545"/>
                <a:gd name="T9" fmla="*/ 148 h 705"/>
                <a:gd name="T10" fmla="*/ 23 w 545"/>
                <a:gd name="T11" fmla="*/ 353 h 705"/>
                <a:gd name="T12" fmla="*/ 114 w 545"/>
                <a:gd name="T13" fmla="*/ 603 h 705"/>
                <a:gd name="T14" fmla="*/ 273 w 545"/>
                <a:gd name="T15" fmla="*/ 705 h 705"/>
                <a:gd name="T16" fmla="*/ 432 w 545"/>
                <a:gd name="T17" fmla="*/ 603 h 705"/>
                <a:gd name="T18" fmla="*/ 523 w 545"/>
                <a:gd name="T19" fmla="*/ 353 h 705"/>
                <a:gd name="T20" fmla="*/ 523 w 545"/>
                <a:gd name="T21" fmla="*/ 148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5" h="705">
                  <a:moveTo>
                    <a:pt x="523" y="148"/>
                  </a:moveTo>
                  <a:cubicBezTo>
                    <a:pt x="500" y="80"/>
                    <a:pt x="466" y="57"/>
                    <a:pt x="420" y="35"/>
                  </a:cubicBezTo>
                  <a:cubicBezTo>
                    <a:pt x="352" y="0"/>
                    <a:pt x="273" y="0"/>
                    <a:pt x="273" y="0"/>
                  </a:cubicBezTo>
                  <a:cubicBezTo>
                    <a:pt x="273" y="0"/>
                    <a:pt x="193" y="0"/>
                    <a:pt x="125" y="35"/>
                  </a:cubicBezTo>
                  <a:cubicBezTo>
                    <a:pt x="79" y="57"/>
                    <a:pt x="45" y="80"/>
                    <a:pt x="23" y="148"/>
                  </a:cubicBezTo>
                  <a:cubicBezTo>
                    <a:pt x="0" y="216"/>
                    <a:pt x="23" y="353"/>
                    <a:pt x="23" y="353"/>
                  </a:cubicBezTo>
                  <a:cubicBezTo>
                    <a:pt x="23" y="353"/>
                    <a:pt x="49" y="505"/>
                    <a:pt x="114" y="603"/>
                  </a:cubicBezTo>
                  <a:cubicBezTo>
                    <a:pt x="182" y="705"/>
                    <a:pt x="273" y="705"/>
                    <a:pt x="273" y="705"/>
                  </a:cubicBezTo>
                  <a:cubicBezTo>
                    <a:pt x="273" y="705"/>
                    <a:pt x="364" y="705"/>
                    <a:pt x="432" y="603"/>
                  </a:cubicBezTo>
                  <a:cubicBezTo>
                    <a:pt x="497" y="505"/>
                    <a:pt x="523" y="353"/>
                    <a:pt x="523" y="353"/>
                  </a:cubicBezTo>
                  <a:cubicBezTo>
                    <a:pt x="523" y="353"/>
                    <a:pt x="545" y="216"/>
                    <a:pt x="523" y="148"/>
                  </a:cubicBez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30" name="Freeform 12">
              <a:extLst>
                <a:ext uri="{FF2B5EF4-FFF2-40B4-BE49-F238E27FC236}">
                  <a16:creationId xmlns:a16="http://schemas.microsoft.com/office/drawing/2014/main" id="{83D3D5BE-546D-46D6-8EB6-1F26A4A47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" y="1760"/>
              <a:ext cx="200" cy="249"/>
            </a:xfrm>
            <a:custGeom>
              <a:avLst/>
              <a:gdLst>
                <a:gd name="T0" fmla="*/ 53 w 106"/>
                <a:gd name="T1" fmla="*/ 0 h 132"/>
                <a:gd name="T2" fmla="*/ 34 w 106"/>
                <a:gd name="T3" fmla="*/ 67 h 132"/>
                <a:gd name="T4" fmla="*/ 94 w 106"/>
                <a:gd name="T5" fmla="*/ 132 h 132"/>
                <a:gd name="T6" fmla="*/ 106 w 106"/>
                <a:gd name="T7" fmla="*/ 53 h 132"/>
                <a:gd name="T8" fmla="*/ 53 w 106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32">
                  <a:moveTo>
                    <a:pt x="53" y="0"/>
                  </a:moveTo>
                  <a:cubicBezTo>
                    <a:pt x="53" y="0"/>
                    <a:pt x="0" y="9"/>
                    <a:pt x="34" y="67"/>
                  </a:cubicBezTo>
                  <a:cubicBezTo>
                    <a:pt x="67" y="125"/>
                    <a:pt x="94" y="132"/>
                    <a:pt x="94" y="132"/>
                  </a:cubicBezTo>
                  <a:cubicBezTo>
                    <a:pt x="106" y="53"/>
                    <a:pt x="106" y="53"/>
                    <a:pt x="106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31" name="Freeform 13">
              <a:extLst>
                <a:ext uri="{FF2B5EF4-FFF2-40B4-BE49-F238E27FC236}">
                  <a16:creationId xmlns:a16="http://schemas.microsoft.com/office/drawing/2014/main" id="{6EB90332-4310-4BB1-AD50-06BC7DD08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" y="897"/>
              <a:ext cx="1170" cy="1021"/>
            </a:xfrm>
            <a:custGeom>
              <a:avLst/>
              <a:gdLst>
                <a:gd name="T0" fmla="*/ 618 w 621"/>
                <a:gd name="T1" fmla="*/ 143 h 543"/>
                <a:gd name="T2" fmla="*/ 509 w 621"/>
                <a:gd name="T3" fmla="*/ 109 h 543"/>
                <a:gd name="T4" fmla="*/ 429 w 621"/>
                <a:gd name="T5" fmla="*/ 102 h 543"/>
                <a:gd name="T6" fmla="*/ 429 w 621"/>
                <a:gd name="T7" fmla="*/ 101 h 543"/>
                <a:gd name="T8" fmla="*/ 460 w 621"/>
                <a:gd name="T9" fmla="*/ 44 h 543"/>
                <a:gd name="T10" fmla="*/ 456 w 621"/>
                <a:gd name="T11" fmla="*/ 37 h 543"/>
                <a:gd name="T12" fmla="*/ 342 w 621"/>
                <a:gd name="T13" fmla="*/ 62 h 543"/>
                <a:gd name="T14" fmla="*/ 303 w 621"/>
                <a:gd name="T15" fmla="*/ 77 h 543"/>
                <a:gd name="T16" fmla="*/ 303 w 621"/>
                <a:gd name="T17" fmla="*/ 77 h 543"/>
                <a:gd name="T18" fmla="*/ 327 w 621"/>
                <a:gd name="T19" fmla="*/ 5 h 543"/>
                <a:gd name="T20" fmla="*/ 323 w 621"/>
                <a:gd name="T21" fmla="*/ 1 h 543"/>
                <a:gd name="T22" fmla="*/ 198 w 621"/>
                <a:gd name="T23" fmla="*/ 58 h 543"/>
                <a:gd name="T24" fmla="*/ 105 w 621"/>
                <a:gd name="T25" fmla="*/ 170 h 543"/>
                <a:gd name="T26" fmla="*/ 93 w 621"/>
                <a:gd name="T27" fmla="*/ 188 h 543"/>
                <a:gd name="T28" fmla="*/ 95 w 621"/>
                <a:gd name="T29" fmla="*/ 166 h 543"/>
                <a:gd name="T30" fmla="*/ 103 w 621"/>
                <a:gd name="T31" fmla="*/ 148 h 543"/>
                <a:gd name="T32" fmla="*/ 98 w 621"/>
                <a:gd name="T33" fmla="*/ 141 h 543"/>
                <a:gd name="T34" fmla="*/ 30 w 621"/>
                <a:gd name="T35" fmla="*/ 200 h 543"/>
                <a:gd name="T36" fmla="*/ 0 w 621"/>
                <a:gd name="T37" fmla="*/ 325 h 543"/>
                <a:gd name="T38" fmla="*/ 35 w 621"/>
                <a:gd name="T39" fmla="*/ 461 h 543"/>
                <a:gd name="T40" fmla="*/ 35 w 621"/>
                <a:gd name="T41" fmla="*/ 462 h 543"/>
                <a:gd name="T42" fmla="*/ 58 w 621"/>
                <a:gd name="T43" fmla="*/ 537 h 543"/>
                <a:gd name="T44" fmla="*/ 68 w 621"/>
                <a:gd name="T45" fmla="*/ 537 h 543"/>
                <a:gd name="T46" fmla="*/ 70 w 621"/>
                <a:gd name="T47" fmla="*/ 495 h 543"/>
                <a:gd name="T48" fmla="*/ 95 w 621"/>
                <a:gd name="T49" fmla="*/ 446 h 543"/>
                <a:gd name="T50" fmla="*/ 95 w 621"/>
                <a:gd name="T51" fmla="*/ 446 h 543"/>
                <a:gd name="T52" fmla="*/ 93 w 621"/>
                <a:gd name="T53" fmla="*/ 393 h 543"/>
                <a:gd name="T54" fmla="*/ 112 w 621"/>
                <a:gd name="T55" fmla="*/ 291 h 543"/>
                <a:gd name="T56" fmla="*/ 294 w 621"/>
                <a:gd name="T57" fmla="*/ 234 h 543"/>
                <a:gd name="T58" fmla="*/ 476 w 621"/>
                <a:gd name="T59" fmla="*/ 291 h 543"/>
                <a:gd name="T60" fmla="*/ 495 w 621"/>
                <a:gd name="T61" fmla="*/ 393 h 543"/>
                <a:gd name="T62" fmla="*/ 493 w 621"/>
                <a:gd name="T63" fmla="*/ 446 h 543"/>
                <a:gd name="T64" fmla="*/ 519 w 621"/>
                <a:gd name="T65" fmla="*/ 495 h 543"/>
                <a:gd name="T66" fmla="*/ 521 w 621"/>
                <a:gd name="T67" fmla="*/ 537 h 543"/>
                <a:gd name="T68" fmla="*/ 530 w 621"/>
                <a:gd name="T69" fmla="*/ 538 h 543"/>
                <a:gd name="T70" fmla="*/ 553 w 621"/>
                <a:gd name="T71" fmla="*/ 461 h 543"/>
                <a:gd name="T72" fmla="*/ 588 w 621"/>
                <a:gd name="T73" fmla="*/ 325 h 543"/>
                <a:gd name="T74" fmla="*/ 573 w 621"/>
                <a:gd name="T75" fmla="*/ 236 h 543"/>
                <a:gd name="T76" fmla="*/ 573 w 621"/>
                <a:gd name="T77" fmla="*/ 235 h 543"/>
                <a:gd name="T78" fmla="*/ 581 w 621"/>
                <a:gd name="T79" fmla="*/ 173 h 543"/>
                <a:gd name="T80" fmla="*/ 617 w 621"/>
                <a:gd name="T81" fmla="*/ 149 h 543"/>
                <a:gd name="T82" fmla="*/ 618 w 621"/>
                <a:gd name="T83" fmla="*/ 143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1" h="543">
                  <a:moveTo>
                    <a:pt x="618" y="143"/>
                  </a:moveTo>
                  <a:cubicBezTo>
                    <a:pt x="598" y="135"/>
                    <a:pt x="559" y="120"/>
                    <a:pt x="509" y="109"/>
                  </a:cubicBezTo>
                  <a:cubicBezTo>
                    <a:pt x="481" y="102"/>
                    <a:pt x="453" y="101"/>
                    <a:pt x="429" y="102"/>
                  </a:cubicBezTo>
                  <a:cubicBezTo>
                    <a:pt x="429" y="102"/>
                    <a:pt x="429" y="101"/>
                    <a:pt x="429" y="101"/>
                  </a:cubicBezTo>
                  <a:cubicBezTo>
                    <a:pt x="433" y="75"/>
                    <a:pt x="450" y="55"/>
                    <a:pt x="460" y="44"/>
                  </a:cubicBezTo>
                  <a:cubicBezTo>
                    <a:pt x="462" y="41"/>
                    <a:pt x="460" y="37"/>
                    <a:pt x="456" y="37"/>
                  </a:cubicBezTo>
                  <a:cubicBezTo>
                    <a:pt x="437" y="40"/>
                    <a:pt x="393" y="47"/>
                    <a:pt x="342" y="62"/>
                  </a:cubicBezTo>
                  <a:cubicBezTo>
                    <a:pt x="328" y="66"/>
                    <a:pt x="315" y="72"/>
                    <a:pt x="303" y="77"/>
                  </a:cubicBezTo>
                  <a:cubicBezTo>
                    <a:pt x="303" y="77"/>
                    <a:pt x="303" y="77"/>
                    <a:pt x="303" y="77"/>
                  </a:cubicBezTo>
                  <a:cubicBezTo>
                    <a:pt x="302" y="46"/>
                    <a:pt x="318" y="18"/>
                    <a:pt x="327" y="5"/>
                  </a:cubicBezTo>
                  <a:cubicBezTo>
                    <a:pt x="328" y="3"/>
                    <a:pt x="326" y="0"/>
                    <a:pt x="323" y="1"/>
                  </a:cubicBezTo>
                  <a:cubicBezTo>
                    <a:pt x="305" y="7"/>
                    <a:pt x="249" y="21"/>
                    <a:pt x="198" y="58"/>
                  </a:cubicBezTo>
                  <a:cubicBezTo>
                    <a:pt x="157" y="88"/>
                    <a:pt x="125" y="135"/>
                    <a:pt x="105" y="170"/>
                  </a:cubicBezTo>
                  <a:cubicBezTo>
                    <a:pt x="97" y="180"/>
                    <a:pt x="94" y="187"/>
                    <a:pt x="93" y="188"/>
                  </a:cubicBezTo>
                  <a:cubicBezTo>
                    <a:pt x="90" y="198"/>
                    <a:pt x="87" y="192"/>
                    <a:pt x="95" y="166"/>
                  </a:cubicBezTo>
                  <a:cubicBezTo>
                    <a:pt x="96" y="161"/>
                    <a:pt x="100" y="154"/>
                    <a:pt x="103" y="148"/>
                  </a:cubicBezTo>
                  <a:cubicBezTo>
                    <a:pt x="105" y="144"/>
                    <a:pt x="101" y="140"/>
                    <a:pt x="98" y="141"/>
                  </a:cubicBezTo>
                  <a:cubicBezTo>
                    <a:pt x="77" y="146"/>
                    <a:pt x="49" y="167"/>
                    <a:pt x="30" y="200"/>
                  </a:cubicBezTo>
                  <a:cubicBezTo>
                    <a:pt x="15" y="229"/>
                    <a:pt x="0" y="267"/>
                    <a:pt x="0" y="325"/>
                  </a:cubicBezTo>
                  <a:cubicBezTo>
                    <a:pt x="0" y="400"/>
                    <a:pt x="31" y="455"/>
                    <a:pt x="35" y="461"/>
                  </a:cubicBezTo>
                  <a:cubicBezTo>
                    <a:pt x="35" y="461"/>
                    <a:pt x="35" y="462"/>
                    <a:pt x="35" y="462"/>
                  </a:cubicBezTo>
                  <a:cubicBezTo>
                    <a:pt x="58" y="537"/>
                    <a:pt x="58" y="537"/>
                    <a:pt x="58" y="537"/>
                  </a:cubicBezTo>
                  <a:cubicBezTo>
                    <a:pt x="60" y="542"/>
                    <a:pt x="67" y="542"/>
                    <a:pt x="68" y="537"/>
                  </a:cubicBezTo>
                  <a:cubicBezTo>
                    <a:pt x="69" y="525"/>
                    <a:pt x="70" y="511"/>
                    <a:pt x="70" y="495"/>
                  </a:cubicBezTo>
                  <a:cubicBezTo>
                    <a:pt x="70" y="464"/>
                    <a:pt x="92" y="448"/>
                    <a:pt x="95" y="446"/>
                  </a:cubicBezTo>
                  <a:cubicBezTo>
                    <a:pt x="95" y="446"/>
                    <a:pt x="95" y="446"/>
                    <a:pt x="95" y="446"/>
                  </a:cubicBezTo>
                  <a:cubicBezTo>
                    <a:pt x="98" y="443"/>
                    <a:pt x="114" y="425"/>
                    <a:pt x="93" y="393"/>
                  </a:cubicBezTo>
                  <a:cubicBezTo>
                    <a:pt x="70" y="359"/>
                    <a:pt x="84" y="323"/>
                    <a:pt x="112" y="291"/>
                  </a:cubicBezTo>
                  <a:cubicBezTo>
                    <a:pt x="162" y="233"/>
                    <a:pt x="244" y="235"/>
                    <a:pt x="294" y="234"/>
                  </a:cubicBezTo>
                  <a:cubicBezTo>
                    <a:pt x="344" y="235"/>
                    <a:pt x="426" y="233"/>
                    <a:pt x="476" y="291"/>
                  </a:cubicBezTo>
                  <a:cubicBezTo>
                    <a:pt x="504" y="323"/>
                    <a:pt x="519" y="359"/>
                    <a:pt x="495" y="393"/>
                  </a:cubicBezTo>
                  <a:cubicBezTo>
                    <a:pt x="472" y="427"/>
                    <a:pt x="493" y="446"/>
                    <a:pt x="493" y="446"/>
                  </a:cubicBezTo>
                  <a:cubicBezTo>
                    <a:pt x="493" y="446"/>
                    <a:pt x="519" y="461"/>
                    <a:pt x="519" y="495"/>
                  </a:cubicBezTo>
                  <a:cubicBezTo>
                    <a:pt x="519" y="511"/>
                    <a:pt x="520" y="526"/>
                    <a:pt x="521" y="537"/>
                  </a:cubicBezTo>
                  <a:cubicBezTo>
                    <a:pt x="521" y="542"/>
                    <a:pt x="528" y="543"/>
                    <a:pt x="530" y="538"/>
                  </a:cubicBezTo>
                  <a:cubicBezTo>
                    <a:pt x="553" y="461"/>
                    <a:pt x="553" y="461"/>
                    <a:pt x="553" y="461"/>
                  </a:cubicBezTo>
                  <a:cubicBezTo>
                    <a:pt x="553" y="461"/>
                    <a:pt x="588" y="405"/>
                    <a:pt x="588" y="325"/>
                  </a:cubicBezTo>
                  <a:cubicBezTo>
                    <a:pt x="588" y="288"/>
                    <a:pt x="581" y="259"/>
                    <a:pt x="573" y="236"/>
                  </a:cubicBezTo>
                  <a:cubicBezTo>
                    <a:pt x="573" y="235"/>
                    <a:pt x="573" y="235"/>
                    <a:pt x="573" y="235"/>
                  </a:cubicBezTo>
                  <a:cubicBezTo>
                    <a:pt x="569" y="222"/>
                    <a:pt x="565" y="195"/>
                    <a:pt x="581" y="173"/>
                  </a:cubicBezTo>
                  <a:cubicBezTo>
                    <a:pt x="593" y="156"/>
                    <a:pt x="607" y="151"/>
                    <a:pt x="617" y="149"/>
                  </a:cubicBezTo>
                  <a:cubicBezTo>
                    <a:pt x="621" y="149"/>
                    <a:pt x="621" y="144"/>
                    <a:pt x="618" y="143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32" name="Freeform 14">
              <a:extLst>
                <a:ext uri="{FF2B5EF4-FFF2-40B4-BE49-F238E27FC236}">
                  <a16:creationId xmlns:a16="http://schemas.microsoft.com/office/drawing/2014/main" id="{AC75F62A-6BDF-452A-B8D9-05F004AF2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" y="2765"/>
              <a:ext cx="49" cy="656"/>
            </a:xfrm>
            <a:custGeom>
              <a:avLst/>
              <a:gdLst>
                <a:gd name="T0" fmla="*/ 26 w 26"/>
                <a:gd name="T1" fmla="*/ 349 h 349"/>
                <a:gd name="T2" fmla="*/ 0 w 26"/>
                <a:gd name="T3" fmla="*/ 349 h 349"/>
                <a:gd name="T4" fmla="*/ 0 w 26"/>
                <a:gd name="T5" fmla="*/ 12 h 349"/>
                <a:gd name="T6" fmla="*/ 12 w 26"/>
                <a:gd name="T7" fmla="*/ 0 h 349"/>
                <a:gd name="T8" fmla="*/ 14 w 26"/>
                <a:gd name="T9" fmla="*/ 0 h 349"/>
                <a:gd name="T10" fmla="*/ 26 w 26"/>
                <a:gd name="T11" fmla="*/ 12 h 349"/>
                <a:gd name="T12" fmla="*/ 26 w 26"/>
                <a:gd name="T13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49">
                  <a:moveTo>
                    <a:pt x="26" y="349"/>
                  </a:moveTo>
                  <a:cubicBezTo>
                    <a:pt x="0" y="349"/>
                    <a:pt x="0" y="349"/>
                    <a:pt x="0" y="34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1" y="0"/>
                    <a:pt x="26" y="5"/>
                    <a:pt x="26" y="12"/>
                  </a:cubicBezTo>
                  <a:lnTo>
                    <a:pt x="26" y="3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33" name="Freeform 15">
              <a:extLst>
                <a:ext uri="{FF2B5EF4-FFF2-40B4-BE49-F238E27FC236}">
                  <a16:creationId xmlns:a16="http://schemas.microsoft.com/office/drawing/2014/main" id="{A8F9904C-FB81-4101-BA23-32691199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" y="2765"/>
              <a:ext cx="49" cy="656"/>
            </a:xfrm>
            <a:custGeom>
              <a:avLst/>
              <a:gdLst>
                <a:gd name="T0" fmla="*/ 26 w 26"/>
                <a:gd name="T1" fmla="*/ 349 h 349"/>
                <a:gd name="T2" fmla="*/ 0 w 26"/>
                <a:gd name="T3" fmla="*/ 349 h 349"/>
                <a:gd name="T4" fmla="*/ 0 w 26"/>
                <a:gd name="T5" fmla="*/ 12 h 349"/>
                <a:gd name="T6" fmla="*/ 12 w 26"/>
                <a:gd name="T7" fmla="*/ 0 h 349"/>
                <a:gd name="T8" fmla="*/ 14 w 26"/>
                <a:gd name="T9" fmla="*/ 0 h 349"/>
                <a:gd name="T10" fmla="*/ 26 w 26"/>
                <a:gd name="T11" fmla="*/ 12 h 349"/>
                <a:gd name="T12" fmla="*/ 26 w 26"/>
                <a:gd name="T13" fmla="*/ 349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49">
                  <a:moveTo>
                    <a:pt x="26" y="349"/>
                  </a:moveTo>
                  <a:cubicBezTo>
                    <a:pt x="0" y="349"/>
                    <a:pt x="0" y="349"/>
                    <a:pt x="0" y="34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1" y="0"/>
                    <a:pt x="26" y="5"/>
                    <a:pt x="26" y="12"/>
                  </a:cubicBezTo>
                  <a:lnTo>
                    <a:pt x="26" y="3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</p:grpSp>
      <p:grpSp>
        <p:nvGrpSpPr>
          <p:cNvPr id="138" name="Group 18">
            <a:extLst>
              <a:ext uri="{FF2B5EF4-FFF2-40B4-BE49-F238E27FC236}">
                <a16:creationId xmlns:a16="http://schemas.microsoft.com/office/drawing/2014/main" id="{0DF48262-3321-4E46-B370-FDDB0E0890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54041" y="2361465"/>
            <a:ext cx="746559" cy="969814"/>
            <a:chOff x="3485" y="1512"/>
            <a:chExt cx="836" cy="1086"/>
          </a:xfrm>
        </p:grpSpPr>
        <p:sp>
          <p:nvSpPr>
            <p:cNvPr id="145" name="Freeform 19">
              <a:extLst>
                <a:ext uri="{FF2B5EF4-FFF2-40B4-BE49-F238E27FC236}">
                  <a16:creationId xmlns:a16="http://schemas.microsoft.com/office/drawing/2014/main" id="{D2908A05-D213-42F0-B40A-1C7BBB1BB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2127"/>
              <a:ext cx="836" cy="471"/>
            </a:xfrm>
            <a:custGeom>
              <a:avLst/>
              <a:gdLst>
                <a:gd name="T0" fmla="*/ 826 w 1047"/>
                <a:gd name="T1" fmla="*/ 101 h 592"/>
                <a:gd name="T2" fmla="*/ 530 w 1047"/>
                <a:gd name="T3" fmla="*/ 4 h 592"/>
                <a:gd name="T4" fmla="*/ 530 w 1047"/>
                <a:gd name="T5" fmla="*/ 0 h 592"/>
                <a:gd name="T6" fmla="*/ 524 w 1047"/>
                <a:gd name="T7" fmla="*/ 2 h 592"/>
                <a:gd name="T8" fmla="*/ 517 w 1047"/>
                <a:gd name="T9" fmla="*/ 0 h 592"/>
                <a:gd name="T10" fmla="*/ 517 w 1047"/>
                <a:gd name="T11" fmla="*/ 4 h 592"/>
                <a:gd name="T12" fmla="*/ 222 w 1047"/>
                <a:gd name="T13" fmla="*/ 101 h 592"/>
                <a:gd name="T14" fmla="*/ 0 w 1047"/>
                <a:gd name="T15" fmla="*/ 437 h 592"/>
                <a:gd name="T16" fmla="*/ 0 w 1047"/>
                <a:gd name="T17" fmla="*/ 592 h 592"/>
                <a:gd name="T18" fmla="*/ 517 w 1047"/>
                <a:gd name="T19" fmla="*/ 592 h 592"/>
                <a:gd name="T20" fmla="*/ 530 w 1047"/>
                <a:gd name="T21" fmla="*/ 592 h 592"/>
                <a:gd name="T22" fmla="*/ 1047 w 1047"/>
                <a:gd name="T23" fmla="*/ 592 h 592"/>
                <a:gd name="T24" fmla="*/ 1047 w 1047"/>
                <a:gd name="T25" fmla="*/ 437 h 592"/>
                <a:gd name="T26" fmla="*/ 826 w 1047"/>
                <a:gd name="T27" fmla="*/ 101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7" h="592">
                  <a:moveTo>
                    <a:pt x="826" y="101"/>
                  </a:moveTo>
                  <a:cubicBezTo>
                    <a:pt x="530" y="4"/>
                    <a:pt x="530" y="4"/>
                    <a:pt x="530" y="4"/>
                  </a:cubicBezTo>
                  <a:cubicBezTo>
                    <a:pt x="530" y="0"/>
                    <a:pt x="530" y="0"/>
                    <a:pt x="530" y="0"/>
                  </a:cubicBezTo>
                  <a:cubicBezTo>
                    <a:pt x="524" y="2"/>
                    <a:pt x="524" y="2"/>
                    <a:pt x="524" y="2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17" y="4"/>
                    <a:pt x="517" y="4"/>
                    <a:pt x="517" y="4"/>
                  </a:cubicBezTo>
                  <a:cubicBezTo>
                    <a:pt x="222" y="101"/>
                    <a:pt x="222" y="101"/>
                    <a:pt x="222" y="101"/>
                  </a:cubicBezTo>
                  <a:cubicBezTo>
                    <a:pt x="91" y="144"/>
                    <a:pt x="0" y="281"/>
                    <a:pt x="0" y="437"/>
                  </a:cubicBezTo>
                  <a:cubicBezTo>
                    <a:pt x="0" y="592"/>
                    <a:pt x="0" y="592"/>
                    <a:pt x="0" y="592"/>
                  </a:cubicBezTo>
                  <a:cubicBezTo>
                    <a:pt x="517" y="592"/>
                    <a:pt x="517" y="592"/>
                    <a:pt x="517" y="592"/>
                  </a:cubicBezTo>
                  <a:cubicBezTo>
                    <a:pt x="530" y="592"/>
                    <a:pt x="530" y="592"/>
                    <a:pt x="530" y="592"/>
                  </a:cubicBezTo>
                  <a:cubicBezTo>
                    <a:pt x="1047" y="592"/>
                    <a:pt x="1047" y="592"/>
                    <a:pt x="1047" y="592"/>
                  </a:cubicBezTo>
                  <a:cubicBezTo>
                    <a:pt x="1047" y="437"/>
                    <a:pt x="1047" y="437"/>
                    <a:pt x="1047" y="437"/>
                  </a:cubicBezTo>
                  <a:cubicBezTo>
                    <a:pt x="1047" y="281"/>
                    <a:pt x="957" y="144"/>
                    <a:pt x="826" y="101"/>
                  </a:cubicBezTo>
                  <a:close/>
                </a:path>
              </a:pathLst>
            </a:cu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46" name="Freeform 20">
              <a:extLst>
                <a:ext uri="{FF2B5EF4-FFF2-40B4-BE49-F238E27FC236}">
                  <a16:creationId xmlns:a16="http://schemas.microsoft.com/office/drawing/2014/main" id="{77004197-8D71-4CCA-A25A-0E2357C3F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6" y="2091"/>
              <a:ext cx="268" cy="337"/>
            </a:xfrm>
            <a:custGeom>
              <a:avLst/>
              <a:gdLst>
                <a:gd name="T0" fmla="*/ 336 w 336"/>
                <a:gd name="T1" fmla="*/ 0 h 423"/>
                <a:gd name="T2" fmla="*/ 336 w 336"/>
                <a:gd name="T3" fmla="*/ 246 h 423"/>
                <a:gd name="T4" fmla="*/ 329 w 336"/>
                <a:gd name="T5" fmla="*/ 297 h 423"/>
                <a:gd name="T6" fmla="*/ 299 w 336"/>
                <a:gd name="T7" fmla="*/ 359 h 423"/>
                <a:gd name="T8" fmla="*/ 168 w 336"/>
                <a:gd name="T9" fmla="*/ 423 h 423"/>
                <a:gd name="T10" fmla="*/ 37 w 336"/>
                <a:gd name="T11" fmla="*/ 359 h 423"/>
                <a:gd name="T12" fmla="*/ 10 w 336"/>
                <a:gd name="T13" fmla="*/ 307 h 423"/>
                <a:gd name="T14" fmla="*/ 0 w 336"/>
                <a:gd name="T15" fmla="*/ 246 h 423"/>
                <a:gd name="T16" fmla="*/ 0 w 336"/>
                <a:gd name="T17" fmla="*/ 0 h 423"/>
                <a:gd name="T18" fmla="*/ 336 w 336"/>
                <a:gd name="T19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423">
                  <a:moveTo>
                    <a:pt x="336" y="0"/>
                  </a:moveTo>
                  <a:cubicBezTo>
                    <a:pt x="336" y="246"/>
                    <a:pt x="336" y="246"/>
                    <a:pt x="336" y="246"/>
                  </a:cubicBezTo>
                  <a:cubicBezTo>
                    <a:pt x="336" y="264"/>
                    <a:pt x="334" y="281"/>
                    <a:pt x="329" y="297"/>
                  </a:cubicBezTo>
                  <a:cubicBezTo>
                    <a:pt x="323" y="320"/>
                    <a:pt x="313" y="341"/>
                    <a:pt x="299" y="359"/>
                  </a:cubicBezTo>
                  <a:cubicBezTo>
                    <a:pt x="266" y="402"/>
                    <a:pt x="217" y="423"/>
                    <a:pt x="168" y="423"/>
                  </a:cubicBezTo>
                  <a:cubicBezTo>
                    <a:pt x="119" y="423"/>
                    <a:pt x="70" y="402"/>
                    <a:pt x="37" y="359"/>
                  </a:cubicBezTo>
                  <a:cubicBezTo>
                    <a:pt x="25" y="343"/>
                    <a:pt x="16" y="326"/>
                    <a:pt x="10" y="307"/>
                  </a:cubicBezTo>
                  <a:cubicBezTo>
                    <a:pt x="3" y="287"/>
                    <a:pt x="0" y="267"/>
                    <a:pt x="0" y="24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36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47" name="Freeform 21">
              <a:extLst>
                <a:ext uri="{FF2B5EF4-FFF2-40B4-BE49-F238E27FC236}">
                  <a16:creationId xmlns:a16="http://schemas.microsoft.com/office/drawing/2014/main" id="{19B83CC7-2274-4A41-A8AA-08B0D03E52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" y="2091"/>
              <a:ext cx="291" cy="211"/>
            </a:xfrm>
            <a:custGeom>
              <a:avLst/>
              <a:gdLst>
                <a:gd name="T0" fmla="*/ 364 w 364"/>
                <a:gd name="T1" fmla="*/ 0 h 265"/>
                <a:gd name="T2" fmla="*/ 364 w 364"/>
                <a:gd name="T3" fmla="*/ 191 h 265"/>
                <a:gd name="T4" fmla="*/ 314 w 364"/>
                <a:gd name="T5" fmla="*/ 231 h 265"/>
                <a:gd name="T6" fmla="*/ 28 w 364"/>
                <a:gd name="T7" fmla="*/ 10 h 265"/>
                <a:gd name="T8" fmla="*/ 28 w 364"/>
                <a:gd name="T9" fmla="*/ 9 h 265"/>
                <a:gd name="T10" fmla="*/ 28 w 364"/>
                <a:gd name="T11" fmla="*/ 9 h 265"/>
                <a:gd name="T12" fmla="*/ 54 w 364"/>
                <a:gd name="T13" fmla="*/ 0 h 265"/>
                <a:gd name="T14" fmla="*/ 364 w 364"/>
                <a:gd name="T15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265">
                  <a:moveTo>
                    <a:pt x="364" y="0"/>
                  </a:moveTo>
                  <a:cubicBezTo>
                    <a:pt x="364" y="191"/>
                    <a:pt x="364" y="191"/>
                    <a:pt x="364" y="191"/>
                  </a:cubicBezTo>
                  <a:cubicBezTo>
                    <a:pt x="352" y="211"/>
                    <a:pt x="336" y="229"/>
                    <a:pt x="314" y="231"/>
                  </a:cubicBezTo>
                  <a:cubicBezTo>
                    <a:pt x="0" y="265"/>
                    <a:pt x="32" y="22"/>
                    <a:pt x="28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364" y="0"/>
                  </a:lnTo>
                  <a:close/>
                </a:path>
              </a:pathLst>
            </a:custGeom>
            <a:solidFill>
              <a:srgbClr val="DCC3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48" name="Freeform 22">
              <a:extLst>
                <a:ext uri="{FF2B5EF4-FFF2-40B4-BE49-F238E27FC236}">
                  <a16:creationId xmlns:a16="http://schemas.microsoft.com/office/drawing/2014/main" id="{C1E9A253-BEE1-4912-8149-0563C34C4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" y="1895"/>
              <a:ext cx="84" cy="105"/>
            </a:xfrm>
            <a:custGeom>
              <a:avLst/>
              <a:gdLst>
                <a:gd name="T0" fmla="*/ 53 w 105"/>
                <a:gd name="T1" fmla="*/ 0 h 132"/>
                <a:gd name="T2" fmla="*/ 72 w 105"/>
                <a:gd name="T3" fmla="*/ 67 h 132"/>
                <a:gd name="T4" fmla="*/ 11 w 105"/>
                <a:gd name="T5" fmla="*/ 132 h 132"/>
                <a:gd name="T6" fmla="*/ 0 w 105"/>
                <a:gd name="T7" fmla="*/ 53 h 132"/>
                <a:gd name="T8" fmla="*/ 53 w 10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32">
                  <a:moveTo>
                    <a:pt x="53" y="0"/>
                  </a:moveTo>
                  <a:cubicBezTo>
                    <a:pt x="53" y="0"/>
                    <a:pt x="105" y="9"/>
                    <a:pt x="72" y="67"/>
                  </a:cubicBezTo>
                  <a:cubicBezTo>
                    <a:pt x="38" y="125"/>
                    <a:pt x="11" y="132"/>
                    <a:pt x="11" y="132"/>
                  </a:cubicBezTo>
                  <a:cubicBezTo>
                    <a:pt x="0" y="53"/>
                    <a:pt x="0" y="53"/>
                    <a:pt x="0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49" name="Freeform 23">
              <a:extLst>
                <a:ext uri="{FF2B5EF4-FFF2-40B4-BE49-F238E27FC236}">
                  <a16:creationId xmlns:a16="http://schemas.microsoft.com/office/drawing/2014/main" id="{1F8544BF-0AA9-455B-A16A-2C799EB5C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" y="1625"/>
              <a:ext cx="426" cy="561"/>
            </a:xfrm>
            <a:custGeom>
              <a:avLst/>
              <a:gdLst>
                <a:gd name="T0" fmla="*/ 511 w 533"/>
                <a:gd name="T1" fmla="*/ 353 h 705"/>
                <a:gd name="T2" fmla="*/ 420 w 533"/>
                <a:gd name="T3" fmla="*/ 603 h 705"/>
                <a:gd name="T4" fmla="*/ 261 w 533"/>
                <a:gd name="T5" fmla="*/ 705 h 705"/>
                <a:gd name="T6" fmla="*/ 101 w 533"/>
                <a:gd name="T7" fmla="*/ 603 h 705"/>
                <a:gd name="T8" fmla="*/ 22 w 533"/>
                <a:gd name="T9" fmla="*/ 405 h 705"/>
                <a:gd name="T10" fmla="*/ 20 w 533"/>
                <a:gd name="T11" fmla="*/ 399 h 705"/>
                <a:gd name="T12" fmla="*/ 16 w 533"/>
                <a:gd name="T13" fmla="*/ 378 h 705"/>
                <a:gd name="T14" fmla="*/ 16 w 533"/>
                <a:gd name="T15" fmla="*/ 378 h 705"/>
                <a:gd name="T16" fmla="*/ 11 w 533"/>
                <a:gd name="T17" fmla="*/ 353 h 705"/>
                <a:gd name="T18" fmla="*/ 9 w 533"/>
                <a:gd name="T19" fmla="*/ 345 h 705"/>
                <a:gd name="T20" fmla="*/ 9 w 533"/>
                <a:gd name="T21" fmla="*/ 345 h 705"/>
                <a:gd name="T22" fmla="*/ 1 w 533"/>
                <a:gd name="T23" fmla="*/ 234 h 705"/>
                <a:gd name="T24" fmla="*/ 1 w 533"/>
                <a:gd name="T25" fmla="*/ 215 h 705"/>
                <a:gd name="T26" fmla="*/ 11 w 533"/>
                <a:gd name="T27" fmla="*/ 148 h 705"/>
                <a:gd name="T28" fmla="*/ 113 w 533"/>
                <a:gd name="T29" fmla="*/ 35 h 705"/>
                <a:gd name="T30" fmla="*/ 261 w 533"/>
                <a:gd name="T31" fmla="*/ 0 h 705"/>
                <a:gd name="T32" fmla="*/ 408 w 533"/>
                <a:gd name="T33" fmla="*/ 35 h 705"/>
                <a:gd name="T34" fmla="*/ 511 w 533"/>
                <a:gd name="T35" fmla="*/ 148 h 705"/>
                <a:gd name="T36" fmla="*/ 511 w 533"/>
                <a:gd name="T37" fmla="*/ 353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3" h="705">
                  <a:moveTo>
                    <a:pt x="511" y="353"/>
                  </a:moveTo>
                  <a:cubicBezTo>
                    <a:pt x="511" y="353"/>
                    <a:pt x="485" y="505"/>
                    <a:pt x="420" y="603"/>
                  </a:cubicBezTo>
                  <a:cubicBezTo>
                    <a:pt x="351" y="705"/>
                    <a:pt x="261" y="705"/>
                    <a:pt x="261" y="705"/>
                  </a:cubicBezTo>
                  <a:cubicBezTo>
                    <a:pt x="261" y="705"/>
                    <a:pt x="170" y="705"/>
                    <a:pt x="101" y="603"/>
                  </a:cubicBezTo>
                  <a:cubicBezTo>
                    <a:pt x="61" y="542"/>
                    <a:pt x="35" y="458"/>
                    <a:pt x="22" y="405"/>
                  </a:cubicBezTo>
                  <a:cubicBezTo>
                    <a:pt x="21" y="403"/>
                    <a:pt x="21" y="401"/>
                    <a:pt x="20" y="399"/>
                  </a:cubicBezTo>
                  <a:cubicBezTo>
                    <a:pt x="19" y="391"/>
                    <a:pt x="17" y="384"/>
                    <a:pt x="16" y="378"/>
                  </a:cubicBezTo>
                  <a:cubicBezTo>
                    <a:pt x="16" y="378"/>
                    <a:pt x="16" y="378"/>
                    <a:pt x="16" y="378"/>
                  </a:cubicBezTo>
                  <a:cubicBezTo>
                    <a:pt x="12" y="362"/>
                    <a:pt x="11" y="353"/>
                    <a:pt x="11" y="353"/>
                  </a:cubicBezTo>
                  <a:cubicBezTo>
                    <a:pt x="11" y="353"/>
                    <a:pt x="10" y="350"/>
                    <a:pt x="9" y="345"/>
                  </a:cubicBezTo>
                  <a:cubicBezTo>
                    <a:pt x="9" y="345"/>
                    <a:pt x="9" y="345"/>
                    <a:pt x="9" y="345"/>
                  </a:cubicBezTo>
                  <a:cubicBezTo>
                    <a:pt x="7" y="327"/>
                    <a:pt x="1" y="281"/>
                    <a:pt x="1" y="234"/>
                  </a:cubicBezTo>
                  <a:cubicBezTo>
                    <a:pt x="0" y="228"/>
                    <a:pt x="1" y="221"/>
                    <a:pt x="1" y="215"/>
                  </a:cubicBezTo>
                  <a:cubicBezTo>
                    <a:pt x="2" y="190"/>
                    <a:pt x="4" y="167"/>
                    <a:pt x="11" y="148"/>
                  </a:cubicBezTo>
                  <a:cubicBezTo>
                    <a:pt x="33" y="80"/>
                    <a:pt x="67" y="57"/>
                    <a:pt x="113" y="35"/>
                  </a:cubicBezTo>
                  <a:cubicBezTo>
                    <a:pt x="181" y="0"/>
                    <a:pt x="261" y="0"/>
                    <a:pt x="261" y="0"/>
                  </a:cubicBezTo>
                  <a:cubicBezTo>
                    <a:pt x="261" y="0"/>
                    <a:pt x="340" y="0"/>
                    <a:pt x="408" y="35"/>
                  </a:cubicBezTo>
                  <a:cubicBezTo>
                    <a:pt x="454" y="57"/>
                    <a:pt x="488" y="80"/>
                    <a:pt x="511" y="148"/>
                  </a:cubicBezTo>
                  <a:cubicBezTo>
                    <a:pt x="533" y="216"/>
                    <a:pt x="511" y="353"/>
                    <a:pt x="511" y="353"/>
                  </a:cubicBez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0" name="Freeform 24">
              <a:extLst>
                <a:ext uri="{FF2B5EF4-FFF2-40B4-BE49-F238E27FC236}">
                  <a16:creationId xmlns:a16="http://schemas.microsoft.com/office/drawing/2014/main" id="{7AD46C3D-19E5-4B5F-B9AC-AD1021F5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5" y="1895"/>
              <a:ext cx="84" cy="105"/>
            </a:xfrm>
            <a:custGeom>
              <a:avLst/>
              <a:gdLst>
                <a:gd name="T0" fmla="*/ 53 w 106"/>
                <a:gd name="T1" fmla="*/ 0 h 132"/>
                <a:gd name="T2" fmla="*/ 34 w 106"/>
                <a:gd name="T3" fmla="*/ 67 h 132"/>
                <a:gd name="T4" fmla="*/ 94 w 106"/>
                <a:gd name="T5" fmla="*/ 132 h 132"/>
                <a:gd name="T6" fmla="*/ 106 w 106"/>
                <a:gd name="T7" fmla="*/ 53 h 132"/>
                <a:gd name="T8" fmla="*/ 53 w 106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32">
                  <a:moveTo>
                    <a:pt x="53" y="0"/>
                  </a:moveTo>
                  <a:cubicBezTo>
                    <a:pt x="53" y="0"/>
                    <a:pt x="0" y="9"/>
                    <a:pt x="34" y="67"/>
                  </a:cubicBezTo>
                  <a:cubicBezTo>
                    <a:pt x="67" y="125"/>
                    <a:pt x="94" y="132"/>
                    <a:pt x="94" y="132"/>
                  </a:cubicBezTo>
                  <a:cubicBezTo>
                    <a:pt x="106" y="53"/>
                    <a:pt x="106" y="53"/>
                    <a:pt x="106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1" name="Freeform 25">
              <a:extLst>
                <a:ext uri="{FF2B5EF4-FFF2-40B4-BE49-F238E27FC236}">
                  <a16:creationId xmlns:a16="http://schemas.microsoft.com/office/drawing/2014/main" id="{E453F313-DD1E-4B39-A4FF-F83563375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" y="1757"/>
              <a:ext cx="87" cy="190"/>
            </a:xfrm>
            <a:custGeom>
              <a:avLst/>
              <a:gdLst>
                <a:gd name="T0" fmla="*/ 108 w 108"/>
                <a:gd name="T1" fmla="*/ 0 h 239"/>
                <a:gd name="T2" fmla="*/ 91 w 108"/>
                <a:gd name="T3" fmla="*/ 70 h 239"/>
                <a:gd name="T4" fmla="*/ 43 w 108"/>
                <a:gd name="T5" fmla="*/ 116 h 239"/>
                <a:gd name="T6" fmla="*/ 16 w 108"/>
                <a:gd name="T7" fmla="*/ 149 h 239"/>
                <a:gd name="T8" fmla="*/ 16 w 108"/>
                <a:gd name="T9" fmla="*/ 152 h 239"/>
                <a:gd name="T10" fmla="*/ 21 w 108"/>
                <a:gd name="T11" fmla="*/ 239 h 239"/>
                <a:gd name="T12" fmla="*/ 20 w 108"/>
                <a:gd name="T13" fmla="*/ 233 h 239"/>
                <a:gd name="T14" fmla="*/ 15 w 108"/>
                <a:gd name="T15" fmla="*/ 212 h 239"/>
                <a:gd name="T16" fmla="*/ 15 w 108"/>
                <a:gd name="T17" fmla="*/ 212 h 239"/>
                <a:gd name="T18" fmla="*/ 10 w 108"/>
                <a:gd name="T19" fmla="*/ 187 h 239"/>
                <a:gd name="T20" fmla="*/ 9 w 108"/>
                <a:gd name="T21" fmla="*/ 179 h 239"/>
                <a:gd name="T22" fmla="*/ 9 w 108"/>
                <a:gd name="T23" fmla="*/ 179 h 239"/>
                <a:gd name="T24" fmla="*/ 0 w 108"/>
                <a:gd name="T25" fmla="*/ 68 h 239"/>
                <a:gd name="T26" fmla="*/ 0 w 108"/>
                <a:gd name="T27" fmla="*/ 62 h 239"/>
                <a:gd name="T28" fmla="*/ 26 w 108"/>
                <a:gd name="T29" fmla="*/ 0 h 239"/>
                <a:gd name="T30" fmla="*/ 108 w 108"/>
                <a:gd name="T31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239">
                  <a:moveTo>
                    <a:pt x="108" y="0"/>
                  </a:moveTo>
                  <a:cubicBezTo>
                    <a:pt x="91" y="70"/>
                    <a:pt x="91" y="70"/>
                    <a:pt x="91" y="70"/>
                  </a:cubicBezTo>
                  <a:cubicBezTo>
                    <a:pt x="85" y="93"/>
                    <a:pt x="66" y="111"/>
                    <a:pt x="43" y="116"/>
                  </a:cubicBezTo>
                  <a:cubicBezTo>
                    <a:pt x="27" y="119"/>
                    <a:pt x="16" y="133"/>
                    <a:pt x="16" y="149"/>
                  </a:cubicBezTo>
                  <a:cubicBezTo>
                    <a:pt x="16" y="150"/>
                    <a:pt x="16" y="151"/>
                    <a:pt x="16" y="152"/>
                  </a:cubicBezTo>
                  <a:cubicBezTo>
                    <a:pt x="21" y="239"/>
                    <a:pt x="21" y="239"/>
                    <a:pt x="21" y="239"/>
                  </a:cubicBezTo>
                  <a:cubicBezTo>
                    <a:pt x="21" y="237"/>
                    <a:pt x="20" y="235"/>
                    <a:pt x="20" y="233"/>
                  </a:cubicBezTo>
                  <a:cubicBezTo>
                    <a:pt x="18" y="225"/>
                    <a:pt x="16" y="218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1" y="196"/>
                    <a:pt x="10" y="187"/>
                    <a:pt x="10" y="187"/>
                  </a:cubicBezTo>
                  <a:cubicBezTo>
                    <a:pt x="10" y="187"/>
                    <a:pt x="9" y="184"/>
                    <a:pt x="9" y="179"/>
                  </a:cubicBezTo>
                  <a:cubicBezTo>
                    <a:pt x="9" y="179"/>
                    <a:pt x="9" y="179"/>
                    <a:pt x="9" y="179"/>
                  </a:cubicBezTo>
                  <a:cubicBezTo>
                    <a:pt x="6" y="161"/>
                    <a:pt x="0" y="115"/>
                    <a:pt x="0" y="68"/>
                  </a:cubicBezTo>
                  <a:cubicBezTo>
                    <a:pt x="0" y="66"/>
                    <a:pt x="0" y="64"/>
                    <a:pt x="0" y="62"/>
                  </a:cubicBezTo>
                  <a:cubicBezTo>
                    <a:pt x="26" y="0"/>
                    <a:pt x="26" y="0"/>
                    <a:pt x="26" y="0"/>
                  </a:cubicBezTo>
                  <a:lnTo>
                    <a:pt x="108" y="0"/>
                  </a:lnTo>
                  <a:close/>
                </a:path>
              </a:pathLst>
            </a:custGeom>
            <a:solidFill>
              <a:srgbClr val="AD8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2" name="Freeform 26">
              <a:extLst>
                <a:ext uri="{FF2B5EF4-FFF2-40B4-BE49-F238E27FC236}">
                  <a16:creationId xmlns:a16="http://schemas.microsoft.com/office/drawing/2014/main" id="{1BCD7305-2E33-4A0E-AD7F-40E407071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4" y="1757"/>
              <a:ext cx="86" cy="190"/>
            </a:xfrm>
            <a:custGeom>
              <a:avLst/>
              <a:gdLst>
                <a:gd name="T0" fmla="*/ 0 w 108"/>
                <a:gd name="T1" fmla="*/ 0 h 239"/>
                <a:gd name="T2" fmla="*/ 17 w 108"/>
                <a:gd name="T3" fmla="*/ 70 h 239"/>
                <a:gd name="T4" fmla="*/ 65 w 108"/>
                <a:gd name="T5" fmla="*/ 116 h 239"/>
                <a:gd name="T6" fmla="*/ 92 w 108"/>
                <a:gd name="T7" fmla="*/ 149 h 239"/>
                <a:gd name="T8" fmla="*/ 92 w 108"/>
                <a:gd name="T9" fmla="*/ 152 h 239"/>
                <a:gd name="T10" fmla="*/ 87 w 108"/>
                <a:gd name="T11" fmla="*/ 239 h 239"/>
                <a:gd name="T12" fmla="*/ 88 w 108"/>
                <a:gd name="T13" fmla="*/ 233 h 239"/>
                <a:gd name="T14" fmla="*/ 93 w 108"/>
                <a:gd name="T15" fmla="*/ 212 h 239"/>
                <a:gd name="T16" fmla="*/ 93 w 108"/>
                <a:gd name="T17" fmla="*/ 212 h 239"/>
                <a:gd name="T18" fmla="*/ 98 w 108"/>
                <a:gd name="T19" fmla="*/ 187 h 239"/>
                <a:gd name="T20" fmla="*/ 99 w 108"/>
                <a:gd name="T21" fmla="*/ 179 h 239"/>
                <a:gd name="T22" fmla="*/ 99 w 108"/>
                <a:gd name="T23" fmla="*/ 179 h 239"/>
                <a:gd name="T24" fmla="*/ 108 w 108"/>
                <a:gd name="T25" fmla="*/ 69 h 239"/>
                <a:gd name="T26" fmla="*/ 108 w 108"/>
                <a:gd name="T27" fmla="*/ 62 h 239"/>
                <a:gd name="T28" fmla="*/ 81 w 108"/>
                <a:gd name="T29" fmla="*/ 0 h 239"/>
                <a:gd name="T30" fmla="*/ 0 w 108"/>
                <a:gd name="T31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" h="239">
                  <a:moveTo>
                    <a:pt x="0" y="0"/>
                  </a:moveTo>
                  <a:cubicBezTo>
                    <a:pt x="17" y="70"/>
                    <a:pt x="17" y="70"/>
                    <a:pt x="17" y="70"/>
                  </a:cubicBezTo>
                  <a:cubicBezTo>
                    <a:pt x="23" y="94"/>
                    <a:pt x="42" y="111"/>
                    <a:pt x="65" y="116"/>
                  </a:cubicBezTo>
                  <a:cubicBezTo>
                    <a:pt x="81" y="119"/>
                    <a:pt x="92" y="133"/>
                    <a:pt x="92" y="149"/>
                  </a:cubicBezTo>
                  <a:cubicBezTo>
                    <a:pt x="92" y="150"/>
                    <a:pt x="92" y="151"/>
                    <a:pt x="92" y="152"/>
                  </a:cubicBezTo>
                  <a:cubicBezTo>
                    <a:pt x="87" y="239"/>
                    <a:pt x="87" y="239"/>
                    <a:pt x="87" y="239"/>
                  </a:cubicBezTo>
                  <a:cubicBezTo>
                    <a:pt x="87" y="237"/>
                    <a:pt x="88" y="235"/>
                    <a:pt x="88" y="233"/>
                  </a:cubicBezTo>
                  <a:cubicBezTo>
                    <a:pt x="90" y="225"/>
                    <a:pt x="92" y="218"/>
                    <a:pt x="93" y="212"/>
                  </a:cubicBezTo>
                  <a:cubicBezTo>
                    <a:pt x="93" y="212"/>
                    <a:pt x="93" y="212"/>
                    <a:pt x="93" y="212"/>
                  </a:cubicBezTo>
                  <a:cubicBezTo>
                    <a:pt x="96" y="196"/>
                    <a:pt x="98" y="187"/>
                    <a:pt x="98" y="187"/>
                  </a:cubicBezTo>
                  <a:cubicBezTo>
                    <a:pt x="98" y="187"/>
                    <a:pt x="99" y="184"/>
                    <a:pt x="99" y="179"/>
                  </a:cubicBezTo>
                  <a:cubicBezTo>
                    <a:pt x="99" y="179"/>
                    <a:pt x="99" y="179"/>
                    <a:pt x="99" y="179"/>
                  </a:cubicBezTo>
                  <a:cubicBezTo>
                    <a:pt x="102" y="161"/>
                    <a:pt x="108" y="115"/>
                    <a:pt x="108" y="69"/>
                  </a:cubicBezTo>
                  <a:cubicBezTo>
                    <a:pt x="108" y="66"/>
                    <a:pt x="108" y="64"/>
                    <a:pt x="108" y="62"/>
                  </a:cubicBezTo>
                  <a:cubicBezTo>
                    <a:pt x="81" y="0"/>
                    <a:pt x="81" y="0"/>
                    <a:pt x="8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AD8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3" name="Freeform 27">
              <a:extLst>
                <a:ext uri="{FF2B5EF4-FFF2-40B4-BE49-F238E27FC236}">
                  <a16:creationId xmlns:a16="http://schemas.microsoft.com/office/drawing/2014/main" id="{A709B6A6-2679-4339-9BC2-AFB65CB29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7" y="1512"/>
              <a:ext cx="476" cy="315"/>
            </a:xfrm>
            <a:custGeom>
              <a:avLst/>
              <a:gdLst>
                <a:gd name="T0" fmla="*/ 596 w 596"/>
                <a:gd name="T1" fmla="*/ 220 h 396"/>
                <a:gd name="T2" fmla="*/ 560 w 596"/>
                <a:gd name="T3" fmla="*/ 148 h 396"/>
                <a:gd name="T4" fmla="*/ 483 w 596"/>
                <a:gd name="T5" fmla="*/ 107 h 396"/>
                <a:gd name="T6" fmla="*/ 452 w 596"/>
                <a:gd name="T7" fmla="*/ 60 h 396"/>
                <a:gd name="T8" fmla="*/ 364 w 596"/>
                <a:gd name="T9" fmla="*/ 36 h 396"/>
                <a:gd name="T10" fmla="*/ 370 w 596"/>
                <a:gd name="T11" fmla="*/ 51 h 396"/>
                <a:gd name="T12" fmla="*/ 367 w 596"/>
                <a:gd name="T13" fmla="*/ 53 h 396"/>
                <a:gd name="T14" fmla="*/ 352 w 596"/>
                <a:gd name="T15" fmla="*/ 36 h 396"/>
                <a:gd name="T16" fmla="*/ 264 w 596"/>
                <a:gd name="T17" fmla="*/ 0 h 396"/>
                <a:gd name="T18" fmla="*/ 281 w 596"/>
                <a:gd name="T19" fmla="*/ 33 h 396"/>
                <a:gd name="T20" fmla="*/ 274 w 596"/>
                <a:gd name="T21" fmla="*/ 41 h 396"/>
                <a:gd name="T22" fmla="*/ 260 w 596"/>
                <a:gd name="T23" fmla="*/ 28 h 396"/>
                <a:gd name="T24" fmla="*/ 208 w 596"/>
                <a:gd name="T25" fmla="*/ 20 h 396"/>
                <a:gd name="T26" fmla="*/ 216 w 596"/>
                <a:gd name="T27" fmla="*/ 28 h 396"/>
                <a:gd name="T28" fmla="*/ 217 w 596"/>
                <a:gd name="T29" fmla="*/ 42 h 396"/>
                <a:gd name="T30" fmla="*/ 217 w 596"/>
                <a:gd name="T31" fmla="*/ 42 h 396"/>
                <a:gd name="T32" fmla="*/ 200 w 596"/>
                <a:gd name="T33" fmla="*/ 36 h 396"/>
                <a:gd name="T34" fmla="*/ 132 w 596"/>
                <a:gd name="T35" fmla="*/ 32 h 396"/>
                <a:gd name="T36" fmla="*/ 119 w 596"/>
                <a:gd name="T37" fmla="*/ 91 h 396"/>
                <a:gd name="T38" fmla="*/ 76 w 596"/>
                <a:gd name="T39" fmla="*/ 151 h 396"/>
                <a:gd name="T40" fmla="*/ 78 w 596"/>
                <a:gd name="T41" fmla="*/ 124 h 396"/>
                <a:gd name="T42" fmla="*/ 20 w 596"/>
                <a:gd name="T43" fmla="*/ 200 h 396"/>
                <a:gd name="T44" fmla="*/ 36 w 596"/>
                <a:gd name="T45" fmla="*/ 268 h 396"/>
                <a:gd name="T46" fmla="*/ 12 w 596"/>
                <a:gd name="T47" fmla="*/ 280 h 396"/>
                <a:gd name="T48" fmla="*/ 4 w 596"/>
                <a:gd name="T49" fmla="*/ 316 h 396"/>
                <a:gd name="T50" fmla="*/ 32 w 596"/>
                <a:gd name="T51" fmla="*/ 324 h 396"/>
                <a:gd name="T52" fmla="*/ 39 w 596"/>
                <a:gd name="T53" fmla="*/ 346 h 396"/>
                <a:gd name="T54" fmla="*/ 40 w 596"/>
                <a:gd name="T55" fmla="*/ 352 h 396"/>
                <a:gd name="T56" fmla="*/ 40 w 596"/>
                <a:gd name="T57" fmla="*/ 356 h 396"/>
                <a:gd name="T58" fmla="*/ 40 w 596"/>
                <a:gd name="T59" fmla="*/ 356 h 396"/>
                <a:gd name="T60" fmla="*/ 44 w 596"/>
                <a:gd name="T61" fmla="*/ 396 h 396"/>
                <a:gd name="T62" fmla="*/ 115 w 596"/>
                <a:gd name="T63" fmla="*/ 313 h 396"/>
                <a:gd name="T64" fmla="*/ 155 w 596"/>
                <a:gd name="T65" fmla="*/ 313 h 396"/>
                <a:gd name="T66" fmla="*/ 232 w 596"/>
                <a:gd name="T67" fmla="*/ 344 h 396"/>
                <a:gd name="T68" fmla="*/ 235 w 596"/>
                <a:gd name="T69" fmla="*/ 345 h 396"/>
                <a:gd name="T70" fmla="*/ 373 w 596"/>
                <a:gd name="T71" fmla="*/ 345 h 396"/>
                <a:gd name="T72" fmla="*/ 376 w 596"/>
                <a:gd name="T73" fmla="*/ 344 h 396"/>
                <a:gd name="T74" fmla="*/ 453 w 596"/>
                <a:gd name="T75" fmla="*/ 313 h 396"/>
                <a:gd name="T76" fmla="*/ 493 w 596"/>
                <a:gd name="T77" fmla="*/ 313 h 396"/>
                <a:gd name="T78" fmla="*/ 564 w 596"/>
                <a:gd name="T79" fmla="*/ 396 h 396"/>
                <a:gd name="T80" fmla="*/ 572 w 596"/>
                <a:gd name="T81" fmla="*/ 300 h 396"/>
                <a:gd name="T82" fmla="*/ 559 w 596"/>
                <a:gd name="T83" fmla="*/ 229 h 396"/>
                <a:gd name="T84" fmla="*/ 596 w 596"/>
                <a:gd name="T85" fmla="*/ 22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96" h="396">
                  <a:moveTo>
                    <a:pt x="596" y="220"/>
                  </a:moveTo>
                  <a:cubicBezTo>
                    <a:pt x="596" y="220"/>
                    <a:pt x="585" y="185"/>
                    <a:pt x="560" y="148"/>
                  </a:cubicBezTo>
                  <a:cubicBezTo>
                    <a:pt x="538" y="116"/>
                    <a:pt x="505" y="109"/>
                    <a:pt x="483" y="107"/>
                  </a:cubicBezTo>
                  <a:cubicBezTo>
                    <a:pt x="480" y="100"/>
                    <a:pt x="472" y="83"/>
                    <a:pt x="452" y="60"/>
                  </a:cubicBezTo>
                  <a:cubicBezTo>
                    <a:pt x="421" y="25"/>
                    <a:pt x="364" y="36"/>
                    <a:pt x="364" y="36"/>
                  </a:cubicBezTo>
                  <a:cubicBezTo>
                    <a:pt x="370" y="51"/>
                    <a:pt x="370" y="51"/>
                    <a:pt x="370" y="51"/>
                  </a:cubicBezTo>
                  <a:cubicBezTo>
                    <a:pt x="371" y="53"/>
                    <a:pt x="368" y="54"/>
                    <a:pt x="367" y="53"/>
                  </a:cubicBezTo>
                  <a:cubicBezTo>
                    <a:pt x="364" y="50"/>
                    <a:pt x="359" y="45"/>
                    <a:pt x="352" y="36"/>
                  </a:cubicBezTo>
                  <a:cubicBezTo>
                    <a:pt x="332" y="12"/>
                    <a:pt x="264" y="0"/>
                    <a:pt x="264" y="0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83" y="38"/>
                    <a:pt x="279" y="42"/>
                    <a:pt x="274" y="41"/>
                  </a:cubicBezTo>
                  <a:cubicBezTo>
                    <a:pt x="270" y="40"/>
                    <a:pt x="265" y="36"/>
                    <a:pt x="260" y="28"/>
                  </a:cubicBezTo>
                  <a:cubicBezTo>
                    <a:pt x="248" y="8"/>
                    <a:pt x="208" y="20"/>
                    <a:pt x="208" y="20"/>
                  </a:cubicBezTo>
                  <a:cubicBezTo>
                    <a:pt x="216" y="28"/>
                    <a:pt x="216" y="28"/>
                    <a:pt x="216" y="28"/>
                  </a:cubicBezTo>
                  <a:cubicBezTo>
                    <a:pt x="220" y="32"/>
                    <a:pt x="221" y="38"/>
                    <a:pt x="217" y="42"/>
                  </a:cubicBezTo>
                  <a:cubicBezTo>
                    <a:pt x="217" y="42"/>
                    <a:pt x="217" y="42"/>
                    <a:pt x="217" y="42"/>
                  </a:cubicBezTo>
                  <a:cubicBezTo>
                    <a:pt x="214" y="46"/>
                    <a:pt x="209" y="47"/>
                    <a:pt x="200" y="36"/>
                  </a:cubicBezTo>
                  <a:cubicBezTo>
                    <a:pt x="184" y="16"/>
                    <a:pt x="132" y="32"/>
                    <a:pt x="132" y="32"/>
                  </a:cubicBezTo>
                  <a:cubicBezTo>
                    <a:pt x="142" y="51"/>
                    <a:pt x="135" y="78"/>
                    <a:pt x="119" y="91"/>
                  </a:cubicBezTo>
                  <a:cubicBezTo>
                    <a:pt x="93" y="112"/>
                    <a:pt x="81" y="133"/>
                    <a:pt x="76" y="151"/>
                  </a:cubicBezTo>
                  <a:cubicBezTo>
                    <a:pt x="77" y="137"/>
                    <a:pt x="78" y="124"/>
                    <a:pt x="78" y="124"/>
                  </a:cubicBezTo>
                  <a:cubicBezTo>
                    <a:pt x="78" y="124"/>
                    <a:pt x="32" y="142"/>
                    <a:pt x="20" y="200"/>
                  </a:cubicBezTo>
                  <a:cubicBezTo>
                    <a:pt x="12" y="237"/>
                    <a:pt x="36" y="268"/>
                    <a:pt x="36" y="268"/>
                  </a:cubicBezTo>
                  <a:cubicBezTo>
                    <a:pt x="36" y="268"/>
                    <a:pt x="20" y="268"/>
                    <a:pt x="12" y="280"/>
                  </a:cubicBezTo>
                  <a:cubicBezTo>
                    <a:pt x="0" y="298"/>
                    <a:pt x="4" y="316"/>
                    <a:pt x="4" y="316"/>
                  </a:cubicBezTo>
                  <a:cubicBezTo>
                    <a:pt x="4" y="316"/>
                    <a:pt x="22" y="305"/>
                    <a:pt x="32" y="324"/>
                  </a:cubicBezTo>
                  <a:cubicBezTo>
                    <a:pt x="37" y="333"/>
                    <a:pt x="38" y="341"/>
                    <a:pt x="39" y="346"/>
                  </a:cubicBezTo>
                  <a:cubicBezTo>
                    <a:pt x="39" y="348"/>
                    <a:pt x="40" y="350"/>
                    <a:pt x="40" y="352"/>
                  </a:cubicBezTo>
                  <a:cubicBezTo>
                    <a:pt x="40" y="355"/>
                    <a:pt x="40" y="356"/>
                    <a:pt x="40" y="356"/>
                  </a:cubicBezTo>
                  <a:cubicBezTo>
                    <a:pt x="40" y="356"/>
                    <a:pt x="40" y="356"/>
                    <a:pt x="40" y="356"/>
                  </a:cubicBezTo>
                  <a:cubicBezTo>
                    <a:pt x="42" y="377"/>
                    <a:pt x="44" y="396"/>
                    <a:pt x="44" y="396"/>
                  </a:cubicBezTo>
                  <a:cubicBezTo>
                    <a:pt x="44" y="396"/>
                    <a:pt x="64" y="340"/>
                    <a:pt x="115" y="313"/>
                  </a:cubicBezTo>
                  <a:cubicBezTo>
                    <a:pt x="128" y="306"/>
                    <a:pt x="143" y="306"/>
                    <a:pt x="155" y="313"/>
                  </a:cubicBezTo>
                  <a:cubicBezTo>
                    <a:pt x="170" y="321"/>
                    <a:pt x="232" y="344"/>
                    <a:pt x="232" y="344"/>
                  </a:cubicBezTo>
                  <a:cubicBezTo>
                    <a:pt x="232" y="344"/>
                    <a:pt x="233" y="344"/>
                    <a:pt x="235" y="345"/>
                  </a:cubicBezTo>
                  <a:cubicBezTo>
                    <a:pt x="280" y="360"/>
                    <a:pt x="328" y="360"/>
                    <a:pt x="373" y="345"/>
                  </a:cubicBezTo>
                  <a:cubicBezTo>
                    <a:pt x="375" y="344"/>
                    <a:pt x="376" y="344"/>
                    <a:pt x="376" y="344"/>
                  </a:cubicBezTo>
                  <a:cubicBezTo>
                    <a:pt x="376" y="344"/>
                    <a:pt x="438" y="321"/>
                    <a:pt x="453" y="313"/>
                  </a:cubicBezTo>
                  <a:cubicBezTo>
                    <a:pt x="465" y="306"/>
                    <a:pt x="480" y="306"/>
                    <a:pt x="493" y="313"/>
                  </a:cubicBezTo>
                  <a:cubicBezTo>
                    <a:pt x="544" y="340"/>
                    <a:pt x="564" y="396"/>
                    <a:pt x="564" y="396"/>
                  </a:cubicBezTo>
                  <a:cubicBezTo>
                    <a:pt x="564" y="396"/>
                    <a:pt x="572" y="316"/>
                    <a:pt x="572" y="300"/>
                  </a:cubicBezTo>
                  <a:cubicBezTo>
                    <a:pt x="572" y="282"/>
                    <a:pt x="568" y="257"/>
                    <a:pt x="559" y="229"/>
                  </a:cubicBezTo>
                  <a:cubicBezTo>
                    <a:pt x="568" y="214"/>
                    <a:pt x="596" y="220"/>
                    <a:pt x="596" y="220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4" name="Freeform 28">
              <a:extLst>
                <a:ext uri="{FF2B5EF4-FFF2-40B4-BE49-F238E27FC236}">
                  <a16:creationId xmlns:a16="http://schemas.microsoft.com/office/drawing/2014/main" id="{AE663EA2-5251-415B-BADC-B3843472CD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" y="1948"/>
              <a:ext cx="384" cy="312"/>
            </a:xfrm>
            <a:custGeom>
              <a:avLst/>
              <a:gdLst>
                <a:gd name="T0" fmla="*/ 424 w 480"/>
                <a:gd name="T1" fmla="*/ 105 h 392"/>
                <a:gd name="T2" fmla="*/ 365 w 480"/>
                <a:gd name="T3" fmla="*/ 123 h 392"/>
                <a:gd name="T4" fmla="*/ 321 w 480"/>
                <a:gd name="T5" fmla="*/ 98 h 392"/>
                <a:gd name="T6" fmla="*/ 266 w 480"/>
                <a:gd name="T7" fmla="*/ 93 h 392"/>
                <a:gd name="T8" fmla="*/ 240 w 480"/>
                <a:gd name="T9" fmla="*/ 103 h 392"/>
                <a:gd name="T10" fmla="*/ 214 w 480"/>
                <a:gd name="T11" fmla="*/ 93 h 392"/>
                <a:gd name="T12" fmla="*/ 159 w 480"/>
                <a:gd name="T13" fmla="*/ 98 h 392"/>
                <a:gd name="T14" fmla="*/ 115 w 480"/>
                <a:gd name="T15" fmla="*/ 123 h 392"/>
                <a:gd name="T16" fmla="*/ 55 w 480"/>
                <a:gd name="T17" fmla="*/ 105 h 392"/>
                <a:gd name="T18" fmla="*/ 0 w 480"/>
                <a:gd name="T19" fmla="*/ 0 h 392"/>
                <a:gd name="T20" fmla="*/ 29 w 480"/>
                <a:gd name="T21" fmla="*/ 237 h 392"/>
                <a:gd name="T22" fmla="*/ 55 w 480"/>
                <a:gd name="T23" fmla="*/ 290 h 392"/>
                <a:gd name="T24" fmla="*/ 130 w 480"/>
                <a:gd name="T25" fmla="*/ 360 h 392"/>
                <a:gd name="T26" fmla="*/ 184 w 480"/>
                <a:gd name="T27" fmla="*/ 385 h 392"/>
                <a:gd name="T28" fmla="*/ 240 w 480"/>
                <a:gd name="T29" fmla="*/ 392 h 392"/>
                <a:gd name="T30" fmla="*/ 296 w 480"/>
                <a:gd name="T31" fmla="*/ 385 h 392"/>
                <a:gd name="T32" fmla="*/ 350 w 480"/>
                <a:gd name="T33" fmla="*/ 360 h 392"/>
                <a:gd name="T34" fmla="*/ 424 w 480"/>
                <a:gd name="T35" fmla="*/ 290 h 392"/>
                <a:gd name="T36" fmla="*/ 451 w 480"/>
                <a:gd name="T37" fmla="*/ 237 h 392"/>
                <a:gd name="T38" fmla="*/ 480 w 480"/>
                <a:gd name="T39" fmla="*/ 0 h 392"/>
                <a:gd name="T40" fmla="*/ 424 w 480"/>
                <a:gd name="T41" fmla="*/ 10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0" h="392">
                  <a:moveTo>
                    <a:pt x="424" y="105"/>
                  </a:moveTo>
                  <a:cubicBezTo>
                    <a:pt x="413" y="127"/>
                    <a:pt x="386" y="135"/>
                    <a:pt x="365" y="123"/>
                  </a:cubicBezTo>
                  <a:cubicBezTo>
                    <a:pt x="321" y="98"/>
                    <a:pt x="321" y="98"/>
                    <a:pt x="321" y="98"/>
                  </a:cubicBezTo>
                  <a:cubicBezTo>
                    <a:pt x="304" y="88"/>
                    <a:pt x="284" y="86"/>
                    <a:pt x="266" y="93"/>
                  </a:cubicBezTo>
                  <a:cubicBezTo>
                    <a:pt x="240" y="103"/>
                    <a:pt x="240" y="103"/>
                    <a:pt x="240" y="103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196" y="86"/>
                    <a:pt x="176" y="88"/>
                    <a:pt x="159" y="98"/>
                  </a:cubicBezTo>
                  <a:cubicBezTo>
                    <a:pt x="115" y="123"/>
                    <a:pt x="115" y="123"/>
                    <a:pt x="115" y="123"/>
                  </a:cubicBezTo>
                  <a:cubicBezTo>
                    <a:pt x="94" y="135"/>
                    <a:pt x="67" y="127"/>
                    <a:pt x="55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237"/>
                    <a:pt x="29" y="237"/>
                    <a:pt x="29" y="237"/>
                  </a:cubicBezTo>
                  <a:cubicBezTo>
                    <a:pt x="31" y="257"/>
                    <a:pt x="41" y="276"/>
                    <a:pt x="55" y="290"/>
                  </a:cubicBezTo>
                  <a:cubicBezTo>
                    <a:pt x="130" y="360"/>
                    <a:pt x="130" y="360"/>
                    <a:pt x="130" y="360"/>
                  </a:cubicBezTo>
                  <a:cubicBezTo>
                    <a:pt x="144" y="374"/>
                    <a:pt x="164" y="383"/>
                    <a:pt x="184" y="385"/>
                  </a:cubicBezTo>
                  <a:cubicBezTo>
                    <a:pt x="240" y="392"/>
                    <a:pt x="240" y="392"/>
                    <a:pt x="240" y="392"/>
                  </a:cubicBezTo>
                  <a:cubicBezTo>
                    <a:pt x="296" y="385"/>
                    <a:pt x="296" y="385"/>
                    <a:pt x="296" y="385"/>
                  </a:cubicBezTo>
                  <a:cubicBezTo>
                    <a:pt x="316" y="383"/>
                    <a:pt x="335" y="374"/>
                    <a:pt x="350" y="360"/>
                  </a:cubicBezTo>
                  <a:cubicBezTo>
                    <a:pt x="424" y="290"/>
                    <a:pt x="424" y="290"/>
                    <a:pt x="424" y="290"/>
                  </a:cubicBezTo>
                  <a:cubicBezTo>
                    <a:pt x="439" y="276"/>
                    <a:pt x="448" y="257"/>
                    <a:pt x="451" y="237"/>
                  </a:cubicBezTo>
                  <a:cubicBezTo>
                    <a:pt x="480" y="0"/>
                    <a:pt x="480" y="0"/>
                    <a:pt x="480" y="0"/>
                  </a:cubicBezTo>
                  <a:lnTo>
                    <a:pt x="424" y="105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5" name="Freeform 29">
              <a:extLst>
                <a:ext uri="{FF2B5EF4-FFF2-40B4-BE49-F238E27FC236}">
                  <a16:creationId xmlns:a16="http://schemas.microsoft.com/office/drawing/2014/main" id="{55F8711D-56F5-4C86-97F1-E8312CAD5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" y="2068"/>
              <a:ext cx="135" cy="71"/>
            </a:xfrm>
            <a:custGeom>
              <a:avLst/>
              <a:gdLst>
                <a:gd name="T0" fmla="*/ 161 w 169"/>
                <a:gd name="T1" fmla="*/ 33 h 90"/>
                <a:gd name="T2" fmla="*/ 95 w 169"/>
                <a:gd name="T3" fmla="*/ 3 h 90"/>
                <a:gd name="T4" fmla="*/ 74 w 169"/>
                <a:gd name="T5" fmla="*/ 3 h 90"/>
                <a:gd name="T6" fmla="*/ 8 w 169"/>
                <a:gd name="T7" fmla="*/ 33 h 90"/>
                <a:gd name="T8" fmla="*/ 4 w 169"/>
                <a:gd name="T9" fmla="*/ 49 h 90"/>
                <a:gd name="T10" fmla="*/ 24 w 169"/>
                <a:gd name="T11" fmla="*/ 73 h 90"/>
                <a:gd name="T12" fmla="*/ 38 w 169"/>
                <a:gd name="T13" fmla="*/ 81 h 90"/>
                <a:gd name="T14" fmla="*/ 85 w 169"/>
                <a:gd name="T15" fmla="*/ 90 h 90"/>
                <a:gd name="T16" fmla="*/ 131 w 169"/>
                <a:gd name="T17" fmla="*/ 81 h 90"/>
                <a:gd name="T18" fmla="*/ 145 w 169"/>
                <a:gd name="T19" fmla="*/ 73 h 90"/>
                <a:gd name="T20" fmla="*/ 165 w 169"/>
                <a:gd name="T21" fmla="*/ 49 h 90"/>
                <a:gd name="T22" fmla="*/ 161 w 169"/>
                <a:gd name="T23" fmla="*/ 3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9" h="90">
                  <a:moveTo>
                    <a:pt x="161" y="33"/>
                  </a:moveTo>
                  <a:cubicBezTo>
                    <a:pt x="95" y="3"/>
                    <a:pt x="95" y="3"/>
                    <a:pt x="95" y="3"/>
                  </a:cubicBezTo>
                  <a:cubicBezTo>
                    <a:pt x="88" y="0"/>
                    <a:pt x="81" y="0"/>
                    <a:pt x="74" y="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" y="36"/>
                    <a:pt x="0" y="44"/>
                    <a:pt x="4" y="49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7" y="77"/>
                    <a:pt x="32" y="80"/>
                    <a:pt x="38" y="81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131" y="81"/>
                    <a:pt x="131" y="81"/>
                    <a:pt x="131" y="81"/>
                  </a:cubicBezTo>
                  <a:cubicBezTo>
                    <a:pt x="137" y="80"/>
                    <a:pt x="142" y="77"/>
                    <a:pt x="145" y="73"/>
                  </a:cubicBezTo>
                  <a:cubicBezTo>
                    <a:pt x="165" y="49"/>
                    <a:pt x="165" y="49"/>
                    <a:pt x="165" y="49"/>
                  </a:cubicBezTo>
                  <a:cubicBezTo>
                    <a:pt x="169" y="44"/>
                    <a:pt x="167" y="36"/>
                    <a:pt x="161" y="33"/>
                  </a:cubicBez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56" name="Freeform 30">
              <a:extLst>
                <a:ext uri="{FF2B5EF4-FFF2-40B4-BE49-F238E27FC236}">
                  <a16:creationId xmlns:a16="http://schemas.microsoft.com/office/drawing/2014/main" id="{B3255B32-3D6B-4B20-B7E7-84D49F6DC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2" y="2114"/>
              <a:ext cx="37" cy="51"/>
            </a:xfrm>
            <a:custGeom>
              <a:avLst/>
              <a:gdLst>
                <a:gd name="T0" fmla="*/ 24 w 47"/>
                <a:gd name="T1" fmla="*/ 64 h 64"/>
                <a:gd name="T2" fmla="*/ 24 w 47"/>
                <a:gd name="T3" fmla="*/ 64 h 64"/>
                <a:gd name="T4" fmla="*/ 0 w 47"/>
                <a:gd name="T5" fmla="*/ 41 h 64"/>
                <a:gd name="T6" fmla="*/ 0 w 47"/>
                <a:gd name="T7" fmla="*/ 23 h 64"/>
                <a:gd name="T8" fmla="*/ 24 w 47"/>
                <a:gd name="T9" fmla="*/ 0 h 64"/>
                <a:gd name="T10" fmla="*/ 24 w 47"/>
                <a:gd name="T11" fmla="*/ 0 h 64"/>
                <a:gd name="T12" fmla="*/ 47 w 47"/>
                <a:gd name="T13" fmla="*/ 23 h 64"/>
                <a:gd name="T14" fmla="*/ 47 w 47"/>
                <a:gd name="T15" fmla="*/ 41 h 64"/>
                <a:gd name="T16" fmla="*/ 24 w 47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64">
                  <a:moveTo>
                    <a:pt x="24" y="64"/>
                  </a:moveTo>
                  <a:cubicBezTo>
                    <a:pt x="24" y="64"/>
                    <a:pt x="24" y="64"/>
                    <a:pt x="24" y="64"/>
                  </a:cubicBezTo>
                  <a:cubicBezTo>
                    <a:pt x="11" y="64"/>
                    <a:pt x="0" y="54"/>
                    <a:pt x="0" y="41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7" y="0"/>
                    <a:pt x="47" y="10"/>
                    <a:pt x="47" y="23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54"/>
                    <a:pt x="37" y="64"/>
                    <a:pt x="24" y="64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</p:grpSp>
      <p:grpSp>
        <p:nvGrpSpPr>
          <p:cNvPr id="160" name="Group 33">
            <a:extLst>
              <a:ext uri="{FF2B5EF4-FFF2-40B4-BE49-F238E27FC236}">
                <a16:creationId xmlns:a16="http://schemas.microsoft.com/office/drawing/2014/main" id="{677D0AD5-2B3A-4354-B93D-E4FEA55FC1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03439" y="2459848"/>
            <a:ext cx="747755" cy="871431"/>
            <a:chOff x="4738" y="1517"/>
            <a:chExt cx="919" cy="1071"/>
          </a:xfrm>
        </p:grpSpPr>
        <p:sp>
          <p:nvSpPr>
            <p:cNvPr id="161" name="Freeform 34">
              <a:extLst>
                <a:ext uri="{FF2B5EF4-FFF2-40B4-BE49-F238E27FC236}">
                  <a16:creationId xmlns:a16="http://schemas.microsoft.com/office/drawing/2014/main" id="{86090A6A-4967-4305-81DB-1925E0E13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122"/>
              <a:ext cx="919" cy="466"/>
            </a:xfrm>
            <a:custGeom>
              <a:avLst/>
              <a:gdLst>
                <a:gd name="T0" fmla="*/ 1047 w 1047"/>
                <a:gd name="T1" fmla="*/ 393 h 532"/>
                <a:gd name="T2" fmla="*/ 1047 w 1047"/>
                <a:gd name="T3" fmla="*/ 532 h 532"/>
                <a:gd name="T4" fmla="*/ 0 w 1047"/>
                <a:gd name="T5" fmla="*/ 532 h 532"/>
                <a:gd name="T6" fmla="*/ 0 w 1047"/>
                <a:gd name="T7" fmla="*/ 393 h 532"/>
                <a:gd name="T8" fmla="*/ 222 w 1047"/>
                <a:gd name="T9" fmla="*/ 91 h 532"/>
                <a:gd name="T10" fmla="*/ 315 w 1047"/>
                <a:gd name="T11" fmla="*/ 63 h 532"/>
                <a:gd name="T12" fmla="*/ 400 w 1047"/>
                <a:gd name="T13" fmla="*/ 38 h 532"/>
                <a:gd name="T14" fmla="*/ 517 w 1047"/>
                <a:gd name="T15" fmla="*/ 4 h 532"/>
                <a:gd name="T16" fmla="*/ 517 w 1047"/>
                <a:gd name="T17" fmla="*/ 0 h 532"/>
                <a:gd name="T18" fmla="*/ 524 w 1047"/>
                <a:gd name="T19" fmla="*/ 2 h 532"/>
                <a:gd name="T20" fmla="*/ 530 w 1047"/>
                <a:gd name="T21" fmla="*/ 0 h 532"/>
                <a:gd name="T22" fmla="*/ 530 w 1047"/>
                <a:gd name="T23" fmla="*/ 4 h 532"/>
                <a:gd name="T24" fmla="*/ 673 w 1047"/>
                <a:gd name="T25" fmla="*/ 46 h 532"/>
                <a:gd name="T26" fmla="*/ 756 w 1047"/>
                <a:gd name="T27" fmla="*/ 70 h 532"/>
                <a:gd name="T28" fmla="*/ 826 w 1047"/>
                <a:gd name="T29" fmla="*/ 91 h 532"/>
                <a:gd name="T30" fmla="*/ 1047 w 1047"/>
                <a:gd name="T31" fmla="*/ 393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7" h="532">
                  <a:moveTo>
                    <a:pt x="1047" y="393"/>
                  </a:moveTo>
                  <a:cubicBezTo>
                    <a:pt x="1047" y="532"/>
                    <a:pt x="1047" y="532"/>
                    <a:pt x="1047" y="532"/>
                  </a:cubicBezTo>
                  <a:cubicBezTo>
                    <a:pt x="0" y="532"/>
                    <a:pt x="0" y="532"/>
                    <a:pt x="0" y="532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0" y="252"/>
                    <a:pt x="91" y="129"/>
                    <a:pt x="222" y="91"/>
                  </a:cubicBezTo>
                  <a:cubicBezTo>
                    <a:pt x="315" y="63"/>
                    <a:pt x="315" y="63"/>
                    <a:pt x="315" y="63"/>
                  </a:cubicBezTo>
                  <a:cubicBezTo>
                    <a:pt x="400" y="38"/>
                    <a:pt x="400" y="38"/>
                    <a:pt x="400" y="38"/>
                  </a:cubicBezTo>
                  <a:cubicBezTo>
                    <a:pt x="517" y="4"/>
                    <a:pt x="517" y="4"/>
                    <a:pt x="517" y="4"/>
                  </a:cubicBezTo>
                  <a:cubicBezTo>
                    <a:pt x="517" y="0"/>
                    <a:pt x="517" y="0"/>
                    <a:pt x="517" y="0"/>
                  </a:cubicBezTo>
                  <a:cubicBezTo>
                    <a:pt x="524" y="2"/>
                    <a:pt x="524" y="2"/>
                    <a:pt x="524" y="2"/>
                  </a:cubicBezTo>
                  <a:cubicBezTo>
                    <a:pt x="530" y="0"/>
                    <a:pt x="530" y="0"/>
                    <a:pt x="530" y="0"/>
                  </a:cubicBezTo>
                  <a:cubicBezTo>
                    <a:pt x="530" y="4"/>
                    <a:pt x="530" y="4"/>
                    <a:pt x="530" y="4"/>
                  </a:cubicBezTo>
                  <a:cubicBezTo>
                    <a:pt x="673" y="46"/>
                    <a:pt x="673" y="46"/>
                    <a:pt x="673" y="46"/>
                  </a:cubicBezTo>
                  <a:cubicBezTo>
                    <a:pt x="756" y="70"/>
                    <a:pt x="756" y="70"/>
                    <a:pt x="756" y="70"/>
                  </a:cubicBezTo>
                  <a:cubicBezTo>
                    <a:pt x="826" y="91"/>
                    <a:pt x="826" y="91"/>
                    <a:pt x="826" y="91"/>
                  </a:cubicBezTo>
                  <a:cubicBezTo>
                    <a:pt x="957" y="129"/>
                    <a:pt x="1047" y="252"/>
                    <a:pt x="1047" y="393"/>
                  </a:cubicBezTo>
                  <a:close/>
                </a:path>
              </a:pathLst>
            </a:custGeom>
            <a:solidFill>
              <a:srgbClr val="E6E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2" name="Freeform 35">
              <a:extLst>
                <a:ext uri="{FF2B5EF4-FFF2-40B4-BE49-F238E27FC236}">
                  <a16:creationId xmlns:a16="http://schemas.microsoft.com/office/drawing/2014/main" id="{96B6723D-5D7A-4020-8EAC-7BCBCE2DE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8" y="2177"/>
              <a:ext cx="336" cy="411"/>
            </a:xfrm>
            <a:custGeom>
              <a:avLst/>
              <a:gdLst>
                <a:gd name="T0" fmla="*/ 383 w 383"/>
                <a:gd name="T1" fmla="*/ 469 h 469"/>
                <a:gd name="T2" fmla="*/ 0 w 383"/>
                <a:gd name="T3" fmla="*/ 469 h 469"/>
                <a:gd name="T4" fmla="*/ 0 w 383"/>
                <a:gd name="T5" fmla="*/ 330 h 469"/>
                <a:gd name="T6" fmla="*/ 222 w 383"/>
                <a:gd name="T7" fmla="*/ 28 h 469"/>
                <a:gd name="T8" fmla="*/ 315 w 383"/>
                <a:gd name="T9" fmla="*/ 0 h 469"/>
                <a:gd name="T10" fmla="*/ 380 w 383"/>
                <a:gd name="T11" fmla="*/ 169 h 469"/>
                <a:gd name="T12" fmla="*/ 383 w 383"/>
                <a:gd name="T13" fmla="*/ 4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3" h="469">
                  <a:moveTo>
                    <a:pt x="383" y="469"/>
                  </a:moveTo>
                  <a:cubicBezTo>
                    <a:pt x="0" y="469"/>
                    <a:pt x="0" y="469"/>
                    <a:pt x="0" y="469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189"/>
                    <a:pt x="91" y="66"/>
                    <a:pt x="222" y="28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80" y="169"/>
                    <a:pt x="380" y="169"/>
                    <a:pt x="380" y="169"/>
                  </a:cubicBezTo>
                  <a:lnTo>
                    <a:pt x="383" y="469"/>
                  </a:ln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3" name="Freeform 36">
              <a:extLst>
                <a:ext uri="{FF2B5EF4-FFF2-40B4-BE49-F238E27FC236}">
                  <a16:creationId xmlns:a16="http://schemas.microsoft.com/office/drawing/2014/main" id="{4B2C5171-414E-486F-BEA6-A46065E6C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6" y="2183"/>
              <a:ext cx="371" cy="405"/>
            </a:xfrm>
            <a:custGeom>
              <a:avLst/>
              <a:gdLst>
                <a:gd name="T0" fmla="*/ 423 w 423"/>
                <a:gd name="T1" fmla="*/ 323 h 462"/>
                <a:gd name="T2" fmla="*/ 423 w 423"/>
                <a:gd name="T3" fmla="*/ 462 h 462"/>
                <a:gd name="T4" fmla="*/ 0 w 423"/>
                <a:gd name="T5" fmla="*/ 462 h 462"/>
                <a:gd name="T6" fmla="*/ 68 w 423"/>
                <a:gd name="T7" fmla="*/ 158 h 462"/>
                <a:gd name="T8" fmla="*/ 132 w 423"/>
                <a:gd name="T9" fmla="*/ 0 h 462"/>
                <a:gd name="T10" fmla="*/ 202 w 423"/>
                <a:gd name="T11" fmla="*/ 21 h 462"/>
                <a:gd name="T12" fmla="*/ 423 w 423"/>
                <a:gd name="T13" fmla="*/ 323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3" h="462">
                  <a:moveTo>
                    <a:pt x="423" y="323"/>
                  </a:moveTo>
                  <a:cubicBezTo>
                    <a:pt x="423" y="462"/>
                    <a:pt x="423" y="462"/>
                    <a:pt x="423" y="462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68" y="158"/>
                    <a:pt x="68" y="158"/>
                    <a:pt x="68" y="158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202" y="21"/>
                    <a:pt x="202" y="21"/>
                    <a:pt x="202" y="21"/>
                  </a:cubicBezTo>
                  <a:cubicBezTo>
                    <a:pt x="333" y="59"/>
                    <a:pt x="423" y="182"/>
                    <a:pt x="423" y="323"/>
                  </a:cubicBez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4" name="Freeform 37">
              <a:extLst>
                <a:ext uri="{FF2B5EF4-FFF2-40B4-BE49-F238E27FC236}">
                  <a16:creationId xmlns:a16="http://schemas.microsoft.com/office/drawing/2014/main" id="{198D67C6-A155-44EA-AC70-BDC183FDB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" y="2122"/>
              <a:ext cx="452" cy="466"/>
            </a:xfrm>
            <a:custGeom>
              <a:avLst/>
              <a:gdLst>
                <a:gd name="T0" fmla="*/ 377 w 452"/>
                <a:gd name="T1" fmla="*/ 204 h 466"/>
                <a:gd name="T2" fmla="*/ 441 w 452"/>
                <a:gd name="T3" fmla="*/ 274 h 466"/>
                <a:gd name="T4" fmla="*/ 359 w 452"/>
                <a:gd name="T5" fmla="*/ 466 h 466"/>
                <a:gd name="T6" fmla="*/ 93 w 452"/>
                <a:gd name="T7" fmla="*/ 466 h 466"/>
                <a:gd name="T8" fmla="*/ 12 w 452"/>
                <a:gd name="T9" fmla="*/ 274 h 466"/>
                <a:gd name="T10" fmla="*/ 75 w 452"/>
                <a:gd name="T11" fmla="*/ 204 h 466"/>
                <a:gd name="T12" fmla="*/ 0 w 452"/>
                <a:gd name="T13" fmla="*/ 204 h 466"/>
                <a:gd name="T14" fmla="*/ 33 w 452"/>
                <a:gd name="T15" fmla="*/ 55 h 466"/>
                <a:gd name="T16" fmla="*/ 104 w 452"/>
                <a:gd name="T17" fmla="*/ 34 h 466"/>
                <a:gd name="T18" fmla="*/ 108 w 452"/>
                <a:gd name="T19" fmla="*/ 33 h 466"/>
                <a:gd name="T20" fmla="*/ 211 w 452"/>
                <a:gd name="T21" fmla="*/ 3 h 466"/>
                <a:gd name="T22" fmla="*/ 211 w 452"/>
                <a:gd name="T23" fmla="*/ 0 h 466"/>
                <a:gd name="T24" fmla="*/ 217 w 452"/>
                <a:gd name="T25" fmla="*/ 2 h 466"/>
                <a:gd name="T26" fmla="*/ 222 w 452"/>
                <a:gd name="T27" fmla="*/ 0 h 466"/>
                <a:gd name="T28" fmla="*/ 222 w 452"/>
                <a:gd name="T29" fmla="*/ 3 h 466"/>
                <a:gd name="T30" fmla="*/ 348 w 452"/>
                <a:gd name="T31" fmla="*/ 40 h 466"/>
                <a:gd name="T32" fmla="*/ 420 w 452"/>
                <a:gd name="T33" fmla="*/ 61 h 466"/>
                <a:gd name="T34" fmla="*/ 452 w 452"/>
                <a:gd name="T35" fmla="*/ 204 h 466"/>
                <a:gd name="T36" fmla="*/ 377 w 452"/>
                <a:gd name="T37" fmla="*/ 204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2" h="466">
                  <a:moveTo>
                    <a:pt x="377" y="204"/>
                  </a:moveTo>
                  <a:lnTo>
                    <a:pt x="441" y="274"/>
                  </a:lnTo>
                  <a:lnTo>
                    <a:pt x="359" y="466"/>
                  </a:lnTo>
                  <a:lnTo>
                    <a:pt x="93" y="466"/>
                  </a:lnTo>
                  <a:lnTo>
                    <a:pt x="12" y="274"/>
                  </a:lnTo>
                  <a:lnTo>
                    <a:pt x="75" y="204"/>
                  </a:lnTo>
                  <a:lnTo>
                    <a:pt x="0" y="204"/>
                  </a:lnTo>
                  <a:lnTo>
                    <a:pt x="33" y="55"/>
                  </a:lnTo>
                  <a:lnTo>
                    <a:pt x="104" y="34"/>
                  </a:lnTo>
                  <a:lnTo>
                    <a:pt x="108" y="33"/>
                  </a:lnTo>
                  <a:lnTo>
                    <a:pt x="211" y="3"/>
                  </a:lnTo>
                  <a:lnTo>
                    <a:pt x="211" y="0"/>
                  </a:lnTo>
                  <a:lnTo>
                    <a:pt x="217" y="2"/>
                  </a:lnTo>
                  <a:lnTo>
                    <a:pt x="222" y="0"/>
                  </a:lnTo>
                  <a:lnTo>
                    <a:pt x="222" y="3"/>
                  </a:lnTo>
                  <a:lnTo>
                    <a:pt x="348" y="40"/>
                  </a:lnTo>
                  <a:lnTo>
                    <a:pt x="420" y="61"/>
                  </a:lnTo>
                  <a:lnTo>
                    <a:pt x="452" y="204"/>
                  </a:lnTo>
                  <a:lnTo>
                    <a:pt x="377" y="204"/>
                  </a:lnTo>
                  <a:close/>
                </a:path>
              </a:pathLst>
            </a:custGeom>
            <a:solidFill>
              <a:srgbClr val="E6E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5" name="Freeform 38">
              <a:extLst>
                <a:ext uri="{FF2B5EF4-FFF2-40B4-BE49-F238E27FC236}">
                  <a16:creationId xmlns:a16="http://schemas.microsoft.com/office/drawing/2014/main" id="{A62C9CAF-5C04-46A5-B26A-A00D6CA73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" y="2030"/>
              <a:ext cx="243" cy="219"/>
            </a:xfrm>
            <a:custGeom>
              <a:avLst/>
              <a:gdLst>
                <a:gd name="T0" fmla="*/ 276 w 276"/>
                <a:gd name="T1" fmla="*/ 0 h 250"/>
                <a:gd name="T2" fmla="*/ 276 w 276"/>
                <a:gd name="T3" fmla="*/ 171 h 250"/>
                <a:gd name="T4" fmla="*/ 270 w 276"/>
                <a:gd name="T5" fmla="*/ 207 h 250"/>
                <a:gd name="T6" fmla="*/ 246 w 276"/>
                <a:gd name="T7" fmla="*/ 250 h 250"/>
                <a:gd name="T8" fmla="*/ 144 w 276"/>
                <a:gd name="T9" fmla="*/ 245 h 250"/>
                <a:gd name="T10" fmla="*/ 30 w 276"/>
                <a:gd name="T11" fmla="*/ 250 h 250"/>
                <a:gd name="T12" fmla="*/ 0 w 276"/>
                <a:gd name="T13" fmla="*/ 171 h 250"/>
                <a:gd name="T14" fmla="*/ 0 w 276"/>
                <a:gd name="T15" fmla="*/ 0 h 250"/>
                <a:gd name="T16" fmla="*/ 276 w 276"/>
                <a:gd name="T1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250">
                  <a:moveTo>
                    <a:pt x="276" y="0"/>
                  </a:moveTo>
                  <a:cubicBezTo>
                    <a:pt x="276" y="171"/>
                    <a:pt x="276" y="171"/>
                    <a:pt x="276" y="171"/>
                  </a:cubicBezTo>
                  <a:cubicBezTo>
                    <a:pt x="276" y="183"/>
                    <a:pt x="274" y="195"/>
                    <a:pt x="270" y="207"/>
                  </a:cubicBezTo>
                  <a:cubicBezTo>
                    <a:pt x="265" y="223"/>
                    <a:pt x="257" y="237"/>
                    <a:pt x="246" y="250"/>
                  </a:cubicBezTo>
                  <a:cubicBezTo>
                    <a:pt x="144" y="245"/>
                    <a:pt x="144" y="245"/>
                    <a:pt x="144" y="245"/>
                  </a:cubicBezTo>
                  <a:cubicBezTo>
                    <a:pt x="30" y="250"/>
                    <a:pt x="30" y="250"/>
                    <a:pt x="30" y="250"/>
                  </a:cubicBezTo>
                  <a:cubicBezTo>
                    <a:pt x="11" y="228"/>
                    <a:pt x="0" y="200"/>
                    <a:pt x="0" y="17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6" name="Freeform 39">
              <a:extLst>
                <a:ext uri="{FF2B5EF4-FFF2-40B4-BE49-F238E27FC236}">
                  <a16:creationId xmlns:a16="http://schemas.microsoft.com/office/drawing/2014/main" id="{F78ABD9A-7213-4273-B9E5-8214A10BD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" y="2032"/>
              <a:ext cx="243" cy="164"/>
            </a:xfrm>
            <a:custGeom>
              <a:avLst/>
              <a:gdLst>
                <a:gd name="T0" fmla="*/ 276 w 276"/>
                <a:gd name="T1" fmla="*/ 0 h 188"/>
                <a:gd name="T2" fmla="*/ 276 w 276"/>
                <a:gd name="T3" fmla="*/ 105 h 188"/>
                <a:gd name="T4" fmla="*/ 270 w 276"/>
                <a:gd name="T5" fmla="*/ 141 h 188"/>
                <a:gd name="T6" fmla="*/ 227 w 276"/>
                <a:gd name="T7" fmla="*/ 164 h 188"/>
                <a:gd name="T8" fmla="*/ 0 w 276"/>
                <a:gd name="T9" fmla="*/ 57 h 188"/>
                <a:gd name="T10" fmla="*/ 276 w 276"/>
                <a:gd name="T11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6" h="188">
                  <a:moveTo>
                    <a:pt x="276" y="0"/>
                  </a:moveTo>
                  <a:cubicBezTo>
                    <a:pt x="276" y="105"/>
                    <a:pt x="276" y="105"/>
                    <a:pt x="276" y="105"/>
                  </a:cubicBezTo>
                  <a:cubicBezTo>
                    <a:pt x="276" y="117"/>
                    <a:pt x="274" y="129"/>
                    <a:pt x="270" y="141"/>
                  </a:cubicBezTo>
                  <a:cubicBezTo>
                    <a:pt x="261" y="153"/>
                    <a:pt x="247" y="162"/>
                    <a:pt x="227" y="164"/>
                  </a:cubicBezTo>
                  <a:cubicBezTo>
                    <a:pt x="72" y="188"/>
                    <a:pt x="0" y="57"/>
                    <a:pt x="0" y="57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DCC3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7" name="Freeform 40">
              <a:extLst>
                <a:ext uri="{FF2B5EF4-FFF2-40B4-BE49-F238E27FC236}">
                  <a16:creationId xmlns:a16="http://schemas.microsoft.com/office/drawing/2014/main" id="{183B5389-8B47-4193-85E6-F24033D77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9" y="1814"/>
              <a:ext cx="92" cy="116"/>
            </a:xfrm>
            <a:custGeom>
              <a:avLst/>
              <a:gdLst>
                <a:gd name="T0" fmla="*/ 53 w 105"/>
                <a:gd name="T1" fmla="*/ 0 h 132"/>
                <a:gd name="T2" fmla="*/ 72 w 105"/>
                <a:gd name="T3" fmla="*/ 67 h 132"/>
                <a:gd name="T4" fmla="*/ 11 w 105"/>
                <a:gd name="T5" fmla="*/ 132 h 132"/>
                <a:gd name="T6" fmla="*/ 0 w 105"/>
                <a:gd name="T7" fmla="*/ 53 h 132"/>
                <a:gd name="T8" fmla="*/ 53 w 105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32">
                  <a:moveTo>
                    <a:pt x="53" y="0"/>
                  </a:moveTo>
                  <a:cubicBezTo>
                    <a:pt x="53" y="0"/>
                    <a:pt x="105" y="9"/>
                    <a:pt x="72" y="67"/>
                  </a:cubicBezTo>
                  <a:cubicBezTo>
                    <a:pt x="38" y="125"/>
                    <a:pt x="11" y="132"/>
                    <a:pt x="11" y="132"/>
                  </a:cubicBezTo>
                  <a:cubicBezTo>
                    <a:pt x="0" y="53"/>
                    <a:pt x="0" y="53"/>
                    <a:pt x="0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4B4C9B1E-5E5F-4295-A423-FD4686FE5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5" y="1517"/>
              <a:ext cx="475" cy="618"/>
            </a:xfrm>
            <a:custGeom>
              <a:avLst/>
              <a:gdLst>
                <a:gd name="T0" fmla="*/ 525 w 541"/>
                <a:gd name="T1" fmla="*/ 340 h 705"/>
                <a:gd name="T2" fmla="*/ 523 w 541"/>
                <a:gd name="T3" fmla="*/ 353 h 705"/>
                <a:gd name="T4" fmla="*/ 432 w 541"/>
                <a:gd name="T5" fmla="*/ 603 h 705"/>
                <a:gd name="T6" fmla="*/ 273 w 541"/>
                <a:gd name="T7" fmla="*/ 705 h 705"/>
                <a:gd name="T8" fmla="*/ 114 w 541"/>
                <a:gd name="T9" fmla="*/ 603 h 705"/>
                <a:gd name="T10" fmla="*/ 23 w 541"/>
                <a:gd name="T11" fmla="*/ 353 h 705"/>
                <a:gd name="T12" fmla="*/ 23 w 541"/>
                <a:gd name="T13" fmla="*/ 148 h 705"/>
                <a:gd name="T14" fmla="*/ 77 w 541"/>
                <a:gd name="T15" fmla="*/ 64 h 705"/>
                <a:gd name="T16" fmla="*/ 125 w 541"/>
                <a:gd name="T17" fmla="*/ 35 h 705"/>
                <a:gd name="T18" fmla="*/ 273 w 541"/>
                <a:gd name="T19" fmla="*/ 0 h 705"/>
                <a:gd name="T20" fmla="*/ 420 w 541"/>
                <a:gd name="T21" fmla="*/ 35 h 705"/>
                <a:gd name="T22" fmla="*/ 463 w 541"/>
                <a:gd name="T23" fmla="*/ 60 h 705"/>
                <a:gd name="T24" fmla="*/ 474 w 541"/>
                <a:gd name="T25" fmla="*/ 69 h 705"/>
                <a:gd name="T26" fmla="*/ 523 w 541"/>
                <a:gd name="T27" fmla="*/ 148 h 705"/>
                <a:gd name="T28" fmla="*/ 525 w 541"/>
                <a:gd name="T29" fmla="*/ 340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1" h="705">
                  <a:moveTo>
                    <a:pt x="525" y="340"/>
                  </a:moveTo>
                  <a:cubicBezTo>
                    <a:pt x="523" y="348"/>
                    <a:pt x="523" y="353"/>
                    <a:pt x="523" y="353"/>
                  </a:cubicBezTo>
                  <a:cubicBezTo>
                    <a:pt x="523" y="353"/>
                    <a:pt x="497" y="505"/>
                    <a:pt x="432" y="603"/>
                  </a:cubicBezTo>
                  <a:cubicBezTo>
                    <a:pt x="364" y="705"/>
                    <a:pt x="273" y="705"/>
                    <a:pt x="273" y="705"/>
                  </a:cubicBezTo>
                  <a:cubicBezTo>
                    <a:pt x="273" y="705"/>
                    <a:pt x="182" y="705"/>
                    <a:pt x="114" y="603"/>
                  </a:cubicBezTo>
                  <a:cubicBezTo>
                    <a:pt x="49" y="505"/>
                    <a:pt x="23" y="353"/>
                    <a:pt x="23" y="353"/>
                  </a:cubicBezTo>
                  <a:cubicBezTo>
                    <a:pt x="23" y="353"/>
                    <a:pt x="0" y="216"/>
                    <a:pt x="23" y="148"/>
                  </a:cubicBezTo>
                  <a:cubicBezTo>
                    <a:pt x="37" y="106"/>
                    <a:pt x="55" y="82"/>
                    <a:pt x="77" y="64"/>
                  </a:cubicBezTo>
                  <a:cubicBezTo>
                    <a:pt x="91" y="52"/>
                    <a:pt x="107" y="43"/>
                    <a:pt x="125" y="35"/>
                  </a:cubicBezTo>
                  <a:cubicBezTo>
                    <a:pt x="193" y="0"/>
                    <a:pt x="273" y="0"/>
                    <a:pt x="273" y="0"/>
                  </a:cubicBezTo>
                  <a:cubicBezTo>
                    <a:pt x="273" y="0"/>
                    <a:pt x="352" y="0"/>
                    <a:pt x="420" y="35"/>
                  </a:cubicBezTo>
                  <a:cubicBezTo>
                    <a:pt x="436" y="42"/>
                    <a:pt x="450" y="50"/>
                    <a:pt x="463" y="60"/>
                  </a:cubicBezTo>
                  <a:cubicBezTo>
                    <a:pt x="467" y="63"/>
                    <a:pt x="471" y="65"/>
                    <a:pt x="474" y="69"/>
                  </a:cubicBezTo>
                  <a:cubicBezTo>
                    <a:pt x="494" y="86"/>
                    <a:pt x="510" y="110"/>
                    <a:pt x="523" y="148"/>
                  </a:cubicBezTo>
                  <a:cubicBezTo>
                    <a:pt x="541" y="203"/>
                    <a:pt x="530" y="304"/>
                    <a:pt x="525" y="340"/>
                  </a:cubicBez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69" name="Freeform 42">
              <a:extLst>
                <a:ext uri="{FF2B5EF4-FFF2-40B4-BE49-F238E27FC236}">
                  <a16:creationId xmlns:a16="http://schemas.microsoft.com/office/drawing/2014/main" id="{263FB177-B73C-4BBA-B756-BE158AFE9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8" y="1814"/>
              <a:ext cx="93" cy="116"/>
            </a:xfrm>
            <a:custGeom>
              <a:avLst/>
              <a:gdLst>
                <a:gd name="T0" fmla="*/ 53 w 106"/>
                <a:gd name="T1" fmla="*/ 0 h 132"/>
                <a:gd name="T2" fmla="*/ 34 w 106"/>
                <a:gd name="T3" fmla="*/ 67 h 132"/>
                <a:gd name="T4" fmla="*/ 94 w 106"/>
                <a:gd name="T5" fmla="*/ 132 h 132"/>
                <a:gd name="T6" fmla="*/ 106 w 106"/>
                <a:gd name="T7" fmla="*/ 53 h 132"/>
                <a:gd name="T8" fmla="*/ 53 w 106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32">
                  <a:moveTo>
                    <a:pt x="53" y="0"/>
                  </a:moveTo>
                  <a:cubicBezTo>
                    <a:pt x="53" y="0"/>
                    <a:pt x="0" y="9"/>
                    <a:pt x="34" y="67"/>
                  </a:cubicBezTo>
                  <a:cubicBezTo>
                    <a:pt x="67" y="125"/>
                    <a:pt x="94" y="132"/>
                    <a:pt x="94" y="132"/>
                  </a:cubicBezTo>
                  <a:cubicBezTo>
                    <a:pt x="106" y="53"/>
                    <a:pt x="106" y="53"/>
                    <a:pt x="106" y="53"/>
                  </a:cubicBezTo>
                  <a:lnTo>
                    <a:pt x="53" y="0"/>
                  </a:lnTo>
                  <a:close/>
                </a:path>
              </a:pathLst>
            </a:custGeom>
            <a:solidFill>
              <a:srgbClr val="FFE8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0" name="Freeform 43">
              <a:extLst>
                <a:ext uri="{FF2B5EF4-FFF2-40B4-BE49-F238E27FC236}">
                  <a16:creationId xmlns:a16="http://schemas.microsoft.com/office/drawing/2014/main" id="{9FA3EB21-EF6F-4EA3-BC76-7F92A2B041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" y="2136"/>
              <a:ext cx="122" cy="217"/>
            </a:xfrm>
            <a:custGeom>
              <a:avLst/>
              <a:gdLst>
                <a:gd name="T0" fmla="*/ 122 w 122"/>
                <a:gd name="T1" fmla="*/ 109 h 217"/>
                <a:gd name="T2" fmla="*/ 53 w 122"/>
                <a:gd name="T3" fmla="*/ 217 h 217"/>
                <a:gd name="T4" fmla="*/ 6 w 122"/>
                <a:gd name="T5" fmla="*/ 146 h 217"/>
                <a:gd name="T6" fmla="*/ 0 w 122"/>
                <a:gd name="T7" fmla="*/ 138 h 217"/>
                <a:gd name="T8" fmla="*/ 0 w 122"/>
                <a:gd name="T9" fmla="*/ 20 h 217"/>
                <a:gd name="T10" fmla="*/ 0 w 122"/>
                <a:gd name="T11" fmla="*/ 0 h 217"/>
                <a:gd name="T12" fmla="*/ 122 w 122"/>
                <a:gd name="T13" fmla="*/ 10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217">
                  <a:moveTo>
                    <a:pt x="122" y="109"/>
                  </a:moveTo>
                  <a:lnTo>
                    <a:pt x="53" y="217"/>
                  </a:lnTo>
                  <a:lnTo>
                    <a:pt x="6" y="146"/>
                  </a:lnTo>
                  <a:lnTo>
                    <a:pt x="0" y="138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22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1" name="Freeform 44">
              <a:extLst>
                <a:ext uri="{FF2B5EF4-FFF2-40B4-BE49-F238E27FC236}">
                  <a16:creationId xmlns:a16="http://schemas.microsoft.com/office/drawing/2014/main" id="{C4BEBFA7-2055-4258-98C0-1B4638208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7" y="2136"/>
              <a:ext cx="121" cy="217"/>
            </a:xfrm>
            <a:custGeom>
              <a:avLst/>
              <a:gdLst>
                <a:gd name="T0" fmla="*/ 121 w 121"/>
                <a:gd name="T1" fmla="*/ 0 h 217"/>
                <a:gd name="T2" fmla="*/ 0 w 121"/>
                <a:gd name="T3" fmla="*/ 109 h 217"/>
                <a:gd name="T4" fmla="*/ 68 w 121"/>
                <a:gd name="T5" fmla="*/ 217 h 217"/>
                <a:gd name="T6" fmla="*/ 121 w 121"/>
                <a:gd name="T7" fmla="*/ 138 h 217"/>
                <a:gd name="T8" fmla="*/ 121 w 121"/>
                <a:gd name="T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217">
                  <a:moveTo>
                    <a:pt x="121" y="0"/>
                  </a:moveTo>
                  <a:lnTo>
                    <a:pt x="0" y="109"/>
                  </a:lnTo>
                  <a:lnTo>
                    <a:pt x="68" y="217"/>
                  </a:lnTo>
                  <a:lnTo>
                    <a:pt x="121" y="138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2" name="Freeform 45">
              <a:extLst>
                <a:ext uri="{FF2B5EF4-FFF2-40B4-BE49-F238E27FC236}">
                  <a16:creationId xmlns:a16="http://schemas.microsoft.com/office/drawing/2014/main" id="{F8AC1B08-E554-4C55-9808-FFDA7EFAF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" y="2244"/>
              <a:ext cx="69" cy="95"/>
            </a:xfrm>
            <a:custGeom>
              <a:avLst/>
              <a:gdLst>
                <a:gd name="T0" fmla="*/ 0 w 69"/>
                <a:gd name="T1" fmla="*/ 56 h 95"/>
                <a:gd name="T2" fmla="*/ 36 w 69"/>
                <a:gd name="T3" fmla="*/ 95 h 95"/>
                <a:gd name="T4" fmla="*/ 69 w 69"/>
                <a:gd name="T5" fmla="*/ 56 h 95"/>
                <a:gd name="T6" fmla="*/ 33 w 69"/>
                <a:gd name="T7" fmla="*/ 0 h 95"/>
                <a:gd name="T8" fmla="*/ 0 w 69"/>
                <a:gd name="T9" fmla="*/ 56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95">
                  <a:moveTo>
                    <a:pt x="0" y="56"/>
                  </a:moveTo>
                  <a:lnTo>
                    <a:pt x="36" y="95"/>
                  </a:lnTo>
                  <a:lnTo>
                    <a:pt x="69" y="56"/>
                  </a:lnTo>
                  <a:lnTo>
                    <a:pt x="33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0074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3" name="Freeform 46">
              <a:extLst>
                <a:ext uri="{FF2B5EF4-FFF2-40B4-BE49-F238E27FC236}">
                  <a16:creationId xmlns:a16="http://schemas.microsoft.com/office/drawing/2014/main" id="{C50539FD-E832-4210-9620-E6744DDE8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5" y="2269"/>
              <a:ext cx="144" cy="319"/>
            </a:xfrm>
            <a:custGeom>
              <a:avLst/>
              <a:gdLst>
                <a:gd name="T0" fmla="*/ 94 w 144"/>
                <a:gd name="T1" fmla="*/ 45 h 319"/>
                <a:gd name="T2" fmla="*/ 72 w 144"/>
                <a:gd name="T3" fmla="*/ 0 h 319"/>
                <a:gd name="T4" fmla="*/ 50 w 144"/>
                <a:gd name="T5" fmla="*/ 45 h 319"/>
                <a:gd name="T6" fmla="*/ 0 w 144"/>
                <a:gd name="T7" fmla="*/ 319 h 319"/>
                <a:gd name="T8" fmla="*/ 66 w 144"/>
                <a:gd name="T9" fmla="*/ 319 h 319"/>
                <a:gd name="T10" fmla="*/ 70 w 144"/>
                <a:gd name="T11" fmla="*/ 319 h 319"/>
                <a:gd name="T12" fmla="*/ 144 w 144"/>
                <a:gd name="T13" fmla="*/ 319 h 319"/>
                <a:gd name="T14" fmla="*/ 94 w 144"/>
                <a:gd name="T15" fmla="*/ 4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4" h="319">
                  <a:moveTo>
                    <a:pt x="94" y="45"/>
                  </a:moveTo>
                  <a:lnTo>
                    <a:pt x="72" y="0"/>
                  </a:lnTo>
                  <a:lnTo>
                    <a:pt x="50" y="45"/>
                  </a:lnTo>
                  <a:lnTo>
                    <a:pt x="0" y="319"/>
                  </a:lnTo>
                  <a:lnTo>
                    <a:pt x="66" y="319"/>
                  </a:lnTo>
                  <a:lnTo>
                    <a:pt x="70" y="319"/>
                  </a:lnTo>
                  <a:lnTo>
                    <a:pt x="144" y="319"/>
                  </a:lnTo>
                  <a:lnTo>
                    <a:pt x="94" y="45"/>
                  </a:lnTo>
                  <a:close/>
                </a:path>
              </a:pathLst>
            </a:custGeom>
            <a:solidFill>
              <a:srgbClr val="0074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4" name="Freeform 47">
              <a:extLst>
                <a:ext uri="{FF2B5EF4-FFF2-40B4-BE49-F238E27FC236}">
                  <a16:creationId xmlns:a16="http://schemas.microsoft.com/office/drawing/2014/main" id="{9B39DA66-57E6-42C8-B46A-9515AF923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" y="2156"/>
              <a:ext cx="189" cy="432"/>
            </a:xfrm>
            <a:custGeom>
              <a:avLst/>
              <a:gdLst>
                <a:gd name="T0" fmla="*/ 215 w 215"/>
                <a:gd name="T1" fmla="*/ 493 h 493"/>
                <a:gd name="T2" fmla="*/ 106 w 215"/>
                <a:gd name="T3" fmla="*/ 493 h 493"/>
                <a:gd name="T4" fmla="*/ 14 w 215"/>
                <a:gd name="T5" fmla="*/ 274 h 493"/>
                <a:gd name="T6" fmla="*/ 85 w 215"/>
                <a:gd name="T7" fmla="*/ 194 h 493"/>
                <a:gd name="T8" fmla="*/ 0 w 215"/>
                <a:gd name="T9" fmla="*/ 194 h 493"/>
                <a:gd name="T10" fmla="*/ 38 w 215"/>
                <a:gd name="T11" fmla="*/ 24 h 493"/>
                <a:gd name="T12" fmla="*/ 119 w 215"/>
                <a:gd name="T13" fmla="*/ 0 h 493"/>
                <a:gd name="T14" fmla="*/ 125 w 215"/>
                <a:gd name="T15" fmla="*/ 144 h 493"/>
                <a:gd name="T16" fmla="*/ 148 w 215"/>
                <a:gd name="T17" fmla="*/ 287 h 493"/>
                <a:gd name="T18" fmla="*/ 215 w 215"/>
                <a:gd name="T19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493">
                  <a:moveTo>
                    <a:pt x="215" y="493"/>
                  </a:moveTo>
                  <a:cubicBezTo>
                    <a:pt x="106" y="493"/>
                    <a:pt x="106" y="493"/>
                    <a:pt x="106" y="493"/>
                  </a:cubicBezTo>
                  <a:cubicBezTo>
                    <a:pt x="14" y="274"/>
                    <a:pt x="14" y="274"/>
                    <a:pt x="14" y="274"/>
                  </a:cubicBezTo>
                  <a:cubicBezTo>
                    <a:pt x="85" y="194"/>
                    <a:pt x="85" y="194"/>
                    <a:pt x="85" y="194"/>
                  </a:cubicBezTo>
                  <a:cubicBezTo>
                    <a:pt x="0" y="194"/>
                    <a:pt x="0" y="194"/>
                    <a:pt x="0" y="19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20" y="86"/>
                    <a:pt x="125" y="144"/>
                  </a:cubicBezTo>
                  <a:cubicBezTo>
                    <a:pt x="128" y="191"/>
                    <a:pt x="135" y="241"/>
                    <a:pt x="148" y="287"/>
                  </a:cubicBezTo>
                  <a:cubicBezTo>
                    <a:pt x="188" y="430"/>
                    <a:pt x="215" y="493"/>
                    <a:pt x="215" y="493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5" name="Freeform 48">
              <a:extLst>
                <a:ext uri="{FF2B5EF4-FFF2-40B4-BE49-F238E27FC236}">
                  <a16:creationId xmlns:a16="http://schemas.microsoft.com/office/drawing/2014/main" id="{D55E44D3-FA77-4E63-8436-934D84771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4" y="2162"/>
              <a:ext cx="189" cy="426"/>
            </a:xfrm>
            <a:custGeom>
              <a:avLst/>
              <a:gdLst>
                <a:gd name="T0" fmla="*/ 130 w 215"/>
                <a:gd name="T1" fmla="*/ 187 h 486"/>
                <a:gd name="T2" fmla="*/ 202 w 215"/>
                <a:gd name="T3" fmla="*/ 267 h 486"/>
                <a:gd name="T4" fmla="*/ 109 w 215"/>
                <a:gd name="T5" fmla="*/ 486 h 486"/>
                <a:gd name="T6" fmla="*/ 0 w 215"/>
                <a:gd name="T7" fmla="*/ 486 h 486"/>
                <a:gd name="T8" fmla="*/ 68 w 215"/>
                <a:gd name="T9" fmla="*/ 280 h 486"/>
                <a:gd name="T10" fmla="*/ 91 w 215"/>
                <a:gd name="T11" fmla="*/ 137 h 486"/>
                <a:gd name="T12" fmla="*/ 96 w 215"/>
                <a:gd name="T13" fmla="*/ 0 h 486"/>
                <a:gd name="T14" fmla="*/ 179 w 215"/>
                <a:gd name="T15" fmla="*/ 24 h 486"/>
                <a:gd name="T16" fmla="*/ 215 w 215"/>
                <a:gd name="T17" fmla="*/ 187 h 486"/>
                <a:gd name="T18" fmla="*/ 130 w 215"/>
                <a:gd name="T19" fmla="*/ 187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486">
                  <a:moveTo>
                    <a:pt x="130" y="187"/>
                  </a:moveTo>
                  <a:cubicBezTo>
                    <a:pt x="202" y="267"/>
                    <a:pt x="202" y="267"/>
                    <a:pt x="202" y="267"/>
                  </a:cubicBezTo>
                  <a:cubicBezTo>
                    <a:pt x="109" y="486"/>
                    <a:pt x="109" y="486"/>
                    <a:pt x="109" y="486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0" y="486"/>
                    <a:pt x="27" y="423"/>
                    <a:pt x="68" y="280"/>
                  </a:cubicBezTo>
                  <a:cubicBezTo>
                    <a:pt x="81" y="234"/>
                    <a:pt x="87" y="184"/>
                    <a:pt x="91" y="137"/>
                  </a:cubicBezTo>
                  <a:cubicBezTo>
                    <a:pt x="94" y="88"/>
                    <a:pt x="96" y="21"/>
                    <a:pt x="96" y="0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215" y="187"/>
                    <a:pt x="215" y="187"/>
                    <a:pt x="215" y="187"/>
                  </a:cubicBezTo>
                  <a:lnTo>
                    <a:pt x="130" y="187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  <p:sp>
          <p:nvSpPr>
            <p:cNvPr id="176" name="Freeform 49">
              <a:extLst>
                <a:ext uri="{FF2B5EF4-FFF2-40B4-BE49-F238E27FC236}">
                  <a16:creationId xmlns:a16="http://schemas.microsoft.com/office/drawing/2014/main" id="{82E200AA-4347-4F2C-88F3-9BC50040F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8" y="1517"/>
              <a:ext cx="472" cy="355"/>
            </a:xfrm>
            <a:custGeom>
              <a:avLst/>
              <a:gdLst>
                <a:gd name="T0" fmla="*/ 519 w 537"/>
                <a:gd name="T1" fmla="*/ 148 h 405"/>
                <a:gd name="T2" fmla="*/ 470 w 537"/>
                <a:gd name="T3" fmla="*/ 69 h 405"/>
                <a:gd name="T4" fmla="*/ 464 w 537"/>
                <a:gd name="T5" fmla="*/ 64 h 405"/>
                <a:gd name="T6" fmla="*/ 462 w 537"/>
                <a:gd name="T7" fmla="*/ 62 h 405"/>
                <a:gd name="T8" fmla="*/ 459 w 537"/>
                <a:gd name="T9" fmla="*/ 60 h 405"/>
                <a:gd name="T10" fmla="*/ 459 w 537"/>
                <a:gd name="T11" fmla="*/ 60 h 405"/>
                <a:gd name="T12" fmla="*/ 416 w 537"/>
                <a:gd name="T13" fmla="*/ 35 h 405"/>
                <a:gd name="T14" fmla="*/ 269 w 537"/>
                <a:gd name="T15" fmla="*/ 0 h 405"/>
                <a:gd name="T16" fmla="*/ 121 w 537"/>
                <a:gd name="T17" fmla="*/ 35 h 405"/>
                <a:gd name="T18" fmla="*/ 73 w 537"/>
                <a:gd name="T19" fmla="*/ 64 h 405"/>
                <a:gd name="T20" fmla="*/ 73 w 537"/>
                <a:gd name="T21" fmla="*/ 64 h 405"/>
                <a:gd name="T22" fmla="*/ 67 w 537"/>
                <a:gd name="T23" fmla="*/ 69 h 405"/>
                <a:gd name="T24" fmla="*/ 19 w 537"/>
                <a:gd name="T25" fmla="*/ 148 h 405"/>
                <a:gd name="T26" fmla="*/ 17 w 537"/>
                <a:gd name="T27" fmla="*/ 340 h 405"/>
                <a:gd name="T28" fmla="*/ 18 w 537"/>
                <a:gd name="T29" fmla="*/ 345 h 405"/>
                <a:gd name="T30" fmla="*/ 18 w 537"/>
                <a:gd name="T31" fmla="*/ 345 h 405"/>
                <a:gd name="T32" fmla="*/ 19 w 537"/>
                <a:gd name="T33" fmla="*/ 353 h 405"/>
                <a:gd name="T34" fmla="*/ 24 w 537"/>
                <a:gd name="T35" fmla="*/ 378 h 405"/>
                <a:gd name="T36" fmla="*/ 24 w 537"/>
                <a:gd name="T37" fmla="*/ 378 h 405"/>
                <a:gd name="T38" fmla="*/ 29 w 537"/>
                <a:gd name="T39" fmla="*/ 399 h 405"/>
                <a:gd name="T40" fmla="*/ 31 w 537"/>
                <a:gd name="T41" fmla="*/ 405 h 405"/>
                <a:gd name="T42" fmla="*/ 25 w 537"/>
                <a:gd name="T43" fmla="*/ 318 h 405"/>
                <a:gd name="T44" fmla="*/ 25 w 537"/>
                <a:gd name="T45" fmla="*/ 315 h 405"/>
                <a:gd name="T46" fmla="*/ 52 w 537"/>
                <a:gd name="T47" fmla="*/ 282 h 405"/>
                <a:gd name="T48" fmla="*/ 100 w 537"/>
                <a:gd name="T49" fmla="*/ 236 h 405"/>
                <a:gd name="T50" fmla="*/ 128 w 537"/>
                <a:gd name="T51" fmla="*/ 119 h 405"/>
                <a:gd name="T52" fmla="*/ 273 w 537"/>
                <a:gd name="T53" fmla="*/ 154 h 405"/>
                <a:gd name="T54" fmla="*/ 414 w 537"/>
                <a:gd name="T55" fmla="*/ 121 h 405"/>
                <a:gd name="T56" fmla="*/ 413 w 537"/>
                <a:gd name="T57" fmla="*/ 122 h 405"/>
                <a:gd name="T58" fmla="*/ 437 w 537"/>
                <a:gd name="T59" fmla="*/ 236 h 405"/>
                <a:gd name="T60" fmla="*/ 485 w 537"/>
                <a:gd name="T61" fmla="*/ 282 h 405"/>
                <a:gd name="T62" fmla="*/ 512 w 537"/>
                <a:gd name="T63" fmla="*/ 315 h 405"/>
                <a:gd name="T64" fmla="*/ 512 w 537"/>
                <a:gd name="T65" fmla="*/ 318 h 405"/>
                <a:gd name="T66" fmla="*/ 507 w 537"/>
                <a:gd name="T67" fmla="*/ 405 h 405"/>
                <a:gd name="T68" fmla="*/ 508 w 537"/>
                <a:gd name="T69" fmla="*/ 399 h 405"/>
                <a:gd name="T70" fmla="*/ 513 w 537"/>
                <a:gd name="T71" fmla="*/ 378 h 405"/>
                <a:gd name="T72" fmla="*/ 513 w 537"/>
                <a:gd name="T73" fmla="*/ 378 h 405"/>
                <a:gd name="T74" fmla="*/ 518 w 537"/>
                <a:gd name="T75" fmla="*/ 353 h 405"/>
                <a:gd name="T76" fmla="*/ 519 w 537"/>
                <a:gd name="T77" fmla="*/ 345 h 405"/>
                <a:gd name="T78" fmla="*/ 519 w 537"/>
                <a:gd name="T79" fmla="*/ 345 h 405"/>
                <a:gd name="T80" fmla="*/ 521 w 537"/>
                <a:gd name="T81" fmla="*/ 340 h 405"/>
                <a:gd name="T82" fmla="*/ 519 w 537"/>
                <a:gd name="T83" fmla="*/ 14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7" h="405">
                  <a:moveTo>
                    <a:pt x="519" y="148"/>
                  </a:moveTo>
                  <a:cubicBezTo>
                    <a:pt x="506" y="110"/>
                    <a:pt x="490" y="86"/>
                    <a:pt x="470" y="69"/>
                  </a:cubicBezTo>
                  <a:cubicBezTo>
                    <a:pt x="468" y="67"/>
                    <a:pt x="466" y="65"/>
                    <a:pt x="464" y="64"/>
                  </a:cubicBezTo>
                  <a:cubicBezTo>
                    <a:pt x="464" y="63"/>
                    <a:pt x="463" y="63"/>
                    <a:pt x="462" y="62"/>
                  </a:cubicBezTo>
                  <a:cubicBezTo>
                    <a:pt x="461" y="61"/>
                    <a:pt x="460" y="60"/>
                    <a:pt x="459" y="60"/>
                  </a:cubicBezTo>
                  <a:cubicBezTo>
                    <a:pt x="459" y="60"/>
                    <a:pt x="459" y="60"/>
                    <a:pt x="459" y="60"/>
                  </a:cubicBezTo>
                  <a:cubicBezTo>
                    <a:pt x="446" y="50"/>
                    <a:pt x="432" y="42"/>
                    <a:pt x="416" y="35"/>
                  </a:cubicBezTo>
                  <a:cubicBezTo>
                    <a:pt x="348" y="0"/>
                    <a:pt x="269" y="0"/>
                    <a:pt x="269" y="0"/>
                  </a:cubicBezTo>
                  <a:cubicBezTo>
                    <a:pt x="269" y="0"/>
                    <a:pt x="189" y="0"/>
                    <a:pt x="121" y="35"/>
                  </a:cubicBezTo>
                  <a:cubicBezTo>
                    <a:pt x="103" y="43"/>
                    <a:pt x="87" y="52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1" y="65"/>
                    <a:pt x="69" y="67"/>
                    <a:pt x="67" y="69"/>
                  </a:cubicBezTo>
                  <a:cubicBezTo>
                    <a:pt x="47" y="86"/>
                    <a:pt x="31" y="110"/>
                    <a:pt x="19" y="148"/>
                  </a:cubicBezTo>
                  <a:cubicBezTo>
                    <a:pt x="0" y="203"/>
                    <a:pt x="12" y="304"/>
                    <a:pt x="17" y="340"/>
                  </a:cubicBezTo>
                  <a:cubicBezTo>
                    <a:pt x="17" y="341"/>
                    <a:pt x="18" y="343"/>
                    <a:pt x="18" y="345"/>
                  </a:cubicBezTo>
                  <a:cubicBezTo>
                    <a:pt x="18" y="345"/>
                    <a:pt x="18" y="345"/>
                    <a:pt x="18" y="345"/>
                  </a:cubicBezTo>
                  <a:cubicBezTo>
                    <a:pt x="19" y="350"/>
                    <a:pt x="19" y="353"/>
                    <a:pt x="19" y="353"/>
                  </a:cubicBezTo>
                  <a:cubicBezTo>
                    <a:pt x="19" y="353"/>
                    <a:pt x="21" y="362"/>
                    <a:pt x="24" y="378"/>
                  </a:cubicBezTo>
                  <a:cubicBezTo>
                    <a:pt x="24" y="378"/>
                    <a:pt x="24" y="378"/>
                    <a:pt x="24" y="378"/>
                  </a:cubicBezTo>
                  <a:cubicBezTo>
                    <a:pt x="26" y="384"/>
                    <a:pt x="27" y="391"/>
                    <a:pt x="29" y="399"/>
                  </a:cubicBezTo>
                  <a:cubicBezTo>
                    <a:pt x="30" y="401"/>
                    <a:pt x="30" y="403"/>
                    <a:pt x="31" y="405"/>
                  </a:cubicBezTo>
                  <a:cubicBezTo>
                    <a:pt x="25" y="318"/>
                    <a:pt x="25" y="318"/>
                    <a:pt x="25" y="318"/>
                  </a:cubicBezTo>
                  <a:cubicBezTo>
                    <a:pt x="25" y="317"/>
                    <a:pt x="25" y="316"/>
                    <a:pt x="25" y="315"/>
                  </a:cubicBezTo>
                  <a:cubicBezTo>
                    <a:pt x="25" y="299"/>
                    <a:pt x="36" y="285"/>
                    <a:pt x="52" y="282"/>
                  </a:cubicBezTo>
                  <a:cubicBezTo>
                    <a:pt x="76" y="277"/>
                    <a:pt x="94" y="260"/>
                    <a:pt x="100" y="236"/>
                  </a:cubicBezTo>
                  <a:cubicBezTo>
                    <a:pt x="128" y="119"/>
                    <a:pt x="128" y="119"/>
                    <a:pt x="128" y="119"/>
                  </a:cubicBezTo>
                  <a:cubicBezTo>
                    <a:pt x="165" y="141"/>
                    <a:pt x="217" y="154"/>
                    <a:pt x="273" y="154"/>
                  </a:cubicBezTo>
                  <a:cubicBezTo>
                    <a:pt x="327" y="154"/>
                    <a:pt x="377" y="142"/>
                    <a:pt x="414" y="121"/>
                  </a:cubicBezTo>
                  <a:cubicBezTo>
                    <a:pt x="413" y="122"/>
                    <a:pt x="413" y="122"/>
                    <a:pt x="413" y="122"/>
                  </a:cubicBezTo>
                  <a:cubicBezTo>
                    <a:pt x="437" y="236"/>
                    <a:pt x="437" y="236"/>
                    <a:pt x="437" y="236"/>
                  </a:cubicBezTo>
                  <a:cubicBezTo>
                    <a:pt x="443" y="260"/>
                    <a:pt x="462" y="277"/>
                    <a:pt x="485" y="282"/>
                  </a:cubicBezTo>
                  <a:cubicBezTo>
                    <a:pt x="501" y="285"/>
                    <a:pt x="512" y="299"/>
                    <a:pt x="512" y="315"/>
                  </a:cubicBezTo>
                  <a:cubicBezTo>
                    <a:pt x="512" y="316"/>
                    <a:pt x="512" y="317"/>
                    <a:pt x="512" y="318"/>
                  </a:cubicBezTo>
                  <a:cubicBezTo>
                    <a:pt x="507" y="405"/>
                    <a:pt x="507" y="405"/>
                    <a:pt x="507" y="405"/>
                  </a:cubicBezTo>
                  <a:cubicBezTo>
                    <a:pt x="507" y="403"/>
                    <a:pt x="508" y="401"/>
                    <a:pt x="508" y="399"/>
                  </a:cubicBezTo>
                  <a:cubicBezTo>
                    <a:pt x="510" y="391"/>
                    <a:pt x="512" y="384"/>
                    <a:pt x="513" y="378"/>
                  </a:cubicBezTo>
                  <a:cubicBezTo>
                    <a:pt x="513" y="378"/>
                    <a:pt x="513" y="378"/>
                    <a:pt x="513" y="378"/>
                  </a:cubicBezTo>
                  <a:cubicBezTo>
                    <a:pt x="516" y="362"/>
                    <a:pt x="518" y="353"/>
                    <a:pt x="518" y="353"/>
                  </a:cubicBezTo>
                  <a:cubicBezTo>
                    <a:pt x="518" y="353"/>
                    <a:pt x="519" y="350"/>
                    <a:pt x="519" y="345"/>
                  </a:cubicBezTo>
                  <a:cubicBezTo>
                    <a:pt x="519" y="345"/>
                    <a:pt x="519" y="345"/>
                    <a:pt x="519" y="345"/>
                  </a:cubicBezTo>
                  <a:cubicBezTo>
                    <a:pt x="520" y="343"/>
                    <a:pt x="520" y="341"/>
                    <a:pt x="521" y="340"/>
                  </a:cubicBezTo>
                  <a:cubicBezTo>
                    <a:pt x="526" y="304"/>
                    <a:pt x="537" y="203"/>
                    <a:pt x="519" y="148"/>
                  </a:cubicBezTo>
                  <a:close/>
                </a:path>
              </a:pathLst>
            </a:custGeom>
            <a:solidFill>
              <a:schemeClr val="bg2">
                <a:lumMod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Calibri Light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0385E69E-3103-41A9-AE81-CB6413BC6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479"/>
            <a:ext cx="7886700" cy="867930"/>
          </a:xfrm>
        </p:spPr>
        <p:txBody>
          <a:bodyPr vert="horz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The future customer engagement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to the right generation in the right channel </a:t>
            </a:r>
            <a:endParaRPr lang="en-GB" dirty="0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F6F4784-E7C2-4C4C-A5FF-3E2895F72A75}"/>
              </a:ext>
            </a:extLst>
          </p:cNvPr>
          <p:cNvGrpSpPr/>
          <p:nvPr/>
        </p:nvGrpSpPr>
        <p:grpSpPr>
          <a:xfrm>
            <a:off x="491864" y="1888978"/>
            <a:ext cx="1383771" cy="2704643"/>
            <a:chOff x="777282" y="1749106"/>
            <a:chExt cx="1383771" cy="2704643"/>
          </a:xfrm>
        </p:grpSpPr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A640BF0E-8FD0-4FEB-A1CB-1FD5B0E333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77282" y="1749106"/>
              <a:ext cx="1383771" cy="2704643"/>
            </a:xfrm>
            <a:prstGeom prst="rect">
              <a:avLst/>
            </a:prstGeom>
            <a:effectLst>
              <a:reflection stA="10000" endPos="7000" dist="12700" dir="5400000" sy="-100000" algn="bl" rotWithShape="0"/>
            </a:effectLst>
          </p:spPr>
        </p:pic>
        <p:pic>
          <p:nvPicPr>
            <p:cNvPr id="111" name="Picture 110" descr="A picture containing indoor&#10;&#10;Description automatically generated">
              <a:extLst>
                <a:ext uri="{FF2B5EF4-FFF2-40B4-BE49-F238E27FC236}">
                  <a16:creationId xmlns:a16="http://schemas.microsoft.com/office/drawing/2014/main" id="{73C8E798-F05C-41C2-9604-5EA7EE94C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985" y="2114579"/>
              <a:ext cx="1139404" cy="2031249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6846A1C-197A-420A-AFB3-85C0C128C289}"/>
              </a:ext>
            </a:extLst>
          </p:cNvPr>
          <p:cNvGrpSpPr/>
          <p:nvPr/>
        </p:nvGrpSpPr>
        <p:grpSpPr>
          <a:xfrm>
            <a:off x="7179007" y="1888978"/>
            <a:ext cx="1383771" cy="2704643"/>
            <a:chOff x="7179007" y="1749106"/>
            <a:chExt cx="1383771" cy="2704643"/>
          </a:xfrm>
        </p:grpSpPr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B85D6156-224B-497F-8A1E-8315378C2D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79007" y="1749106"/>
              <a:ext cx="1383771" cy="2704643"/>
            </a:xfrm>
            <a:prstGeom prst="rect">
              <a:avLst/>
            </a:prstGeom>
            <a:effectLst>
              <a:reflection stA="10000" endPos="7000" dist="12700" dir="5400000" sy="-100000" algn="bl" rotWithShape="0"/>
            </a:effectLst>
          </p:spPr>
        </p:pic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5B3E919-B903-4AD6-8772-7A042543DC78}"/>
                </a:ext>
              </a:extLst>
            </p:cNvPr>
            <p:cNvGrpSpPr/>
            <p:nvPr/>
          </p:nvGrpSpPr>
          <p:grpSpPr>
            <a:xfrm>
              <a:off x="7304471" y="2036864"/>
              <a:ext cx="1128012" cy="2113289"/>
              <a:chOff x="2923802" y="2409826"/>
              <a:chExt cx="2040999" cy="3739894"/>
            </a:xfrm>
          </p:grpSpPr>
          <p:pic>
            <p:nvPicPr>
              <p:cNvPr id="117" name="Picture 116" descr="A close up of a screen&#10;&#10;Description automatically generated">
                <a:extLst>
                  <a:ext uri="{FF2B5EF4-FFF2-40B4-BE49-F238E27FC236}">
                    <a16:creationId xmlns:a16="http://schemas.microsoft.com/office/drawing/2014/main" id="{EA28BC50-5996-4D03-A30A-F6414ACE38B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7519"/>
              <a:stretch/>
            </p:blipFill>
            <p:spPr>
              <a:xfrm>
                <a:off x="2923802" y="2409826"/>
                <a:ext cx="2040999" cy="3638550"/>
              </a:xfrm>
              <a:prstGeom prst="rect">
                <a:avLst/>
              </a:prstGeom>
            </p:spPr>
          </p:pic>
          <p:pic>
            <p:nvPicPr>
              <p:cNvPr id="118" name="Picture 117" descr="A close up of a screen&#10;&#10;Description automatically generated">
                <a:extLst>
                  <a:ext uri="{FF2B5EF4-FFF2-40B4-BE49-F238E27FC236}">
                    <a16:creationId xmlns:a16="http://schemas.microsoft.com/office/drawing/2014/main" id="{30100A42-4428-45DE-8A19-0250F8B39EB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3158"/>
              <a:stretch/>
            </p:blipFill>
            <p:spPr>
              <a:xfrm>
                <a:off x="2923802" y="5406769"/>
                <a:ext cx="2040999" cy="742951"/>
              </a:xfrm>
              <a:prstGeom prst="rect">
                <a:avLst/>
              </a:prstGeom>
            </p:spPr>
          </p:pic>
        </p:grp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DDAB089-B56D-48D8-AA63-16F8E3519AD0}"/>
              </a:ext>
            </a:extLst>
          </p:cNvPr>
          <p:cNvSpPr/>
          <p:nvPr/>
        </p:nvSpPr>
        <p:spPr>
          <a:xfrm>
            <a:off x="2398713" y="3795225"/>
            <a:ext cx="115722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800">
              <a:defRPr/>
            </a:pPr>
            <a:r>
              <a:rPr lang="en-US" sz="1400">
                <a:solidFill>
                  <a:schemeClr val="bg1"/>
                </a:solidFill>
                <a:latin typeface="Calibri Light"/>
              </a:rPr>
              <a:t>Born Between</a:t>
            </a:r>
          </a:p>
          <a:p>
            <a:pPr algn="ctr" defTabSz="685800">
              <a:defRPr/>
            </a:pPr>
            <a:r>
              <a:rPr lang="en-US" sz="1400" b="1">
                <a:solidFill>
                  <a:schemeClr val="bg1"/>
                </a:solidFill>
                <a:latin typeface="Calibri Light"/>
              </a:rPr>
              <a:t>1995 - 2015</a:t>
            </a:r>
          </a:p>
        </p:txBody>
      </p:sp>
      <p:sp>
        <p:nvSpPr>
          <p:cNvPr id="122" name="Rectangle: Rounded Corners 121">
            <a:extLst>
              <a:ext uri="{FF2B5EF4-FFF2-40B4-BE49-F238E27FC236}">
                <a16:creationId xmlns:a16="http://schemas.microsoft.com/office/drawing/2014/main" id="{F63FAB1F-41DA-4BD0-B63D-31EBB78150A2}"/>
              </a:ext>
            </a:extLst>
          </p:cNvPr>
          <p:cNvSpPr/>
          <p:nvPr/>
        </p:nvSpPr>
        <p:spPr>
          <a:xfrm>
            <a:off x="2263120" y="3330981"/>
            <a:ext cx="1428410" cy="29025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200" b="1">
                <a:solidFill>
                  <a:srgbClr val="FFFFFF"/>
                </a:solidFill>
                <a:latin typeface="Calibri"/>
              </a:rPr>
              <a:t>GEN Z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5029C2F8-4BD4-45A9-8D8D-4E87B14BF606}"/>
              </a:ext>
            </a:extLst>
          </p:cNvPr>
          <p:cNvSpPr/>
          <p:nvPr/>
        </p:nvSpPr>
        <p:spPr>
          <a:xfrm>
            <a:off x="3813115" y="3330981"/>
            <a:ext cx="1428410" cy="29025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200" b="1">
                <a:solidFill>
                  <a:srgbClr val="FFFFFF"/>
                </a:solidFill>
                <a:latin typeface="Calibri"/>
              </a:rPr>
              <a:t>Millennial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D220350A-8E88-4D1B-8C10-6F9D75FEA663}"/>
              </a:ext>
            </a:extLst>
          </p:cNvPr>
          <p:cNvSpPr/>
          <p:nvPr/>
        </p:nvSpPr>
        <p:spPr>
          <a:xfrm>
            <a:off x="5498704" y="3795225"/>
            <a:ext cx="115722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685800">
              <a:defRPr/>
            </a:pPr>
            <a:r>
              <a:rPr lang="en-US" sz="1400">
                <a:solidFill>
                  <a:schemeClr val="bg1"/>
                </a:solidFill>
                <a:latin typeface="Calibri Light"/>
              </a:rPr>
              <a:t>Born Between</a:t>
            </a:r>
          </a:p>
          <a:p>
            <a:pPr algn="ctr" defTabSz="685800">
              <a:defRPr/>
            </a:pPr>
            <a:r>
              <a:rPr lang="en-US" sz="1400" b="1">
                <a:solidFill>
                  <a:schemeClr val="bg1"/>
                </a:solidFill>
                <a:latin typeface="Calibri Light"/>
              </a:rPr>
              <a:t>1965 - 1979</a:t>
            </a: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D66E66A9-CD26-4833-8671-F1817AE945F8}"/>
              </a:ext>
            </a:extLst>
          </p:cNvPr>
          <p:cNvSpPr/>
          <p:nvPr/>
        </p:nvSpPr>
        <p:spPr>
          <a:xfrm>
            <a:off x="5363111" y="3330981"/>
            <a:ext cx="1428410" cy="29025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en-US" sz="1200" b="1">
                <a:solidFill>
                  <a:srgbClr val="FFFFFF"/>
                </a:solidFill>
                <a:latin typeface="Calibri"/>
              </a:rPr>
              <a:t>GEN X</a:t>
            </a:r>
          </a:p>
        </p:txBody>
      </p:sp>
      <p:sp>
        <p:nvSpPr>
          <p:cNvPr id="180" name="Rectangle: Rounded Corners 179">
            <a:extLst>
              <a:ext uri="{FF2B5EF4-FFF2-40B4-BE49-F238E27FC236}">
                <a16:creationId xmlns:a16="http://schemas.microsoft.com/office/drawing/2014/main" id="{414D5F80-32CB-4680-BA20-3592C4268D33}"/>
              </a:ext>
            </a:extLst>
          </p:cNvPr>
          <p:cNvSpPr/>
          <p:nvPr/>
        </p:nvSpPr>
        <p:spPr>
          <a:xfrm>
            <a:off x="555853" y="3976096"/>
            <a:ext cx="1203722" cy="301021"/>
          </a:xfrm>
          <a:prstGeom prst="roundRect">
            <a:avLst>
              <a:gd name="adj" fmla="val 23138"/>
            </a:avLst>
          </a:prstGeom>
          <a:noFill/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sz="1350">
              <a:solidFill>
                <a:srgbClr val="0074BE"/>
              </a:solidFill>
              <a:latin typeface="Calibri Light"/>
            </a:endParaRPr>
          </a:p>
        </p:txBody>
      </p:sp>
      <p:sp>
        <p:nvSpPr>
          <p:cNvPr id="181" name="Rectangle: Rounded Corners 180">
            <a:extLst>
              <a:ext uri="{FF2B5EF4-FFF2-40B4-BE49-F238E27FC236}">
                <a16:creationId xmlns:a16="http://schemas.microsoft.com/office/drawing/2014/main" id="{7B2C026E-A4D8-4025-8E3C-E26C40F63EB6}"/>
              </a:ext>
            </a:extLst>
          </p:cNvPr>
          <p:cNvSpPr/>
          <p:nvPr/>
        </p:nvSpPr>
        <p:spPr>
          <a:xfrm>
            <a:off x="7295849" y="3962300"/>
            <a:ext cx="1210817" cy="328613"/>
          </a:xfrm>
          <a:prstGeom prst="roundRect">
            <a:avLst>
              <a:gd name="adj" fmla="val 30978"/>
            </a:avLst>
          </a:prstGeom>
          <a:noFill/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en-US" sz="1350">
              <a:solidFill>
                <a:srgbClr val="0074BE"/>
              </a:solidFill>
              <a:latin typeface="Calibri Ligh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37A6FEA-C854-4FD3-B6A7-2640A7136F7C}"/>
              </a:ext>
            </a:extLst>
          </p:cNvPr>
          <p:cNvGrpSpPr/>
          <p:nvPr/>
        </p:nvGrpSpPr>
        <p:grpSpPr>
          <a:xfrm>
            <a:off x="573798" y="1359211"/>
            <a:ext cx="1341357" cy="478914"/>
            <a:chOff x="573798" y="1359211"/>
            <a:chExt cx="1341357" cy="478914"/>
          </a:xfrm>
        </p:grpSpPr>
        <p:sp>
          <p:nvSpPr>
            <p:cNvPr id="112" name="Rectangle: Rounded Corners 111">
              <a:extLst>
                <a:ext uri="{FF2B5EF4-FFF2-40B4-BE49-F238E27FC236}">
                  <a16:creationId xmlns:a16="http://schemas.microsoft.com/office/drawing/2014/main" id="{F954B522-F704-4FCD-9E78-253682CFE908}"/>
                </a:ext>
              </a:extLst>
            </p:cNvPr>
            <p:cNvSpPr/>
            <p:nvPr/>
          </p:nvSpPr>
          <p:spPr>
            <a:xfrm>
              <a:off x="1879436" y="1512050"/>
              <a:ext cx="35719" cy="173236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1350">
                <a:solidFill>
                  <a:srgbClr val="0074BE"/>
                </a:solidFill>
                <a:latin typeface="Calibri Light"/>
              </a:endParaRPr>
            </a:p>
          </p:txBody>
        </p:sp>
        <p:sp>
          <p:nvSpPr>
            <p:cNvPr id="183" name="TextBox 182">
              <a:extLst>
                <a:ext uri="{FF2B5EF4-FFF2-40B4-BE49-F238E27FC236}">
                  <a16:creationId xmlns:a16="http://schemas.microsoft.com/office/drawing/2014/main" id="{06C1476A-A634-4E55-BDAB-C4D534F5E608}"/>
                </a:ext>
              </a:extLst>
            </p:cNvPr>
            <p:cNvSpPr txBox="1"/>
            <p:nvPr/>
          </p:nvSpPr>
          <p:spPr>
            <a:xfrm>
              <a:off x="1082789" y="1404950"/>
              <a:ext cx="792846" cy="387437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68580" tIns="0" rIns="0" bIns="0" rtlCol="0" anchor="ctr">
              <a:noAutofit/>
            </a:bodyPr>
            <a:lstStyle/>
            <a:p>
              <a:pPr defTabSz="914378">
                <a:defRPr/>
              </a:pPr>
              <a:r>
                <a:rPr lang="da-DK" sz="1050" b="1">
                  <a:solidFill>
                    <a:srgbClr val="FFFFFF"/>
                  </a:solidFill>
                  <a:latin typeface="Calibri"/>
                </a:rPr>
                <a:t>Thomas </a:t>
              </a:r>
              <a:br>
                <a:rPr lang="da-DK" sz="1050" b="1">
                  <a:solidFill>
                    <a:srgbClr val="FFFFFF"/>
                  </a:solidFill>
                  <a:latin typeface="Calibri"/>
                </a:rPr>
              </a:br>
              <a:r>
                <a:rPr lang="da-DK" sz="900">
                  <a:solidFill>
                    <a:srgbClr val="FFFFFF"/>
                  </a:solidFill>
                  <a:latin typeface="Calibri Light"/>
                </a:rPr>
                <a:t>Gen X</a:t>
              </a:r>
            </a:p>
          </p:txBody>
        </p:sp>
        <p:pic>
          <p:nvPicPr>
            <p:cNvPr id="188" name="Picture 187" descr="A person wearing a suit and tie smiling and looking at the camera&#10;&#10;Description automatically generated">
              <a:extLst>
                <a:ext uri="{FF2B5EF4-FFF2-40B4-BE49-F238E27FC236}">
                  <a16:creationId xmlns:a16="http://schemas.microsoft.com/office/drawing/2014/main" id="{68608C04-35E2-430D-B75E-7BE836CE0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526" b="14687"/>
            <a:stretch>
              <a:fillRect/>
            </a:stretch>
          </p:blipFill>
          <p:spPr>
            <a:xfrm>
              <a:off x="573798" y="1359211"/>
              <a:ext cx="469471" cy="478914"/>
            </a:xfrm>
            <a:custGeom>
              <a:avLst/>
              <a:gdLst>
                <a:gd name="connsiteX0" fmla="*/ 239457 w 469471"/>
                <a:gd name="connsiteY0" fmla="*/ 0 h 478914"/>
                <a:gd name="connsiteX1" fmla="*/ 460096 w 469471"/>
                <a:gd name="connsiteY1" fmla="*/ 146250 h 478914"/>
                <a:gd name="connsiteX2" fmla="*/ 469471 w 469471"/>
                <a:gd name="connsiteY2" fmla="*/ 176450 h 478914"/>
                <a:gd name="connsiteX3" fmla="*/ 469471 w 469471"/>
                <a:gd name="connsiteY3" fmla="*/ 302464 h 478914"/>
                <a:gd name="connsiteX4" fmla="*/ 460096 w 469471"/>
                <a:gd name="connsiteY4" fmla="*/ 332664 h 478914"/>
                <a:gd name="connsiteX5" fmla="*/ 239457 w 469471"/>
                <a:gd name="connsiteY5" fmla="*/ 478914 h 478914"/>
                <a:gd name="connsiteX6" fmla="*/ 0 w 469471"/>
                <a:gd name="connsiteY6" fmla="*/ 239457 h 478914"/>
                <a:gd name="connsiteX7" fmla="*/ 239457 w 469471"/>
                <a:gd name="connsiteY7" fmla="*/ 0 h 47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471" h="478914">
                  <a:moveTo>
                    <a:pt x="239457" y="0"/>
                  </a:moveTo>
                  <a:cubicBezTo>
                    <a:pt x="338643" y="0"/>
                    <a:pt x="423745" y="60305"/>
                    <a:pt x="460096" y="146250"/>
                  </a:cubicBezTo>
                  <a:lnTo>
                    <a:pt x="469471" y="176450"/>
                  </a:lnTo>
                  <a:lnTo>
                    <a:pt x="469471" y="302464"/>
                  </a:lnTo>
                  <a:lnTo>
                    <a:pt x="460096" y="332664"/>
                  </a:lnTo>
                  <a:cubicBezTo>
                    <a:pt x="423745" y="418609"/>
                    <a:pt x="338643" y="478914"/>
                    <a:pt x="239457" y="478914"/>
                  </a:cubicBezTo>
                  <a:cubicBezTo>
                    <a:pt x="107209" y="478914"/>
                    <a:pt x="0" y="371705"/>
                    <a:pt x="0" y="239457"/>
                  </a:cubicBezTo>
                  <a:cubicBezTo>
                    <a:pt x="0" y="107209"/>
                    <a:pt x="107209" y="0"/>
                    <a:pt x="239457" y="0"/>
                  </a:cubicBezTo>
                  <a:close/>
                </a:path>
              </a:pathLst>
            </a:cu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C3BC59-708D-470A-B19C-D59405A2CDA6}"/>
              </a:ext>
            </a:extLst>
          </p:cNvPr>
          <p:cNvGrpSpPr/>
          <p:nvPr/>
        </p:nvGrpSpPr>
        <p:grpSpPr>
          <a:xfrm>
            <a:off x="7197799" y="1359211"/>
            <a:ext cx="1341356" cy="478914"/>
            <a:chOff x="4987303" y="1792027"/>
            <a:chExt cx="1341356" cy="478914"/>
          </a:xfrm>
        </p:grpSpPr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CF52F802-42A0-413E-B393-AD0AC7760B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14466" t="13544" r="6950" b="7204"/>
            <a:stretch/>
          </p:blipFill>
          <p:spPr>
            <a:xfrm>
              <a:off x="4987303" y="1792027"/>
              <a:ext cx="469471" cy="478914"/>
            </a:xfrm>
            <a:custGeom>
              <a:avLst/>
              <a:gdLst>
                <a:gd name="connsiteX0" fmla="*/ 239457 w 469471"/>
                <a:gd name="connsiteY0" fmla="*/ 0 h 478914"/>
                <a:gd name="connsiteX1" fmla="*/ 460096 w 469471"/>
                <a:gd name="connsiteY1" fmla="*/ 146250 h 478914"/>
                <a:gd name="connsiteX2" fmla="*/ 469471 w 469471"/>
                <a:gd name="connsiteY2" fmla="*/ 176450 h 478914"/>
                <a:gd name="connsiteX3" fmla="*/ 469471 w 469471"/>
                <a:gd name="connsiteY3" fmla="*/ 302464 h 478914"/>
                <a:gd name="connsiteX4" fmla="*/ 460096 w 469471"/>
                <a:gd name="connsiteY4" fmla="*/ 332664 h 478914"/>
                <a:gd name="connsiteX5" fmla="*/ 239457 w 469471"/>
                <a:gd name="connsiteY5" fmla="*/ 478914 h 478914"/>
                <a:gd name="connsiteX6" fmla="*/ 0 w 469471"/>
                <a:gd name="connsiteY6" fmla="*/ 239457 h 478914"/>
                <a:gd name="connsiteX7" fmla="*/ 239457 w 469471"/>
                <a:gd name="connsiteY7" fmla="*/ 0 h 478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471" h="478914">
                  <a:moveTo>
                    <a:pt x="239457" y="0"/>
                  </a:moveTo>
                  <a:cubicBezTo>
                    <a:pt x="338643" y="0"/>
                    <a:pt x="423745" y="60305"/>
                    <a:pt x="460096" y="146250"/>
                  </a:cubicBezTo>
                  <a:lnTo>
                    <a:pt x="469471" y="176450"/>
                  </a:lnTo>
                  <a:lnTo>
                    <a:pt x="469471" y="302464"/>
                  </a:lnTo>
                  <a:lnTo>
                    <a:pt x="460096" y="332664"/>
                  </a:lnTo>
                  <a:cubicBezTo>
                    <a:pt x="423745" y="418609"/>
                    <a:pt x="338643" y="478914"/>
                    <a:pt x="239457" y="478914"/>
                  </a:cubicBezTo>
                  <a:cubicBezTo>
                    <a:pt x="107209" y="478914"/>
                    <a:pt x="0" y="371705"/>
                    <a:pt x="0" y="239457"/>
                  </a:cubicBezTo>
                  <a:cubicBezTo>
                    <a:pt x="0" y="107209"/>
                    <a:pt x="107209" y="0"/>
                    <a:pt x="239457" y="0"/>
                  </a:cubicBezTo>
                  <a:close/>
                </a:path>
              </a:pathLst>
            </a:custGeom>
          </p:spPr>
        </p:pic>
        <p:sp>
          <p:nvSpPr>
            <p:cNvPr id="190" name="Rectangle: Rounded Corners 189">
              <a:extLst>
                <a:ext uri="{FF2B5EF4-FFF2-40B4-BE49-F238E27FC236}">
                  <a16:creationId xmlns:a16="http://schemas.microsoft.com/office/drawing/2014/main" id="{C822DD9B-5127-4A03-AC69-3F3828F8CBBE}"/>
                </a:ext>
              </a:extLst>
            </p:cNvPr>
            <p:cNvSpPr/>
            <p:nvPr/>
          </p:nvSpPr>
          <p:spPr>
            <a:xfrm>
              <a:off x="6292940" y="1944866"/>
              <a:ext cx="35719" cy="173236"/>
            </a:xfrm>
            <a:prstGeom prst="roundRect">
              <a:avLst>
                <a:gd name="adj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>
                <a:defRPr/>
              </a:pPr>
              <a:endParaRPr lang="en-US" sz="1350">
                <a:solidFill>
                  <a:srgbClr val="0074BE"/>
                </a:solidFill>
                <a:latin typeface="Calibri Light"/>
              </a:endParaRP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025794B8-E8BF-4691-8758-FAFE1BF9E4F4}"/>
                </a:ext>
              </a:extLst>
            </p:cNvPr>
            <p:cNvSpPr txBox="1"/>
            <p:nvPr/>
          </p:nvSpPr>
          <p:spPr>
            <a:xfrm>
              <a:off x="5496293" y="1837766"/>
              <a:ext cx="792846" cy="387437"/>
            </a:xfrm>
            <a:prstGeom prst="roundRect">
              <a:avLst>
                <a:gd name="adj" fmla="val 0"/>
              </a:avLst>
            </a:prstGeom>
            <a:noFill/>
          </p:spPr>
          <p:txBody>
            <a:bodyPr wrap="square" lIns="68580" tIns="0" rIns="0" bIns="0" rtlCol="0" anchor="ctr">
              <a:noAutofit/>
            </a:bodyPr>
            <a:lstStyle/>
            <a:p>
              <a:pPr defTabSz="914378">
                <a:defRPr/>
              </a:pPr>
              <a:r>
                <a:rPr lang="da-DK" sz="1050" b="1">
                  <a:solidFill>
                    <a:srgbClr val="FFFFFF"/>
                  </a:solidFill>
                  <a:latin typeface="Calibri"/>
                </a:rPr>
                <a:t>Emily</a:t>
              </a:r>
              <a:br>
                <a:rPr lang="da-DK" sz="1050" b="1">
                  <a:solidFill>
                    <a:srgbClr val="FFFFFF"/>
                  </a:solidFill>
                  <a:latin typeface="Calibri"/>
                </a:rPr>
              </a:br>
              <a:r>
                <a:rPr lang="da-DK" sz="900">
                  <a:solidFill>
                    <a:srgbClr val="FFFFFF"/>
                  </a:solidFill>
                  <a:latin typeface="Calibri Light"/>
                </a:rPr>
                <a:t>Gen Z</a:t>
              </a:r>
            </a:p>
          </p:txBody>
        </p:sp>
      </p:grpSp>
      <p:sp>
        <p:nvSpPr>
          <p:cNvPr id="80" name="Rectangle 79">
            <a:extLst>
              <a:ext uri="{FF2B5EF4-FFF2-40B4-BE49-F238E27FC236}">
                <a16:creationId xmlns:a16="http://schemas.microsoft.com/office/drawing/2014/main" id="{50F9236E-0FE7-4549-94E6-11F85AE6CBF2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6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" grpId="0" animBg="1"/>
      <p:bldP spid="18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lying on a skateboard&#10;&#10;Description automatically generated with medium confidence">
            <a:extLst>
              <a:ext uri="{FF2B5EF4-FFF2-40B4-BE49-F238E27FC236}">
                <a16:creationId xmlns:a16="http://schemas.microsoft.com/office/drawing/2014/main" id="{73DCF578-F5A0-4D42-BCCB-FC21567BA10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" t="2448" r="1" b="24156"/>
          <a:stretch/>
        </p:blipFill>
        <p:spPr>
          <a:xfrm>
            <a:off x="2835594" y="1371678"/>
            <a:ext cx="5709919" cy="2824874"/>
          </a:xfrm>
          <a:prstGeom prst="roundRect">
            <a:avLst>
              <a:gd name="adj" fmla="val 8416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C46D353A-5B12-43C0-9FB1-5E3EF30193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Loyal customers want to be recognized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4915120-D2C4-40F0-AD14-0E21A90FD3D2}"/>
              </a:ext>
            </a:extLst>
          </p:cNvPr>
          <p:cNvSpPr txBox="1">
            <a:spLocks/>
          </p:cNvSpPr>
          <p:nvPr/>
        </p:nvSpPr>
        <p:spPr>
          <a:xfrm>
            <a:off x="854161" y="2036218"/>
            <a:ext cx="1652734" cy="149579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da-DK" sz="3600">
                <a:solidFill>
                  <a:schemeClr val="bg1">
                    <a:alpha val="90000"/>
                  </a:schemeClr>
                </a:solidFill>
              </a:rPr>
              <a:t>Walk, Run,……</a:t>
            </a:r>
            <a:br>
              <a:rPr lang="da-DK" sz="3600">
                <a:solidFill>
                  <a:schemeClr val="bg1">
                    <a:alpha val="90000"/>
                  </a:schemeClr>
                </a:solidFill>
              </a:rPr>
            </a:br>
            <a:r>
              <a:rPr lang="da-DK" sz="3600">
                <a:solidFill>
                  <a:schemeClr val="bg1">
                    <a:alpha val="90000"/>
                  </a:schemeClr>
                </a:solidFill>
              </a:rPr>
              <a:t>Fly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742A47-6F5C-4B2F-ABDB-B6BBB5ADE25B}"/>
              </a:ext>
            </a:extLst>
          </p:cNvPr>
          <p:cNvSpPr/>
          <p:nvPr/>
        </p:nvSpPr>
        <p:spPr>
          <a:xfrm>
            <a:off x="3097161" y="4766872"/>
            <a:ext cx="2366745" cy="376628"/>
          </a:xfrm>
          <a:prstGeom prst="rect">
            <a:avLst/>
          </a:prstGeom>
          <a:solidFill>
            <a:srgbClr val="1F1C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person lying on a skateboard&#10;&#10;Description automatically generated with medium confidence">
            <a:extLst>
              <a:ext uri="{FF2B5EF4-FFF2-40B4-BE49-F238E27FC236}">
                <a16:creationId xmlns:a16="http://schemas.microsoft.com/office/drawing/2014/main" id="{5E907A32-1C93-40C9-8EF4-63C1B908704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1" t="2448" r="48372" b="24156"/>
          <a:stretch/>
        </p:blipFill>
        <p:spPr>
          <a:xfrm>
            <a:off x="2835595" y="1371656"/>
            <a:ext cx="2931222" cy="2824874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F1AA21E-8D6C-4A49-987E-B11443580F75}"/>
              </a:ext>
            </a:extLst>
          </p:cNvPr>
          <p:cNvSpPr/>
          <p:nvPr/>
        </p:nvSpPr>
        <p:spPr>
          <a:xfrm>
            <a:off x="525463" y="1371677"/>
            <a:ext cx="8020050" cy="2824853"/>
          </a:xfrm>
          <a:prstGeom prst="roundRect">
            <a:avLst>
              <a:gd name="adj" fmla="val 8900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51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6191">
        <p:fade/>
      </p:transition>
    </mc:Choice>
    <mc:Fallback xmlns="">
      <p:transition spd="med" advTm="56191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2020-Template-External">
  <a:themeElements>
    <a:clrScheme name="SAS 2020">
      <a:dk1>
        <a:srgbClr val="012036"/>
      </a:dk1>
      <a:lt1>
        <a:srgbClr val="FFFFFF"/>
      </a:lt1>
      <a:dk2>
        <a:srgbClr val="012036"/>
      </a:dk2>
      <a:lt2>
        <a:srgbClr val="768396"/>
      </a:lt2>
      <a:accent1>
        <a:srgbClr val="33A3FF"/>
      </a:accent1>
      <a:accent2>
        <a:srgbClr val="29D6CD"/>
      </a:accent2>
      <a:accent3>
        <a:srgbClr val="15B57B"/>
      </a:accent3>
      <a:accent4>
        <a:srgbClr val="6D69FF"/>
      </a:accent4>
      <a:accent5>
        <a:srgbClr val="86134F"/>
      </a:accent5>
      <a:accent6>
        <a:srgbClr val="FFCC32"/>
      </a:accent6>
      <a:hlink>
        <a:srgbClr val="6D69FF"/>
      </a:hlink>
      <a:folHlink>
        <a:srgbClr val="FFCC3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7" id="{F7817443-70B9-1543-B3AC-0BBD6DD3E2C1}" vid="{C5D75EF0-784F-7A40-9918-498EEAE15291}"/>
    </a:ext>
  </a:extLst>
</a:theme>
</file>

<file path=ppt/theme/theme2.xml><?xml version="1.0" encoding="utf-8"?>
<a:theme xmlns:a="http://schemas.openxmlformats.org/drawingml/2006/main" name="2_2020-Template-External">
  <a:themeElements>
    <a:clrScheme name="SAS 2020">
      <a:dk1>
        <a:srgbClr val="012036"/>
      </a:dk1>
      <a:lt1>
        <a:srgbClr val="FFFFFF"/>
      </a:lt1>
      <a:dk2>
        <a:srgbClr val="012036"/>
      </a:dk2>
      <a:lt2>
        <a:srgbClr val="768396"/>
      </a:lt2>
      <a:accent1>
        <a:srgbClr val="33A3FF"/>
      </a:accent1>
      <a:accent2>
        <a:srgbClr val="29D6CD"/>
      </a:accent2>
      <a:accent3>
        <a:srgbClr val="15B57B"/>
      </a:accent3>
      <a:accent4>
        <a:srgbClr val="6D69FF"/>
      </a:accent4>
      <a:accent5>
        <a:srgbClr val="86134F"/>
      </a:accent5>
      <a:accent6>
        <a:srgbClr val="FFCC32"/>
      </a:accent6>
      <a:hlink>
        <a:srgbClr val="6D69FF"/>
      </a:hlink>
      <a:folHlink>
        <a:srgbClr val="FFCC3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073ED02-2935-B44A-A6CB-DDD09AF28534}" vid="{3D556F1D-43AC-9A44-A933-3CB7A027B220}"/>
    </a:ext>
  </a:extLst>
</a:theme>
</file>

<file path=ppt/theme/theme3.xml><?xml version="1.0" encoding="utf-8"?>
<a:theme xmlns:a="http://schemas.openxmlformats.org/drawingml/2006/main" name="3_SAS CI Master - Purple">
  <a:themeElements>
    <a:clrScheme name="SAS Palette - Purple">
      <a:dk1>
        <a:srgbClr val="000000"/>
      </a:dk1>
      <a:lt1>
        <a:srgbClr val="FFFFFF"/>
      </a:lt1>
      <a:dk2>
        <a:srgbClr val="001C35"/>
      </a:dk2>
      <a:lt2>
        <a:srgbClr val="C0E3F6"/>
      </a:lt2>
      <a:accent1>
        <a:srgbClr val="80375F"/>
      </a:accent1>
      <a:accent2>
        <a:srgbClr val="BD528E"/>
      </a:accent2>
      <a:accent3>
        <a:srgbClr val="493880"/>
      </a:accent3>
      <a:accent4>
        <a:srgbClr val="6C63FF"/>
      </a:accent4>
      <a:accent5>
        <a:srgbClr val="DA5DC0"/>
      </a:accent5>
      <a:accent6>
        <a:srgbClr val="820053"/>
      </a:accent6>
      <a:hlink>
        <a:srgbClr val="C0E3F6"/>
      </a:hlink>
      <a:folHlink>
        <a:srgbClr val="C0E3F6"/>
      </a:folHlink>
    </a:clrScheme>
    <a:fontScheme name="SAS-Font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S CI-Purple-External.potx" id="{E51D2186-9032-4C49-9984-2B00916C5461}" vid="{B5CA5CA7-B378-4687-8394-781B3DC6FA07}"/>
    </a:ext>
  </a:extLst>
</a:theme>
</file>

<file path=ppt/theme/theme4.xml><?xml version="1.0" encoding="utf-8"?>
<a:theme xmlns:a="http://schemas.openxmlformats.org/drawingml/2006/main" name="SAS CI Master - Purple">
  <a:themeElements>
    <a:clrScheme name="SAS Palette - Purple">
      <a:dk1>
        <a:srgbClr val="000000"/>
      </a:dk1>
      <a:lt1>
        <a:srgbClr val="FFFFFF"/>
      </a:lt1>
      <a:dk2>
        <a:srgbClr val="001C35"/>
      </a:dk2>
      <a:lt2>
        <a:srgbClr val="C0E3F6"/>
      </a:lt2>
      <a:accent1>
        <a:srgbClr val="80375F"/>
      </a:accent1>
      <a:accent2>
        <a:srgbClr val="BD528E"/>
      </a:accent2>
      <a:accent3>
        <a:srgbClr val="493880"/>
      </a:accent3>
      <a:accent4>
        <a:srgbClr val="6C63FF"/>
      </a:accent4>
      <a:accent5>
        <a:srgbClr val="DA5DC0"/>
      </a:accent5>
      <a:accent6>
        <a:srgbClr val="820053"/>
      </a:accent6>
      <a:hlink>
        <a:srgbClr val="C0E3F6"/>
      </a:hlink>
      <a:folHlink>
        <a:srgbClr val="C0E3F6"/>
      </a:folHlink>
    </a:clrScheme>
    <a:fontScheme name="SAS-Font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S CI-Purple-External.potx" id="{E51D2186-9032-4C49-9984-2B00916C5461}" vid="{B5CA5CA7-B378-4687-8394-781B3DC6FA07}"/>
    </a:ext>
  </a:extLst>
</a:theme>
</file>

<file path=ppt/theme/theme5.xml><?xml version="1.0" encoding="utf-8"?>
<a:theme xmlns:a="http://schemas.openxmlformats.org/drawingml/2006/main" name="7_SAS Master, White">
  <a:themeElements>
    <a:clrScheme name="SAS-Palette">
      <a:dk1>
        <a:srgbClr val="000000"/>
      </a:dk1>
      <a:lt1>
        <a:srgbClr val="FFFFFF"/>
      </a:lt1>
      <a:dk2>
        <a:srgbClr val="04304B"/>
      </a:dk2>
      <a:lt2>
        <a:srgbClr val="C0E3F6"/>
      </a:lt2>
      <a:accent1>
        <a:srgbClr val="0074BE"/>
      </a:accent1>
      <a:accent2>
        <a:srgbClr val="61BAE9"/>
      </a:accent2>
      <a:accent3>
        <a:srgbClr val="04304B"/>
      </a:accent3>
      <a:accent4>
        <a:srgbClr val="00B08D"/>
      </a:accent4>
      <a:accent5>
        <a:srgbClr val="90B328"/>
      </a:accent5>
      <a:accent6>
        <a:srgbClr val="F58220"/>
      </a:accent6>
      <a:hlink>
        <a:srgbClr val="0074BE"/>
      </a:hlink>
      <a:folHlink>
        <a:srgbClr val="8E2F8A"/>
      </a:folHlink>
    </a:clrScheme>
    <a:fontScheme name="SAS-Fonts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S-External-16x9" id="{A55BF615-7CE4-1045-9CDE-3EF107BE83AB}" vid="{FFA566C9-D4FB-D64B-9137-837611523DD4}"/>
    </a:ext>
  </a:extLst>
</a:theme>
</file>

<file path=ppt/theme/theme6.xml><?xml version="1.0" encoding="utf-8"?>
<a:theme xmlns:a="http://schemas.openxmlformats.org/drawingml/2006/main" name="3_2020-Template-External">
  <a:themeElements>
    <a:clrScheme name="SAS 2020">
      <a:dk1>
        <a:srgbClr val="012036"/>
      </a:dk1>
      <a:lt1>
        <a:srgbClr val="FFFFFF"/>
      </a:lt1>
      <a:dk2>
        <a:srgbClr val="012036"/>
      </a:dk2>
      <a:lt2>
        <a:srgbClr val="768396"/>
      </a:lt2>
      <a:accent1>
        <a:srgbClr val="33A3FF"/>
      </a:accent1>
      <a:accent2>
        <a:srgbClr val="29D6CD"/>
      </a:accent2>
      <a:accent3>
        <a:srgbClr val="15B57B"/>
      </a:accent3>
      <a:accent4>
        <a:srgbClr val="6D69FF"/>
      </a:accent4>
      <a:accent5>
        <a:srgbClr val="86134F"/>
      </a:accent5>
      <a:accent6>
        <a:srgbClr val="FFCC32"/>
      </a:accent6>
      <a:hlink>
        <a:srgbClr val="6D69FF"/>
      </a:hlink>
      <a:folHlink>
        <a:srgbClr val="FFCC3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>
            <a:solidFill>
              <a:schemeClr val="bg1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073ED02-2935-B44A-A6CB-DDD09AF28534}" vid="{3D556F1D-43AC-9A44-A933-3CB7A027B22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F75C869182654EB57F81599E4F89D1" ma:contentTypeVersion="12" ma:contentTypeDescription="Create a new document." ma:contentTypeScope="" ma:versionID="1e55ac8df3f51b18c823028af2ee438e">
  <xsd:schema xmlns:xsd="http://www.w3.org/2001/XMLSchema" xmlns:xs="http://www.w3.org/2001/XMLSchema" xmlns:p="http://schemas.microsoft.com/office/2006/metadata/properties" xmlns:ns2="e2d5f9ad-9aff-4de0-8730-c6b2f9eee79b" xmlns:ns3="ba638c0a-c9bf-4af9-95ac-44f841aefba5" targetNamespace="http://schemas.microsoft.com/office/2006/metadata/properties" ma:root="true" ma:fieldsID="00e1ce44ab57d3433f290829848b3a35" ns2:_="" ns3:_="">
    <xsd:import namespace="e2d5f9ad-9aff-4de0-8730-c6b2f9eee79b"/>
    <xsd:import namespace="ba638c0a-c9bf-4af9-95ac-44f841aefb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d5f9ad-9aff-4de0-8730-c6b2f9eee7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38c0a-c9bf-4af9-95ac-44f841aefb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a638c0a-c9bf-4af9-95ac-44f841aefba5">
      <UserInfo>
        <DisplayName>Thomas Thorning</DisplayName>
        <AccountId>226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5C6A2B2-173B-42B9-A44C-0D3430F277A3}">
  <ds:schemaRefs>
    <ds:schemaRef ds:uri="ba638c0a-c9bf-4af9-95ac-44f841aefba5"/>
    <ds:schemaRef ds:uri="e2d5f9ad-9aff-4de0-8730-c6b2f9eee79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555DC5F-818F-44EF-A095-D29EE9FE2980}">
  <ds:schemaRefs>
    <ds:schemaRef ds:uri="http://www.w3.org/XML/1998/namespace"/>
    <ds:schemaRef ds:uri="http://purl.org/dc/dcmitype/"/>
    <ds:schemaRef ds:uri="ba638c0a-c9bf-4af9-95ac-44f841aefba5"/>
    <ds:schemaRef ds:uri="http://schemas.microsoft.com/office/infopath/2007/PartnerControls"/>
    <ds:schemaRef ds:uri="e2d5f9ad-9aff-4de0-8730-c6b2f9eee79b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72774F8F-633F-4F5A-9B0F-14E8A1CDE92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s-confidential-template-16x9</Template>
  <TotalTime>4243</TotalTime>
  <Words>631</Words>
  <Application>Microsoft Office PowerPoint</Application>
  <PresentationFormat>Bildspel på skärmen (16:9)</PresentationFormat>
  <Paragraphs>137</Paragraphs>
  <Slides>20</Slides>
  <Notes>1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31" baseType="lpstr">
      <vt:lpstr>Calibri Light</vt:lpstr>
      <vt:lpstr>Avenir Next</vt:lpstr>
      <vt:lpstr>Calibri</vt:lpstr>
      <vt:lpstr>Arial</vt:lpstr>
      <vt:lpstr>1_2020-Template-External</vt:lpstr>
      <vt:lpstr>2_2020-Template-External</vt:lpstr>
      <vt:lpstr>3_SAS CI Master - Purple</vt:lpstr>
      <vt:lpstr>SAS CI Master - Purple</vt:lpstr>
      <vt:lpstr>7_SAS Master, White</vt:lpstr>
      <vt:lpstr>3_2020-Template-External</vt:lpstr>
      <vt:lpstr>think-cell Slide</vt:lpstr>
      <vt:lpstr>PowerPoint-presentation</vt:lpstr>
      <vt:lpstr>A digital minute in 2020</vt:lpstr>
      <vt:lpstr>Background</vt:lpstr>
      <vt:lpstr>Industry-specific takeaways</vt:lpstr>
      <vt:lpstr>What do customers really think about  the customer experience</vt:lpstr>
      <vt:lpstr>Importance of low prices continues to fall</vt:lpstr>
      <vt:lpstr>Customer loyalty are easily lost</vt:lpstr>
      <vt:lpstr>The future customer engagement  to the right generation in the right channel </vt:lpstr>
      <vt:lpstr>Loyal customers want to be recognized</vt:lpstr>
      <vt:lpstr>Data Alone Doesn’t Drive Your Organization….   Decisions Do</vt:lpstr>
      <vt:lpstr>Customer engagement capabilities</vt:lpstr>
      <vt:lpstr>Customer engagement capabilities</vt:lpstr>
      <vt:lpstr>Customer engagement capabilities</vt:lpstr>
      <vt:lpstr>Customer engagement capabilities</vt:lpstr>
      <vt:lpstr>Customer engagement capabilities</vt:lpstr>
      <vt:lpstr>Customer engagement capabilities</vt:lpstr>
      <vt:lpstr>Customer engagement capabilities</vt:lpstr>
      <vt:lpstr>Slice the elephant Modularity in SAS® marketing solution</vt:lpstr>
      <vt:lpstr>Let’s connect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ise Henriques</dc:creator>
  <cp:lastModifiedBy>Daniel Johansson</cp:lastModifiedBy>
  <cp:revision>2</cp:revision>
  <dcterms:created xsi:type="dcterms:W3CDTF">2021-05-02T18:07:27Z</dcterms:created>
  <dcterms:modified xsi:type="dcterms:W3CDTF">2021-10-08T08:3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51006F2-8E20-4D4E-B05C-4B5D02827FD6</vt:lpwstr>
  </property>
  <property fmtid="{D5CDD505-2E9C-101B-9397-08002B2CF9AE}" pid="3" name="ArticulatePath">
    <vt:lpwstr>2020-Template-External</vt:lpwstr>
  </property>
  <property fmtid="{D5CDD505-2E9C-101B-9397-08002B2CF9AE}" pid="4" name="ContentTypeId">
    <vt:lpwstr>0x0101005BF75C869182654EB57F81599E4F89D1</vt:lpwstr>
  </property>
</Properties>
</file>